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13" r:id="rId2"/>
    <p:sldId id="11089097" r:id="rId3"/>
    <p:sldId id="11089099" r:id="rId4"/>
    <p:sldId id="11089100" r:id="rId5"/>
    <p:sldId id="11089101" r:id="rId6"/>
    <p:sldId id="11089102" r:id="rId7"/>
    <p:sldId id="11089103" r:id="rId8"/>
    <p:sldId id="11089105" r:id="rId9"/>
    <p:sldId id="11089106" r:id="rId10"/>
    <p:sldId id="11089128" r:id="rId11"/>
    <p:sldId id="11089109" r:id="rId12"/>
    <p:sldId id="11089110" r:id="rId13"/>
    <p:sldId id="11089111" r:id="rId14"/>
    <p:sldId id="11089112" r:id="rId15"/>
    <p:sldId id="11089115" r:id="rId16"/>
    <p:sldId id="11089116" r:id="rId17"/>
    <p:sldId id="11089117" r:id="rId18"/>
    <p:sldId id="11089118" r:id="rId19"/>
    <p:sldId id="11089119" r:id="rId20"/>
    <p:sldId id="11089120" r:id="rId21"/>
    <p:sldId id="11089129" r:id="rId22"/>
    <p:sldId id="11089124" r:id="rId23"/>
    <p:sldId id="11089125" r:id="rId24"/>
    <p:sldId id="11089132" r:id="rId25"/>
    <p:sldId id="11089127" r:id="rId26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3E6E"/>
    <a:srgbClr val="006DB2"/>
    <a:srgbClr val="708BA8"/>
    <a:srgbClr val="ABBCCD"/>
    <a:srgbClr val="F8EFF0"/>
    <a:srgbClr val="F3F5F8"/>
    <a:srgbClr val="C3CFDB"/>
    <a:srgbClr val="F8FBFD"/>
    <a:srgbClr val="F2F8FB"/>
    <a:srgbClr val="EDF5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786" y="10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fld id="{9F7A8F9B-9216-40A6-AE41-467E7EE12F3A}" type="datetimeFigureOut">
              <a:rPr lang="zh-CN" altLang="en-US" smtClean="0"/>
              <a:t>2021/12/9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fld id="{DFCE6FDD-1BEC-47BF-A3FA-6EAD3001CAA1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思源黑体 CN Normal" panose="020B0400000000000000" pitchFamily="34" charset="-122"/>
        <a:ea typeface="思源黑体 CN Normal" panose="020B0400000000000000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思源黑体 CN Normal" panose="020B0400000000000000" pitchFamily="34" charset="-122"/>
        <a:ea typeface="思源黑体 CN Normal" panose="020B0400000000000000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思源黑体 CN Normal" panose="020B0400000000000000" pitchFamily="34" charset="-122"/>
        <a:ea typeface="思源黑体 CN Normal" panose="020B0400000000000000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思源黑体 CN Normal" panose="020B0400000000000000" pitchFamily="34" charset="-122"/>
        <a:ea typeface="思源黑体 CN Normal" panose="020B0400000000000000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思源黑体 CN Normal" panose="020B0400000000000000" pitchFamily="34" charset="-122"/>
        <a:ea typeface="思源黑体 CN Normal" panose="020B0400000000000000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图形 7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89055" y="295787"/>
            <a:ext cx="1985962" cy="2090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713"/>
            <a:ext cx="12191998" cy="6854571"/>
          </a:xfrm>
          <a:prstGeom prst="rect">
            <a:avLst/>
          </a:prstGeom>
        </p:spPr>
      </p:pic>
      <p:sp>
        <p:nvSpPr>
          <p:cNvPr id="4" name="文本占位符 10"/>
          <p:cNvSpPr>
            <a:spLocks noGrp="1"/>
          </p:cNvSpPr>
          <p:nvPr>
            <p:ph type="body" sz="quarter" idx="10" hasCustomPrompt="1"/>
          </p:nvPr>
        </p:nvSpPr>
        <p:spPr>
          <a:xfrm>
            <a:off x="6322484" y="3699625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5" name="文本框 4"/>
          <p:cNvSpPr txBox="1"/>
          <p:nvPr userDrawn="1"/>
        </p:nvSpPr>
        <p:spPr>
          <a:xfrm>
            <a:off x="6322484" y="1717887"/>
            <a:ext cx="897682" cy="5386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3500" b="1" kern="1900" dirty="0">
                <a:solidFill>
                  <a:srgbClr val="043E6F"/>
                </a:solidFill>
                <a:latin typeface="+mn-ea"/>
                <a:ea typeface="+mn-ea"/>
              </a:rPr>
              <a:t>目录</a:t>
            </a:r>
          </a:p>
        </p:txBody>
      </p:sp>
      <p:sp>
        <p:nvSpPr>
          <p:cNvPr id="6" name="文本占位符 46"/>
          <p:cNvSpPr>
            <a:spLocks noGrp="1"/>
          </p:cNvSpPr>
          <p:nvPr>
            <p:ph type="body" sz="quarter" idx="11" hasCustomPrompt="1"/>
          </p:nvPr>
        </p:nvSpPr>
        <p:spPr>
          <a:xfrm>
            <a:off x="7194766" y="3699626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7" name="文本占位符 46"/>
          <p:cNvSpPr>
            <a:spLocks noGrp="1"/>
          </p:cNvSpPr>
          <p:nvPr>
            <p:ph type="body" sz="quarter" idx="12" hasCustomPrompt="1"/>
          </p:nvPr>
        </p:nvSpPr>
        <p:spPr>
          <a:xfrm>
            <a:off x="7194766" y="4110745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8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22484" y="4559533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9" name="文本占位符 46"/>
          <p:cNvSpPr>
            <a:spLocks noGrp="1"/>
          </p:cNvSpPr>
          <p:nvPr>
            <p:ph type="body" sz="quarter" idx="14" hasCustomPrompt="1"/>
          </p:nvPr>
        </p:nvSpPr>
        <p:spPr>
          <a:xfrm>
            <a:off x="7194766" y="4559534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0" name="文本占位符 46"/>
          <p:cNvSpPr>
            <a:spLocks noGrp="1"/>
          </p:cNvSpPr>
          <p:nvPr>
            <p:ph type="body" sz="quarter" idx="15" hasCustomPrompt="1"/>
          </p:nvPr>
        </p:nvSpPr>
        <p:spPr>
          <a:xfrm>
            <a:off x="7194766" y="4970653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6" hasCustomPrompt="1"/>
          </p:nvPr>
        </p:nvSpPr>
        <p:spPr>
          <a:xfrm>
            <a:off x="6322484" y="5409677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2" name="文本占位符 46"/>
          <p:cNvSpPr>
            <a:spLocks noGrp="1"/>
          </p:cNvSpPr>
          <p:nvPr>
            <p:ph type="body" sz="quarter" idx="17" hasCustomPrompt="1"/>
          </p:nvPr>
        </p:nvSpPr>
        <p:spPr>
          <a:xfrm>
            <a:off x="7194766" y="5409678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3" name="文本占位符 46"/>
          <p:cNvSpPr>
            <a:spLocks noGrp="1"/>
          </p:cNvSpPr>
          <p:nvPr>
            <p:ph type="body" sz="quarter" idx="18" hasCustomPrompt="1"/>
          </p:nvPr>
        </p:nvSpPr>
        <p:spPr>
          <a:xfrm>
            <a:off x="7194766" y="5820797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4" name="文本占位符 10"/>
          <p:cNvSpPr>
            <a:spLocks noGrp="1"/>
          </p:cNvSpPr>
          <p:nvPr>
            <p:ph type="body" sz="quarter" idx="19" hasCustomPrompt="1"/>
          </p:nvPr>
        </p:nvSpPr>
        <p:spPr>
          <a:xfrm>
            <a:off x="9237977" y="3699625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5" name="文本占位符 46"/>
          <p:cNvSpPr>
            <a:spLocks noGrp="1"/>
          </p:cNvSpPr>
          <p:nvPr>
            <p:ph type="body" sz="quarter" idx="20" hasCustomPrompt="1"/>
          </p:nvPr>
        </p:nvSpPr>
        <p:spPr>
          <a:xfrm>
            <a:off x="10110259" y="3699626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6" name="文本占位符 46"/>
          <p:cNvSpPr>
            <a:spLocks noGrp="1"/>
          </p:cNvSpPr>
          <p:nvPr>
            <p:ph type="body" sz="quarter" idx="21" hasCustomPrompt="1"/>
          </p:nvPr>
        </p:nvSpPr>
        <p:spPr>
          <a:xfrm>
            <a:off x="10110259" y="4110745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9237977" y="4559533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5</a:t>
            </a:r>
            <a:endParaRPr lang="zh-CN" altLang="en-US" dirty="0"/>
          </a:p>
        </p:txBody>
      </p:sp>
      <p:sp>
        <p:nvSpPr>
          <p:cNvPr id="18" name="文本占位符 46"/>
          <p:cNvSpPr>
            <a:spLocks noGrp="1"/>
          </p:cNvSpPr>
          <p:nvPr>
            <p:ph type="body" sz="quarter" idx="23" hasCustomPrompt="1"/>
          </p:nvPr>
        </p:nvSpPr>
        <p:spPr>
          <a:xfrm>
            <a:off x="10110259" y="4559534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9" name="文本占位符 46"/>
          <p:cNvSpPr>
            <a:spLocks noGrp="1"/>
          </p:cNvSpPr>
          <p:nvPr>
            <p:ph type="body" sz="quarter" idx="24" hasCustomPrompt="1"/>
          </p:nvPr>
        </p:nvSpPr>
        <p:spPr>
          <a:xfrm>
            <a:off x="10110259" y="4970653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20" name="文本占位符 10"/>
          <p:cNvSpPr>
            <a:spLocks noGrp="1"/>
          </p:cNvSpPr>
          <p:nvPr>
            <p:ph type="body" sz="quarter" idx="25" hasCustomPrompt="1"/>
          </p:nvPr>
        </p:nvSpPr>
        <p:spPr>
          <a:xfrm>
            <a:off x="9237977" y="5409677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思源黑体 CN Normal" panose="020B0400000000000000" pitchFamily="34" charset="-122"/>
                <a:ea typeface="思源黑体 CN Bold" panose="020B0800000000000000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6</a:t>
            </a:r>
            <a:endParaRPr lang="zh-CN" altLang="en-US" dirty="0"/>
          </a:p>
        </p:txBody>
      </p:sp>
      <p:sp>
        <p:nvSpPr>
          <p:cNvPr id="21" name="文本占位符 46"/>
          <p:cNvSpPr>
            <a:spLocks noGrp="1"/>
          </p:cNvSpPr>
          <p:nvPr>
            <p:ph type="body" sz="quarter" idx="26" hasCustomPrompt="1"/>
          </p:nvPr>
        </p:nvSpPr>
        <p:spPr>
          <a:xfrm>
            <a:off x="10110259" y="5409678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22" name="文本占位符 46"/>
          <p:cNvSpPr>
            <a:spLocks noGrp="1"/>
          </p:cNvSpPr>
          <p:nvPr>
            <p:ph type="body" sz="quarter" idx="27" hasCustomPrompt="1"/>
          </p:nvPr>
        </p:nvSpPr>
        <p:spPr>
          <a:xfrm>
            <a:off x="10110259" y="5820797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23" name="矩形 22"/>
          <p:cNvSpPr/>
          <p:nvPr userDrawn="1"/>
        </p:nvSpPr>
        <p:spPr>
          <a:xfrm>
            <a:off x="6322484" y="2876550"/>
            <a:ext cx="298450" cy="55906"/>
          </a:xfrm>
          <a:prstGeom prst="rect">
            <a:avLst/>
          </a:prstGeom>
          <a:solidFill>
            <a:srgbClr val="8990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4" name="图形 23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171" y="6195089"/>
            <a:ext cx="1807105" cy="1902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25" name="文本框 24"/>
          <p:cNvSpPr txBox="1"/>
          <p:nvPr userDrawn="1"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‹#›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26" name="组合 25"/>
          <p:cNvGrpSpPr/>
          <p:nvPr userDrawn="1"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27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文本框 30"/>
          <p:cNvSpPr txBox="1"/>
          <p:nvPr userDrawn="1"/>
        </p:nvSpPr>
        <p:spPr>
          <a:xfrm>
            <a:off x="10215841" y="336016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11" name="文本框 10"/>
          <p:cNvSpPr txBox="1"/>
          <p:nvPr userDrawn="1"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‹#›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330200" y="266700"/>
            <a:ext cx="2232301" cy="342900"/>
            <a:chOff x="10038319" y="223498"/>
            <a:chExt cx="1810781" cy="278151"/>
          </a:xfrm>
        </p:grpSpPr>
        <p:sp>
          <p:nvSpPr>
            <p:cNvPr id="14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文本框 18"/>
          <p:cNvSpPr txBox="1"/>
          <p:nvPr userDrawn="1"/>
        </p:nvSpPr>
        <p:spPr>
          <a:xfrm>
            <a:off x="10215841" y="368819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099" y="129216"/>
            <a:ext cx="1915319" cy="4636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1713"/>
            <a:ext cx="12191996" cy="685457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面-上"/>
          <p:cNvSpPr/>
          <p:nvPr userDrawn="1"/>
        </p:nvSpPr>
        <p:spPr>
          <a:xfrm>
            <a:off x="5778500" y="-22860000"/>
            <a:ext cx="635000" cy="635000"/>
          </a:xfrm>
          <a:prstGeom prst="ellipse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页面-下"/>
          <p:cNvSpPr/>
          <p:nvPr userDrawn="1"/>
        </p:nvSpPr>
        <p:spPr>
          <a:xfrm>
            <a:off x="5778500" y="22860000"/>
            <a:ext cx="635000" cy="635000"/>
          </a:xfrm>
          <a:prstGeom prst="ellipse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microsoft.com/office/2007/relationships/hdphoto" Target="../media/hdphoto2.wdp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1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50.png"/><Relationship Id="rId2" Type="http://schemas.openxmlformats.org/officeDocument/2006/relationships/tags" Target="../tags/tag6.xml"/><Relationship Id="rId16" Type="http://schemas.openxmlformats.org/officeDocument/2006/relationships/image" Target="../media/image54.sv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microsoft.com/office/2007/relationships/hdphoto" Target="../media/hdphoto3.wdp"/><Relationship Id="rId5" Type="http://schemas.openxmlformats.org/officeDocument/2006/relationships/tags" Target="../tags/tag9.xml"/><Relationship Id="rId15" Type="http://schemas.openxmlformats.org/officeDocument/2006/relationships/image" Target="../media/image53.png"/><Relationship Id="rId10" Type="http://schemas.openxmlformats.org/officeDocument/2006/relationships/image" Target="../media/image49.png"/><Relationship Id="rId4" Type="http://schemas.openxmlformats.org/officeDocument/2006/relationships/tags" Target="../tags/tag8.xml"/><Relationship Id="rId9" Type="http://schemas.openxmlformats.org/officeDocument/2006/relationships/image" Target="../media/image48.svg"/><Relationship Id="rId1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microsoft.com/office/2007/relationships/hdphoto" Target="../media/hdphoto3.wdp"/><Relationship Id="rId5" Type="http://schemas.openxmlformats.org/officeDocument/2006/relationships/image" Target="../media/image49.png"/><Relationship Id="rId4" Type="http://schemas.openxmlformats.org/officeDocument/2006/relationships/image" Target="../media/image5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microsoft.com/office/2007/relationships/hdphoto" Target="../media/hdphoto3.wdp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49.png"/><Relationship Id="rId2" Type="http://schemas.openxmlformats.org/officeDocument/2006/relationships/image" Target="../media/image58.emf"/><Relationship Id="rId16" Type="http://schemas.microsoft.com/office/2007/relationships/hdphoto" Target="../media/hdphoto4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emf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5" Type="http://schemas.openxmlformats.org/officeDocument/2006/relationships/image" Target="../media/image69.png"/><Relationship Id="rId10" Type="http://schemas.openxmlformats.org/officeDocument/2006/relationships/image" Target="../media/image66.png"/><Relationship Id="rId4" Type="http://schemas.openxmlformats.org/officeDocument/2006/relationships/image" Target="../media/image60.jpeg"/><Relationship Id="rId9" Type="http://schemas.openxmlformats.org/officeDocument/2006/relationships/image" Target="../media/image65.png"/><Relationship Id="rId1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com/url?sa=i&amp;rct=j&amp;q=&amp;esrc=s&amp;frm=1&amp;source=images&amp;cd=&amp;cad=rja&amp;uact=8&amp;docid=_E3AbqFzcWbtNM&amp;tbnid=V7WWGwlDeaKwTM:&amp;ved=0CAUQjRw&amp;url=http://www.greenpeace.org/eastasia/magazines/issue03/financial-summary/&amp;ei=Cz6gU-yZNIXuOfKugZgG&amp;psig=AFQjCNEtV1C0w_PndmgJLCuRdQn5uFE84A&amp;ust=1403096971010587" TargetMode="External"/><Relationship Id="rId13" Type="http://schemas.openxmlformats.org/officeDocument/2006/relationships/image" Target="../media/image75.png"/><Relationship Id="rId18" Type="http://schemas.microsoft.com/office/2007/relationships/hdphoto" Target="../media/hdphoto6.wdp"/><Relationship Id="rId3" Type="http://schemas.openxmlformats.org/officeDocument/2006/relationships/image" Target="../media/image70.png"/><Relationship Id="rId21" Type="http://schemas.openxmlformats.org/officeDocument/2006/relationships/image" Target="../media/image81.png"/><Relationship Id="rId7" Type="http://schemas.openxmlformats.org/officeDocument/2006/relationships/image" Target="../media/image72.png"/><Relationship Id="rId12" Type="http://schemas.openxmlformats.org/officeDocument/2006/relationships/hyperlink" Target="http://www.google.com/url?sa=i&amp;rct=j&amp;q=&amp;esrc=s&amp;frm=1&amp;source=images&amp;cd=&amp;cad=rja&amp;uact=8&amp;docid=KhOJ8LVh6er-aM&amp;tbnid=sTATtqGFHCoeKM:&amp;ved=0CAUQjRw&amp;url=http://www.clker.com/clipart-213734.html&amp;ei=DT-gU-7nOcjdPZ_KgfAB&amp;bvm=bv.68911936,d.bGE&amp;psig=AFQjCNHULbM8t49mCqgCHUrIGVdDG8iOTg&amp;ust=1403097193781379" TargetMode="External"/><Relationship Id="rId17" Type="http://schemas.openxmlformats.org/officeDocument/2006/relationships/image" Target="../media/image78.png"/><Relationship Id="rId25" Type="http://schemas.openxmlformats.org/officeDocument/2006/relationships/image" Target="../media/image85.png"/><Relationship Id="rId2" Type="http://schemas.openxmlformats.org/officeDocument/2006/relationships/hyperlink" Target="http://www.google.com/url?sa=i&amp;source=images&amp;cd=&amp;cad=rja&amp;uact=8&amp;docid=k-yTuvep1GAinM&amp;tbnid=5DjeLu3S1S4D6M&amp;ved=0CAgQjRw&amp;url=https://www.shopperscritique.com/automotive-industry/&amp;ei=7jygU8zBFvSM7AaXmoCwBQ&amp;psig=AFQjCNEj6DIX-O7ha6b7WdkudV5YvLrcTg&amp;ust=1403096686488492" TargetMode="External"/><Relationship Id="rId16" Type="http://schemas.microsoft.com/office/2007/relationships/hdphoto" Target="../media/hdphoto5.wdp"/><Relationship Id="rId20" Type="http://schemas.openxmlformats.org/officeDocument/2006/relationships/image" Target="../media/image80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google.com/url?sa=i&amp;rct=j&amp;q=&amp;esrc=s&amp;frm=1&amp;source=images&amp;cd=&amp;cad=rja&amp;uact=8&amp;docid=flrcxvL221iKMM&amp;tbnid=-_C1JtccGMKACM:&amp;ved=0CAUQjRw&amp;url=http://www.flaticon.com/free-icon/tower-crane_31772&amp;ei=uD2gU8XUO8bZOeKngbAD&amp;psig=AFQjCNEOtk7g4uVPkt14reFNN5k2rvWpvQ&amp;ust=1403096876721136" TargetMode="External"/><Relationship Id="rId11" Type="http://schemas.openxmlformats.org/officeDocument/2006/relationships/image" Target="../media/image74.png"/><Relationship Id="rId24" Type="http://schemas.openxmlformats.org/officeDocument/2006/relationships/image" Target="../media/image84.png"/><Relationship Id="rId5" Type="http://schemas.openxmlformats.org/officeDocument/2006/relationships/image" Target="../media/image71.png"/><Relationship Id="rId15" Type="http://schemas.openxmlformats.org/officeDocument/2006/relationships/image" Target="../media/image77.png"/><Relationship Id="rId23" Type="http://schemas.openxmlformats.org/officeDocument/2006/relationships/image" Target="../media/image83.png"/><Relationship Id="rId10" Type="http://schemas.openxmlformats.org/officeDocument/2006/relationships/hyperlink" Target="http://www.google.com/url?sa=i&amp;rct=j&amp;q=&amp;esrc=s&amp;frm=1&amp;source=images&amp;cd=&amp;cad=rja&amp;uact=8&amp;docid=cM74pgApLQmkSM&amp;tbnid=0QOwkv7rI9q9oM:&amp;ved=0CAUQjRw&amp;url=http://www.iconarchive.com/show/ios7v2-icons-by-visualpharm/Industry-Engineering-icon.html&amp;ei=sz6gU6vTAonhOqSzgJAO&amp;bvm=bv.68911936,d.bGE&amp;psig=AFQjCNG77eKWr85_x9TPDnWqgdW9MkTl8g&amp;ust=1403097135472221" TargetMode="External"/><Relationship Id="rId19" Type="http://schemas.openxmlformats.org/officeDocument/2006/relationships/image" Target="../media/image79.png"/><Relationship Id="rId4" Type="http://schemas.openxmlformats.org/officeDocument/2006/relationships/hyperlink" Target="http://www.google.com/url?sa=i&amp;rct=j&amp;q=&amp;esrc=s&amp;frm=1&amp;source=images&amp;cd=&amp;cad=rja&amp;uact=8&amp;docid=1UC8keAuOIuwdM&amp;tbnid=FNAoJQ97moyoAM:&amp;ved=0CAUQjRw&amp;url=http://www.davemanuel.com/2010/01/18/wsj-compensation-at-major-us-financial-companies-set-to-top-140-billion-dollars-in-2009/&amp;ei=PT2gU5nKOIbgPJrMgOAK&amp;psig=AFQjCNHwO7EJCboV2OB8O-MgQ1jUpp9tCg&amp;ust=1403096742339832" TargetMode="External"/><Relationship Id="rId9" Type="http://schemas.openxmlformats.org/officeDocument/2006/relationships/image" Target="../media/image73.png"/><Relationship Id="rId14" Type="http://schemas.openxmlformats.org/officeDocument/2006/relationships/image" Target="../media/image76.png"/><Relationship Id="rId22" Type="http://schemas.openxmlformats.org/officeDocument/2006/relationships/image" Target="../media/image8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87.jpeg"/><Relationship Id="rId7" Type="http://schemas.openxmlformats.org/officeDocument/2006/relationships/image" Target="../media/image9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8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.png"/><Relationship Id="rId3" Type="http://schemas.openxmlformats.org/officeDocument/2006/relationships/image" Target="../media/image91.jpeg"/><Relationship Id="rId7" Type="http://schemas.openxmlformats.org/officeDocument/2006/relationships/image" Target="../media/image95.png"/><Relationship Id="rId12" Type="http://schemas.openxmlformats.org/officeDocument/2006/relationships/image" Target="../media/image9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4.jpeg"/><Relationship Id="rId11" Type="http://schemas.openxmlformats.org/officeDocument/2006/relationships/image" Target="../media/image8.png"/><Relationship Id="rId5" Type="http://schemas.openxmlformats.org/officeDocument/2006/relationships/image" Target="../media/image93.jpeg"/><Relationship Id="rId10" Type="http://schemas.openxmlformats.org/officeDocument/2006/relationships/image" Target="../media/image97.png"/><Relationship Id="rId4" Type="http://schemas.openxmlformats.org/officeDocument/2006/relationships/image" Target="../media/image92.jpeg"/><Relationship Id="rId9" Type="http://schemas.microsoft.com/office/2007/relationships/hdphoto" Target="../media/hdphoto7.wdp"/><Relationship Id="rId1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980716" y="-2456396"/>
            <a:ext cx="6523323" cy="1002030"/>
            <a:chOff x="1790521" y="9626379"/>
            <a:chExt cx="6523323" cy="1002030"/>
          </a:xfrm>
        </p:grpSpPr>
        <p:sp>
          <p:nvSpPr>
            <p:cNvPr id="7" name="object 18"/>
            <p:cNvSpPr/>
            <p:nvPr/>
          </p:nvSpPr>
          <p:spPr>
            <a:xfrm>
              <a:off x="2641849" y="9626385"/>
              <a:ext cx="300469" cy="100156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19"/>
            <p:cNvSpPr/>
            <p:nvPr/>
          </p:nvSpPr>
          <p:spPr>
            <a:xfrm>
              <a:off x="1790521" y="9626385"/>
              <a:ext cx="634323" cy="1001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20"/>
            <p:cNvSpPr/>
            <p:nvPr/>
          </p:nvSpPr>
          <p:spPr>
            <a:xfrm>
              <a:off x="2171356" y="9626379"/>
              <a:ext cx="712470" cy="1002030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1"/>
            <p:cNvSpPr/>
            <p:nvPr/>
          </p:nvSpPr>
          <p:spPr>
            <a:xfrm>
              <a:off x="3329741" y="9811219"/>
              <a:ext cx="4984103" cy="628253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cxnSp>
        <p:nvCxnSpPr>
          <p:cNvPr id="17" name="直接连接符 16"/>
          <p:cNvCxnSpPr/>
          <p:nvPr/>
        </p:nvCxnSpPr>
        <p:spPr>
          <a:xfrm>
            <a:off x="980716" y="3476625"/>
            <a:ext cx="532800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884465" y="3729696"/>
            <a:ext cx="4678136" cy="352634"/>
          </a:xfrm>
          <a:prstGeom prst="rect">
            <a:avLst/>
          </a:prstGeom>
          <a:noFill/>
        </p:spPr>
        <p:txBody>
          <a:bodyPr wrap="square">
            <a:prstTxWarp prst="textPlain">
              <a:avLst>
                <a:gd name="adj" fmla="val 49118"/>
              </a:avLst>
            </a:prstTxWarp>
            <a:spAutoFit/>
          </a:bodyPr>
          <a:lstStyle/>
          <a:p>
            <a:pPr marL="0" indent="0">
              <a:buNone/>
            </a:pPr>
            <a:r>
              <a:rPr lang="zh-CN" altLang="en-US" sz="2400" spc="300" dirty="0">
                <a:latin typeface="+mj-ea"/>
                <a:ea typeface="+mj-ea"/>
              </a:rPr>
              <a:t>超级</a:t>
            </a:r>
            <a:r>
              <a:rPr lang="en-US" altLang="zh-CN" sz="2400" spc="300" dirty="0">
                <a:latin typeface="+mj-ea"/>
                <a:ea typeface="+mj-ea"/>
              </a:rPr>
              <a:t>AI</a:t>
            </a:r>
            <a:r>
              <a:rPr lang="zh-CN" altLang="en-US" sz="2400" spc="300" dirty="0">
                <a:latin typeface="+mj-ea"/>
                <a:ea typeface="+mj-ea"/>
              </a:rPr>
              <a:t>平台   让生产无忧</a:t>
            </a:r>
            <a:endParaRPr lang="zh-CN" altLang="en-US" sz="2400" b="1" spc="300" dirty="0">
              <a:latin typeface="+mj-ea"/>
              <a:ea typeface="+mj-ea"/>
            </a:endParaRPr>
          </a:p>
        </p:txBody>
      </p:sp>
      <p:sp>
        <p:nvSpPr>
          <p:cNvPr id="21" name="平行四边形 20"/>
          <p:cNvSpPr/>
          <p:nvPr/>
        </p:nvSpPr>
        <p:spPr>
          <a:xfrm flipV="1">
            <a:off x="5273040" y="1656501"/>
            <a:ext cx="2325050" cy="96999"/>
          </a:xfrm>
          <a:prstGeom prst="parallelogram">
            <a:avLst>
              <a:gd name="adj" fmla="val 79926"/>
            </a:avLst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等腰三角形 21"/>
          <p:cNvSpPr/>
          <p:nvPr/>
        </p:nvSpPr>
        <p:spPr>
          <a:xfrm rot="5400000">
            <a:off x="961174" y="3431464"/>
            <a:ext cx="104774" cy="9032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512A160-5D72-4305-A56B-13F297FF0619}"/>
              </a:ext>
            </a:extLst>
          </p:cNvPr>
          <p:cNvSpPr txBox="1"/>
          <p:nvPr/>
        </p:nvSpPr>
        <p:spPr>
          <a:xfrm>
            <a:off x="884465" y="2706723"/>
            <a:ext cx="3722494" cy="83099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4800" dirty="0" err="1">
                <a:solidFill>
                  <a:srgbClr val="006DB2"/>
                </a:solidFill>
                <a:latin typeface="+mj-ea"/>
                <a:ea typeface="+mj-ea"/>
              </a:rPr>
              <a:t>SMore</a:t>
            </a:r>
            <a:r>
              <a:rPr lang="en-US" altLang="zh-CN" sz="4800" dirty="0">
                <a:solidFill>
                  <a:srgbClr val="006DB2"/>
                </a:solidFill>
                <a:latin typeface="+mj-ea"/>
                <a:ea typeface="+mj-ea"/>
              </a:rPr>
              <a:t> </a:t>
            </a:r>
            <a:r>
              <a:rPr lang="en-US" altLang="zh-CN" sz="4800" dirty="0" err="1">
                <a:solidFill>
                  <a:srgbClr val="006DB2"/>
                </a:solidFill>
                <a:latin typeface="+mj-ea"/>
                <a:ea typeface="+mj-ea"/>
              </a:rPr>
              <a:t>ViMo</a:t>
            </a:r>
            <a:endParaRPr lang="zh-CN" altLang="en-US" sz="4800" dirty="0">
              <a:solidFill>
                <a:srgbClr val="006DB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矩形: 圆角 46"/>
          <p:cNvSpPr/>
          <p:nvPr/>
        </p:nvSpPr>
        <p:spPr>
          <a:xfrm>
            <a:off x="9084911" y="2250680"/>
            <a:ext cx="2754365" cy="3075879"/>
          </a:xfrm>
          <a:prstGeom prst="roundRect">
            <a:avLst>
              <a:gd name="adj" fmla="val 5000"/>
            </a:avLst>
          </a:prstGeom>
          <a:solidFill>
            <a:schemeClr val="accent1">
              <a:alpha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6" name="矩形: 圆角 45"/>
          <p:cNvSpPr/>
          <p:nvPr/>
        </p:nvSpPr>
        <p:spPr>
          <a:xfrm>
            <a:off x="6174182" y="2250680"/>
            <a:ext cx="2754365" cy="3075879"/>
          </a:xfrm>
          <a:prstGeom prst="roundRect">
            <a:avLst>
              <a:gd name="adj" fmla="val 5000"/>
            </a:avLst>
          </a:prstGeom>
          <a:solidFill>
            <a:schemeClr val="accent1">
              <a:alpha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5" name="矩形: 圆角 44"/>
          <p:cNvSpPr/>
          <p:nvPr/>
        </p:nvSpPr>
        <p:spPr>
          <a:xfrm>
            <a:off x="3263453" y="2250680"/>
            <a:ext cx="2754365" cy="3075879"/>
          </a:xfrm>
          <a:prstGeom prst="roundRect">
            <a:avLst>
              <a:gd name="adj" fmla="val 5000"/>
            </a:avLst>
          </a:prstGeom>
          <a:solidFill>
            <a:schemeClr val="accent1">
              <a:alpha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23" name="矩形: 圆角 22"/>
          <p:cNvSpPr/>
          <p:nvPr/>
        </p:nvSpPr>
        <p:spPr>
          <a:xfrm>
            <a:off x="352724" y="2250680"/>
            <a:ext cx="2754365" cy="3075879"/>
          </a:xfrm>
          <a:prstGeom prst="roundRect">
            <a:avLst>
              <a:gd name="adj" fmla="val 5000"/>
            </a:avLst>
          </a:prstGeom>
          <a:solidFill>
            <a:schemeClr val="accent1">
              <a:alpha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3" name="内容占位符 1"/>
          <p:cNvSpPr txBox="1"/>
          <p:nvPr/>
        </p:nvSpPr>
        <p:spPr>
          <a:xfrm>
            <a:off x="469582" y="3882584"/>
            <a:ext cx="2473325" cy="3321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000" b="1" dirty="0">
                <a:solidFill>
                  <a:schemeClr val="accent1"/>
                </a:solidFill>
                <a:latin typeface="+mj-ea"/>
                <a:ea typeface="+mj-ea"/>
              </a:rPr>
              <a:t>OCR</a:t>
            </a:r>
            <a:endParaRPr lang="zh-CN" altLang="en-US" sz="2000" b="1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4" name="内容占位符 8"/>
          <p:cNvSpPr txBox="1"/>
          <p:nvPr/>
        </p:nvSpPr>
        <p:spPr>
          <a:xfrm>
            <a:off x="3396086" y="3882584"/>
            <a:ext cx="2473325" cy="3321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000" b="1">
                <a:solidFill>
                  <a:schemeClr val="accent1"/>
                </a:solidFill>
                <a:latin typeface="+mj-ea"/>
                <a:ea typeface="+mj-ea"/>
              </a:rPr>
              <a:t>分割</a:t>
            </a:r>
            <a:endParaRPr lang="zh-CN" altLang="en-US" sz="2000" b="1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5" name="内容占位符 12"/>
          <p:cNvSpPr txBox="1"/>
          <p:nvPr/>
        </p:nvSpPr>
        <p:spPr>
          <a:xfrm>
            <a:off x="6322590" y="3882584"/>
            <a:ext cx="2473325" cy="3321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000" b="1" dirty="0">
                <a:solidFill>
                  <a:schemeClr val="accent1"/>
                </a:solidFill>
                <a:latin typeface="+mj-ea"/>
                <a:ea typeface="+mj-ea"/>
              </a:rPr>
              <a:t>分类</a:t>
            </a:r>
          </a:p>
        </p:txBody>
      </p:sp>
      <p:sp>
        <p:nvSpPr>
          <p:cNvPr id="6" name="内容占位符 16"/>
          <p:cNvSpPr txBox="1"/>
          <p:nvPr/>
        </p:nvSpPr>
        <p:spPr>
          <a:xfrm>
            <a:off x="9249093" y="3882584"/>
            <a:ext cx="2473325" cy="3321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000" b="1" dirty="0">
                <a:solidFill>
                  <a:schemeClr val="accent1"/>
                </a:solidFill>
                <a:latin typeface="+mj-ea"/>
                <a:ea typeface="+mj-ea"/>
              </a:rPr>
              <a:t>检测</a:t>
            </a:r>
          </a:p>
        </p:txBody>
      </p:sp>
      <p:pic>
        <p:nvPicPr>
          <p:cNvPr id="7" name="图片 6" descr="图片包含 电子, 游戏机, 电路&#10;&#10;描述已自动生成"/>
          <p:cNvPicPr/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352724" y="2149081"/>
            <a:ext cx="2754000" cy="1662248"/>
          </a:xfrm>
          <a:prstGeom prst="round2SameRect">
            <a:avLst>
              <a:gd name="adj1" fmla="val 0"/>
              <a:gd name="adj2" fmla="val 0"/>
            </a:avLst>
          </a:prstGeom>
        </p:spPr>
      </p:pic>
      <p:pic>
        <p:nvPicPr>
          <p:cNvPr id="8" name="图片 7" descr="电脑屏幕的照片&#10;&#10;中度可信度描述已自动生成"/>
          <p:cNvPicPr/>
          <p:nvPr/>
        </p:nvPicPr>
        <p:blipFill>
          <a:blip r:embed="rId3" cstate="screen"/>
          <a:stretch>
            <a:fillRect/>
          </a:stretch>
        </p:blipFill>
        <p:spPr>
          <a:xfrm>
            <a:off x="3263453" y="2149081"/>
            <a:ext cx="2754000" cy="1662248"/>
          </a:xfrm>
          <a:prstGeom prst="round2SameRect">
            <a:avLst>
              <a:gd name="adj1" fmla="val 0"/>
              <a:gd name="adj2" fmla="val 0"/>
            </a:avLst>
          </a:prstGeom>
        </p:spPr>
      </p:pic>
      <p:pic>
        <p:nvPicPr>
          <p:cNvPr id="10" name="图片 9" descr="图片包含 室内, 杯子, 眼镜, 桌子&#10;&#10;描述已自动生成"/>
          <p:cNvPicPr/>
          <p:nvPr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6174547" y="2149081"/>
            <a:ext cx="2754000" cy="1662248"/>
          </a:xfrm>
          <a:prstGeom prst="round2SameRect">
            <a:avLst>
              <a:gd name="adj1" fmla="val 0"/>
              <a:gd name="adj2" fmla="val 0"/>
            </a:avLst>
          </a:prstGeom>
        </p:spPr>
      </p:pic>
      <p:sp>
        <p:nvSpPr>
          <p:cNvPr id="12" name="文本占位符 68"/>
          <p:cNvSpPr txBox="1"/>
          <p:nvPr/>
        </p:nvSpPr>
        <p:spPr>
          <a:xfrm>
            <a:off x="3258206" y="4386923"/>
            <a:ext cx="2769436" cy="79533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>
                <a:latin typeface="+mn-ea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sz="1200" dirty="0"/>
              <a:t>对检测对象精细至像素级别的检测和边缘识别</a:t>
            </a:r>
            <a:endParaRPr lang="en-US" altLang="zh-CN" sz="1200" dirty="0"/>
          </a:p>
          <a:p>
            <a:r>
              <a:rPr lang="zh-CN" altLang="en-US" sz="1200" dirty="0"/>
              <a:t>例如识别硅芯片裂纹</a:t>
            </a:r>
          </a:p>
        </p:txBody>
      </p:sp>
      <p:sp>
        <p:nvSpPr>
          <p:cNvPr id="13" name="文本占位符 70"/>
          <p:cNvSpPr txBox="1"/>
          <p:nvPr/>
        </p:nvSpPr>
        <p:spPr>
          <a:xfrm>
            <a:off x="5921328" y="4386924"/>
            <a:ext cx="3280424" cy="795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dirty="0">
                <a:latin typeface="+mn-ea"/>
              </a:rPr>
              <a:t>对检测物料进行分类判断</a:t>
            </a:r>
            <a:endParaRPr lang="en-US" altLang="zh-CN" sz="1200" dirty="0">
              <a:latin typeface="+mn-ea"/>
            </a:endParaRPr>
          </a:p>
          <a:p>
            <a:pPr marL="0" indent="0" algn="ctr">
              <a:buNone/>
            </a:pPr>
            <a:r>
              <a:rPr lang="zh-CN" altLang="en-US" sz="1200" dirty="0">
                <a:latin typeface="+mn-ea"/>
              </a:rPr>
              <a:t>如对物料进行</a:t>
            </a:r>
            <a:r>
              <a:rPr lang="en-US" altLang="zh-CN" sz="1200" dirty="0">
                <a:latin typeface="+mn-ea"/>
              </a:rPr>
              <a:t>OK/NG</a:t>
            </a:r>
            <a:r>
              <a:rPr lang="zh-CN" altLang="en-US" sz="1200" dirty="0">
                <a:latin typeface="+mn-ea"/>
              </a:rPr>
              <a:t>二分类、颜色分类</a:t>
            </a:r>
          </a:p>
        </p:txBody>
      </p:sp>
      <p:sp>
        <p:nvSpPr>
          <p:cNvPr id="14" name="文本占位符 72"/>
          <p:cNvSpPr txBox="1"/>
          <p:nvPr/>
        </p:nvSpPr>
        <p:spPr>
          <a:xfrm>
            <a:off x="9080325" y="4386924"/>
            <a:ext cx="2768775" cy="69388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200" dirty="0">
                <a:latin typeface="+mn-ea"/>
              </a:rPr>
              <a:t> </a:t>
            </a:r>
            <a:r>
              <a:rPr lang="zh-CN" altLang="en-US" sz="1200" dirty="0">
                <a:latin typeface="+mn-ea"/>
              </a:rPr>
              <a:t>对检测目标进行定位及分类</a:t>
            </a:r>
            <a:endParaRPr lang="en-US" altLang="zh-CN" sz="1200" dirty="0">
              <a:latin typeface="+mn-ea"/>
            </a:endParaRPr>
          </a:p>
          <a:p>
            <a:pPr marL="0" indent="0" algn="ctr">
              <a:buNone/>
            </a:pPr>
            <a:r>
              <a:rPr lang="zh-CN" altLang="en-US" sz="1200" dirty="0">
                <a:latin typeface="+mn-ea"/>
              </a:rPr>
              <a:t>适用于多目标、小目标、计数等</a:t>
            </a:r>
          </a:p>
        </p:txBody>
      </p:sp>
      <p:sp>
        <p:nvSpPr>
          <p:cNvPr id="15" name="文本占位符 68"/>
          <p:cNvSpPr txBox="1"/>
          <p:nvPr/>
        </p:nvSpPr>
        <p:spPr>
          <a:xfrm>
            <a:off x="570395" y="3956985"/>
            <a:ext cx="2473325" cy="578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zh-CN" altLang="en-US" sz="1200" kern="1200">
                <a:solidFill>
                  <a:schemeClr val="tx1">
                    <a:lumMod val="95000"/>
                    <a:lumOff val="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chemeClr val="tx1">
                    <a:lumMod val="95000"/>
                    <a:lumOff val="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474646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474646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rgbClr val="474646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/>
          </a:p>
        </p:txBody>
      </p:sp>
      <p:sp>
        <p:nvSpPr>
          <p:cNvPr id="16" name="文本占位符 68"/>
          <p:cNvSpPr txBox="1"/>
          <p:nvPr/>
        </p:nvSpPr>
        <p:spPr>
          <a:xfrm>
            <a:off x="340969" y="4386924"/>
            <a:ext cx="2768775" cy="76676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>
                <a:latin typeface="+mn-ea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sz="1200" dirty="0"/>
              <a:t>端对端的字符识别</a:t>
            </a:r>
            <a:br>
              <a:rPr lang="en-US" altLang="zh-CN" sz="1200" dirty="0"/>
            </a:br>
            <a:r>
              <a:rPr lang="zh-CN" altLang="en-US" sz="1200" dirty="0"/>
              <a:t>可识别不同背景</a:t>
            </a:r>
            <a:endParaRPr lang="en-US" altLang="zh-CN" sz="1200" dirty="0"/>
          </a:p>
          <a:p>
            <a:r>
              <a:rPr lang="zh-CN" altLang="en-US" sz="1200" dirty="0"/>
              <a:t>如钢印、印刷、激光雕刻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9084911" y="2149081"/>
            <a:ext cx="2754000" cy="1662248"/>
            <a:chOff x="9236645" y="3690539"/>
            <a:chExt cx="2460487" cy="1485091"/>
          </a:xfrm>
        </p:grpSpPr>
        <p:pic>
          <p:nvPicPr>
            <p:cNvPr id="9" name="图片 8" descr="图片包含 游戏机, 桌子&#10;&#10;描述已自动生成"/>
            <p:cNvPicPr/>
            <p:nvPr/>
          </p:nvPicPr>
          <p:blipFill>
            <a:blip r:embed="rId5" cstate="screen"/>
            <a:stretch>
              <a:fillRect/>
            </a:stretch>
          </p:blipFill>
          <p:spPr>
            <a:xfrm>
              <a:off x="9236645" y="3690539"/>
              <a:ext cx="2460487" cy="1485091"/>
            </a:xfrm>
            <a:prstGeom prst="round2SameRect">
              <a:avLst>
                <a:gd name="adj1" fmla="val 0"/>
                <a:gd name="adj2" fmla="val 0"/>
              </a:avLst>
            </a:prstGeom>
          </p:spPr>
        </p:pic>
        <p:sp>
          <p:nvSpPr>
            <p:cNvPr id="17" name="矩形 16"/>
            <p:cNvSpPr/>
            <p:nvPr/>
          </p:nvSpPr>
          <p:spPr>
            <a:xfrm>
              <a:off x="9899010" y="3834470"/>
              <a:ext cx="486562" cy="473075"/>
            </a:xfrm>
            <a:prstGeom prst="rect">
              <a:avLst/>
            </a:prstGeom>
            <a:noFill/>
            <a:ln>
              <a:solidFill>
                <a:srgbClr val="043E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10142291" y="4374561"/>
              <a:ext cx="486562" cy="473075"/>
            </a:xfrm>
            <a:prstGeom prst="rect">
              <a:avLst/>
            </a:prstGeom>
            <a:noFill/>
            <a:ln>
              <a:solidFill>
                <a:srgbClr val="043E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矩形 18"/>
            <p:cNvSpPr/>
            <p:nvPr/>
          </p:nvSpPr>
          <p:spPr>
            <a:xfrm>
              <a:off x="9583712" y="4303269"/>
              <a:ext cx="486562" cy="473075"/>
            </a:xfrm>
            <a:prstGeom prst="rect">
              <a:avLst/>
            </a:prstGeom>
            <a:noFill/>
            <a:ln>
              <a:solidFill>
                <a:srgbClr val="043E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矩形 19"/>
            <p:cNvSpPr/>
            <p:nvPr/>
          </p:nvSpPr>
          <p:spPr>
            <a:xfrm>
              <a:off x="10944151" y="4428504"/>
              <a:ext cx="486562" cy="473075"/>
            </a:xfrm>
            <a:prstGeom prst="rect">
              <a:avLst/>
            </a:prstGeom>
            <a:noFill/>
            <a:ln>
              <a:solidFill>
                <a:srgbClr val="043E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2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4</a:t>
            </a:r>
            <a:r>
              <a:rPr lang="zh-CN" altLang="en-US" dirty="0"/>
              <a:t>大核心算法</a:t>
            </a:r>
          </a:p>
        </p:txBody>
      </p:sp>
      <p:cxnSp>
        <p:nvCxnSpPr>
          <p:cNvPr id="30" name="直接连接符 29"/>
          <p:cNvCxnSpPr/>
          <p:nvPr/>
        </p:nvCxnSpPr>
        <p:spPr>
          <a:xfrm>
            <a:off x="1490244" y="4269365"/>
            <a:ext cx="432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4416748" y="4269365"/>
            <a:ext cx="432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7343252" y="4269365"/>
            <a:ext cx="432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10269755" y="4269365"/>
            <a:ext cx="432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框 33"/>
          <p:cNvSpPr txBox="1"/>
          <p:nvPr/>
        </p:nvSpPr>
        <p:spPr>
          <a:xfrm>
            <a:off x="1471075" y="1487189"/>
            <a:ext cx="5229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i="1" dirty="0">
                <a:gradFill flip="none" rotWithShape="1">
                  <a:gsLst>
                    <a:gs pos="0">
                      <a:schemeClr val="accent1">
                        <a:alpha val="30000"/>
                      </a:schemeClr>
                    </a:gs>
                    <a:gs pos="75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1</a:t>
            </a:r>
            <a:endParaRPr lang="zh-CN" altLang="en-US" sz="4800" i="1" dirty="0">
              <a:gradFill flip="none" rotWithShape="1">
                <a:gsLst>
                  <a:gs pos="0">
                    <a:schemeClr val="accent1">
                      <a:alpha val="30000"/>
                    </a:schemeClr>
                  </a:gs>
                  <a:gs pos="75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4381804" y="1487189"/>
            <a:ext cx="5229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i="1" dirty="0">
                <a:gradFill flip="none" rotWithShape="1">
                  <a:gsLst>
                    <a:gs pos="0">
                      <a:schemeClr val="accent1">
                        <a:alpha val="30000"/>
                      </a:schemeClr>
                    </a:gs>
                    <a:gs pos="75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2</a:t>
            </a:r>
            <a:endParaRPr lang="zh-CN" altLang="en-US" sz="4800" i="1" dirty="0">
              <a:gradFill flip="none" rotWithShape="1">
                <a:gsLst>
                  <a:gs pos="0">
                    <a:schemeClr val="accent1">
                      <a:alpha val="30000"/>
                    </a:schemeClr>
                  </a:gs>
                  <a:gs pos="75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7292533" y="1487189"/>
            <a:ext cx="5229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i="1" dirty="0">
                <a:gradFill flip="none" rotWithShape="1">
                  <a:gsLst>
                    <a:gs pos="0">
                      <a:schemeClr val="accent1">
                        <a:alpha val="30000"/>
                      </a:schemeClr>
                    </a:gs>
                    <a:gs pos="75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3</a:t>
            </a:r>
            <a:endParaRPr lang="zh-CN" altLang="en-US" sz="4800" i="1" dirty="0">
              <a:gradFill flip="none" rotWithShape="1">
                <a:gsLst>
                  <a:gs pos="0">
                    <a:schemeClr val="accent1">
                      <a:alpha val="30000"/>
                    </a:schemeClr>
                  </a:gs>
                  <a:gs pos="75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10203262" y="1487189"/>
            <a:ext cx="5229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i="1" dirty="0">
                <a:gradFill flip="none" rotWithShape="1">
                  <a:gsLst>
                    <a:gs pos="0">
                      <a:schemeClr val="accent1">
                        <a:alpha val="30000"/>
                      </a:schemeClr>
                    </a:gs>
                    <a:gs pos="75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4</a:t>
            </a:r>
            <a:endParaRPr lang="zh-CN" altLang="en-US" sz="4800" i="1" dirty="0">
              <a:gradFill flip="none" rotWithShape="1">
                <a:gsLst>
                  <a:gs pos="0">
                    <a:schemeClr val="accent1">
                      <a:alpha val="30000"/>
                    </a:schemeClr>
                  </a:gs>
                  <a:gs pos="75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469582" y="5699506"/>
            <a:ext cx="3116336" cy="396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5200" rIns="0" bIns="0" rtlCol="0" anchor="ctr" anchorCtr="0">
            <a:noAutofit/>
          </a:bodyPr>
          <a:lstStyle/>
          <a:p>
            <a:pPr algn="ctr"/>
            <a:r>
              <a:rPr lang="en-US" altLang="zh-CN" dirty="0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</a:rPr>
              <a:t>1.3</a:t>
            </a:r>
            <a:r>
              <a:rPr lang="zh-CN" altLang="en-US" dirty="0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</a:rPr>
              <a:t>亿</a:t>
            </a:r>
            <a:r>
              <a:rPr lang="zh-CN" altLang="en-US" dirty="0">
                <a:solidFill>
                  <a:schemeClr val="tx1"/>
                </a:solidFill>
                <a:latin typeface="+mn-ea"/>
                <a:cs typeface="Arial" panose="020B0604020202020204" pitchFamily="34" charset="0"/>
              </a:rPr>
              <a:t>像素处理能力</a:t>
            </a:r>
          </a:p>
        </p:txBody>
      </p:sp>
      <p:sp>
        <p:nvSpPr>
          <p:cNvPr id="40" name="矩形: 圆角 39"/>
          <p:cNvSpPr/>
          <p:nvPr/>
        </p:nvSpPr>
        <p:spPr>
          <a:xfrm>
            <a:off x="3859161" y="5699506"/>
            <a:ext cx="2569326" cy="396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5200" rIns="0" bIns="0" rtlCol="0" anchor="ctr" anchorCtr="0">
            <a:noAutofit/>
          </a:bodyPr>
          <a:lstStyle/>
          <a:p>
            <a:pPr algn="ctr"/>
            <a:r>
              <a:rPr lang="en-US" altLang="zh-CN" dirty="0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</a:rPr>
              <a:t>4</a:t>
            </a:r>
            <a:r>
              <a:rPr lang="zh-CN" altLang="en-US" dirty="0">
                <a:solidFill>
                  <a:schemeClr val="accent2"/>
                </a:solidFill>
                <a:latin typeface="+mj-ea"/>
                <a:ea typeface="+mj-ea"/>
                <a:cs typeface="Arial" panose="020B0604020202020204" pitchFamily="34" charset="0"/>
              </a:rPr>
              <a:t>像素</a:t>
            </a:r>
            <a:r>
              <a:rPr lang="zh-CN" altLang="en-US" dirty="0">
                <a:solidFill>
                  <a:schemeClr val="tx1"/>
                </a:solidFill>
                <a:latin typeface="+mn-ea"/>
                <a:cs typeface="Arial" panose="020B0604020202020204" pitchFamily="34" charset="0"/>
              </a:rPr>
              <a:t>算法分割</a:t>
            </a:r>
          </a:p>
        </p:txBody>
      </p:sp>
      <p:sp>
        <p:nvSpPr>
          <p:cNvPr id="41" name="矩形: 圆角 40"/>
          <p:cNvSpPr/>
          <p:nvPr/>
        </p:nvSpPr>
        <p:spPr>
          <a:xfrm>
            <a:off x="6701730" y="5699506"/>
            <a:ext cx="2569326" cy="396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5200" rIns="0" bIns="0" rtlCol="0" anchor="ctr" anchorCtr="0">
            <a:no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+mn-ea"/>
                <a:cs typeface="Arial" panose="020B0604020202020204" pitchFamily="34" charset="0"/>
              </a:rPr>
              <a:t>动态数据增强</a:t>
            </a:r>
          </a:p>
        </p:txBody>
      </p:sp>
      <p:sp>
        <p:nvSpPr>
          <p:cNvPr id="42" name="矩形: 圆角 41"/>
          <p:cNvSpPr/>
          <p:nvPr/>
        </p:nvSpPr>
        <p:spPr>
          <a:xfrm>
            <a:off x="9535912" y="5699506"/>
            <a:ext cx="2217938" cy="396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5200" rIns="0" bIns="0" rtlCol="0" anchor="ctr" anchorCtr="0">
            <a:no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+mn-ea"/>
                <a:cs typeface="Arial" panose="020B0604020202020204" pitchFamily="34" charset="0"/>
              </a:rPr>
              <a:t>小样本纠错</a:t>
            </a:r>
          </a:p>
        </p:txBody>
      </p:sp>
      <p:sp>
        <p:nvSpPr>
          <p:cNvPr id="44" name="文本框 43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Helvetica Neue Medium"/>
              </a:rPr>
              <a:t>新一代视觉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Helvetica Neue Medium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Helvetica Neue Medium"/>
              </a:rPr>
              <a:t>技术，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Helvetica Neue Medium"/>
              </a:rPr>
              <a:t>20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Helvetica Neue Medium"/>
              </a:rPr>
              <a:t>余载实践凝练</a:t>
            </a:r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sym typeface="+mn-ea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57961" y="2149081"/>
            <a:ext cx="2749128" cy="465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 47"/>
          <p:cNvSpPr/>
          <p:nvPr/>
        </p:nvSpPr>
        <p:spPr>
          <a:xfrm>
            <a:off x="3268690" y="2149081"/>
            <a:ext cx="2749128" cy="465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矩形 48"/>
          <p:cNvSpPr/>
          <p:nvPr/>
        </p:nvSpPr>
        <p:spPr>
          <a:xfrm>
            <a:off x="6179419" y="2149081"/>
            <a:ext cx="2749128" cy="465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矩形 49"/>
          <p:cNvSpPr/>
          <p:nvPr/>
        </p:nvSpPr>
        <p:spPr>
          <a:xfrm>
            <a:off x="9090148" y="2149081"/>
            <a:ext cx="2749128" cy="465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: 圆角 53"/>
          <p:cNvSpPr/>
          <p:nvPr/>
        </p:nvSpPr>
        <p:spPr>
          <a:xfrm>
            <a:off x="8052587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13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OCR</a:t>
            </a:r>
            <a:r>
              <a:rPr lang="zh-CN" altLang="en-US" dirty="0"/>
              <a:t>算法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0" y="1096482"/>
            <a:ext cx="12192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使用端对端的深度学习技术，对产品进行字符信息识别</a:t>
            </a:r>
            <a:b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</a:b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从而实现产品溯源，信息判断</a:t>
            </a:r>
          </a:p>
        </p:txBody>
      </p:sp>
      <p:cxnSp>
        <p:nvCxnSpPr>
          <p:cNvPr id="55" name="直接连接符 54"/>
          <p:cNvCxnSpPr/>
          <p:nvPr/>
        </p:nvCxnSpPr>
        <p:spPr>
          <a:xfrm>
            <a:off x="9370920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2"/>
          <p:cNvSpPr txBox="1"/>
          <p:nvPr/>
        </p:nvSpPr>
        <p:spPr bwMode="gray">
          <a:xfrm>
            <a:off x="8595788" y="4701132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pPr marL="0" indent="0" algn="ctr">
              <a:buNone/>
            </a:pPr>
            <a:r>
              <a:rPr lang="zh-CN" altLang="en-US" sz="2000" b="0" dirty="0">
                <a:solidFill>
                  <a:schemeClr val="accent1"/>
                </a:solidFill>
                <a:latin typeface="+mj-ea"/>
                <a:ea typeface="+mj-ea"/>
              </a:rPr>
              <a:t>食品生产日期检测</a:t>
            </a:r>
            <a:endParaRPr lang="en-US" altLang="zh-CN" sz="2000" b="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57" name="矩形: 圆角 56"/>
          <p:cNvSpPr/>
          <p:nvPr/>
        </p:nvSpPr>
        <p:spPr>
          <a:xfrm>
            <a:off x="4435667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58" name="直接连接符 57"/>
          <p:cNvCxnSpPr/>
          <p:nvPr/>
        </p:nvCxnSpPr>
        <p:spPr>
          <a:xfrm>
            <a:off x="5754000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/>
          <p:cNvSpPr txBox="1"/>
          <p:nvPr/>
        </p:nvSpPr>
        <p:spPr bwMode="gray">
          <a:xfrm>
            <a:off x="4978868" y="4701132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pPr marL="0" indent="0" algn="ctr">
              <a:buNone/>
            </a:pPr>
            <a:r>
              <a:rPr lang="zh-CN" altLang="en-US" sz="2000" b="0" dirty="0">
                <a:solidFill>
                  <a:schemeClr val="accent1"/>
                </a:solidFill>
                <a:latin typeface="+mj-ea"/>
                <a:ea typeface="+mj-ea"/>
              </a:rPr>
              <a:t>物料溯源追踪</a:t>
            </a:r>
            <a:endParaRPr lang="en-US" altLang="zh-CN" sz="2000" b="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60" name="矩形: 圆角 59"/>
          <p:cNvSpPr/>
          <p:nvPr/>
        </p:nvSpPr>
        <p:spPr>
          <a:xfrm>
            <a:off x="829335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62" name="直接连接符 61"/>
          <p:cNvCxnSpPr/>
          <p:nvPr/>
        </p:nvCxnSpPr>
        <p:spPr>
          <a:xfrm>
            <a:off x="2147668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2"/>
          <p:cNvSpPr txBox="1"/>
          <p:nvPr/>
        </p:nvSpPr>
        <p:spPr bwMode="gray">
          <a:xfrm>
            <a:off x="1372536" y="4701132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pPr marL="0" indent="0" algn="ctr">
              <a:buNone/>
            </a:pPr>
            <a:r>
              <a:rPr lang="zh-CN" altLang="en-US" sz="2000" b="0" dirty="0">
                <a:solidFill>
                  <a:schemeClr val="accent1"/>
                </a:solidFill>
                <a:latin typeface="+mj-ea"/>
                <a:ea typeface="+mj-ea"/>
              </a:rPr>
              <a:t>物流单号识别</a:t>
            </a:r>
            <a:endParaRPr lang="en-US" altLang="zh-CN" sz="2000" b="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pic>
        <p:nvPicPr>
          <p:cNvPr id="68" name="图片 67"/>
          <p:cNvPicPr/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938" r="4938"/>
          <a:stretch>
            <a:fillRect/>
          </a:stretch>
        </p:blipFill>
        <p:spPr>
          <a:xfrm>
            <a:off x="4435666" y="2400300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sp>
        <p:nvSpPr>
          <p:cNvPr id="71" name="矩形 70"/>
          <p:cNvSpPr/>
          <p:nvPr/>
        </p:nvSpPr>
        <p:spPr>
          <a:xfrm>
            <a:off x="829335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矩形 71"/>
          <p:cNvSpPr/>
          <p:nvPr/>
        </p:nvSpPr>
        <p:spPr>
          <a:xfrm>
            <a:off x="4437134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 72"/>
          <p:cNvSpPr/>
          <p:nvPr/>
        </p:nvSpPr>
        <p:spPr>
          <a:xfrm>
            <a:off x="8054054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1" name="图片 20" descr="D:\01 品牌资料库\07_公司图片\vimo使用图片\322841dc-c2cd-46c3-b093-32fa2d072f3a.jpg322841dc-c2cd-46c3-b093-32fa2d072f3a">
            <a:extLst>
              <a:ext uri="{FF2B5EF4-FFF2-40B4-BE49-F238E27FC236}">
                <a16:creationId xmlns:a16="http://schemas.microsoft.com/office/drawing/2014/main" id="{6F12BE83-8252-450F-ABB4-6B186B57AB4E}"/>
              </a:ext>
            </a:extLst>
          </p:cNvPr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8746" y="2339235"/>
            <a:ext cx="3319201" cy="2236408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FE7CDCC2-B05D-4CA8-A1DE-FB9BF0F7C518}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" r="328"/>
          <a:stretch/>
        </p:blipFill>
        <p:spPr>
          <a:xfrm>
            <a:off x="8052587" y="2362219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8202118" y="1043381"/>
            <a:ext cx="1117600" cy="40894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kumimoji="0" lang="zh-CN" altLang="en-US" sz="20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Helvetica Neue Medium"/>
                <a:sym typeface="Helvetica Neue Medium"/>
              </a:rPr>
              <a:t>应用场景</a:t>
            </a:r>
          </a:p>
        </p:txBody>
      </p:sp>
      <p:sp>
        <p:nvSpPr>
          <p:cNvPr id="29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分类算法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342900" y="1096482"/>
            <a:ext cx="11506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400">
                <a:latin typeface="+mj-ea"/>
                <a:ea typeface="+mj-ea"/>
              </a:defRPr>
            </a:lvl1pPr>
          </a:lstStyle>
          <a:p>
            <a:r>
              <a:rPr lang="zh-CN" altLang="en-US" sz="20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对整图分类，可支持单图高达</a:t>
            </a:r>
            <a:r>
              <a:rPr lang="en-US" altLang="zh-CN" sz="2000" dirty="0">
                <a:solidFill>
                  <a:schemeClr val="accent2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1000</a:t>
            </a:r>
            <a:r>
              <a:rPr lang="zh-CN" altLang="en-US" sz="2000" dirty="0">
                <a:solidFill>
                  <a:schemeClr val="accent2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种</a:t>
            </a:r>
            <a:r>
              <a:rPr lang="zh-CN" altLang="en-US" sz="20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分类</a:t>
            </a:r>
          </a:p>
        </p:txBody>
      </p:sp>
      <p:sp>
        <p:nvSpPr>
          <p:cNvPr id="82" name="矩形: 圆角 81"/>
          <p:cNvSpPr/>
          <p:nvPr/>
        </p:nvSpPr>
        <p:spPr>
          <a:xfrm>
            <a:off x="8052587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83" name="直接连接符 82"/>
          <p:cNvCxnSpPr/>
          <p:nvPr/>
        </p:nvCxnSpPr>
        <p:spPr>
          <a:xfrm>
            <a:off x="9370920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 Placeholder 2"/>
          <p:cNvSpPr txBox="1"/>
          <p:nvPr/>
        </p:nvSpPr>
        <p:spPr bwMode="gray">
          <a:xfrm>
            <a:off x="8595788" y="4701132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轮胎分类</a:t>
            </a:r>
          </a:p>
        </p:txBody>
      </p:sp>
      <p:sp>
        <p:nvSpPr>
          <p:cNvPr id="85" name="矩形: 圆角 84"/>
          <p:cNvSpPr/>
          <p:nvPr/>
        </p:nvSpPr>
        <p:spPr>
          <a:xfrm>
            <a:off x="4435667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86" name="直接连接符 85"/>
          <p:cNvCxnSpPr/>
          <p:nvPr/>
        </p:nvCxnSpPr>
        <p:spPr>
          <a:xfrm>
            <a:off x="5754000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 Placeholder 2"/>
          <p:cNvSpPr txBox="1"/>
          <p:nvPr/>
        </p:nvSpPr>
        <p:spPr bwMode="gray">
          <a:xfrm>
            <a:off x="4660900" y="4701132"/>
            <a:ext cx="2870200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轴承划伤缺陷分类</a:t>
            </a:r>
          </a:p>
        </p:txBody>
      </p:sp>
      <p:sp>
        <p:nvSpPr>
          <p:cNvPr id="88" name="矩形: 圆角 87"/>
          <p:cNvSpPr/>
          <p:nvPr/>
        </p:nvSpPr>
        <p:spPr>
          <a:xfrm>
            <a:off x="829335" y="4554764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pic>
        <p:nvPicPr>
          <p:cNvPr id="89" name="图片 88"/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9335" y="2341340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cxnSp>
        <p:nvCxnSpPr>
          <p:cNvPr id="90" name="直接连接符 89"/>
          <p:cNvCxnSpPr/>
          <p:nvPr/>
        </p:nvCxnSpPr>
        <p:spPr>
          <a:xfrm>
            <a:off x="2147668" y="5312579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Placeholder 2"/>
          <p:cNvSpPr txBox="1"/>
          <p:nvPr/>
        </p:nvSpPr>
        <p:spPr bwMode="gray">
          <a:xfrm>
            <a:off x="1372536" y="4701132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筷子分级</a:t>
            </a:r>
          </a:p>
        </p:txBody>
      </p:sp>
      <p:pic>
        <p:nvPicPr>
          <p:cNvPr id="92" name="图片 9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54054" y="2400300"/>
            <a:ext cx="3319200" cy="2202711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pic>
        <p:nvPicPr>
          <p:cNvPr id="93" name="图片 92"/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35667" y="2400300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sp>
        <p:nvSpPr>
          <p:cNvPr id="94" name="矩形 93"/>
          <p:cNvSpPr/>
          <p:nvPr/>
        </p:nvSpPr>
        <p:spPr>
          <a:xfrm>
            <a:off x="829335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矩形 94"/>
          <p:cNvSpPr/>
          <p:nvPr/>
        </p:nvSpPr>
        <p:spPr>
          <a:xfrm>
            <a:off x="4437134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矩形 95"/>
          <p:cNvSpPr/>
          <p:nvPr/>
        </p:nvSpPr>
        <p:spPr>
          <a:xfrm>
            <a:off x="8054054" y="4577724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检测算法</a:t>
            </a:r>
            <a:endParaRPr lang="zh-CN" altLang="en-US" sz="3600" dirty="0"/>
          </a:p>
        </p:txBody>
      </p:sp>
      <p:sp>
        <p:nvSpPr>
          <p:cNvPr id="16" name="文本框 15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识别目标可能存在的区域，并对区域进行分类</a:t>
            </a:r>
            <a:endParaRPr lang="en-US" altLang="zh-CN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66" name="矩形: 圆角 65"/>
          <p:cNvSpPr/>
          <p:nvPr/>
        </p:nvSpPr>
        <p:spPr>
          <a:xfrm>
            <a:off x="8052587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67" name="直接连接符 66"/>
          <p:cNvCxnSpPr/>
          <p:nvPr/>
        </p:nvCxnSpPr>
        <p:spPr>
          <a:xfrm>
            <a:off x="9370920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 Placeholder 2"/>
          <p:cNvSpPr txBox="1"/>
          <p:nvPr/>
        </p:nvSpPr>
        <p:spPr bwMode="gray">
          <a:xfrm>
            <a:off x="8595788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目标定位</a:t>
            </a:r>
          </a:p>
        </p:txBody>
      </p:sp>
      <p:sp>
        <p:nvSpPr>
          <p:cNvPr id="69" name="矩形: 圆角 68"/>
          <p:cNvSpPr/>
          <p:nvPr/>
        </p:nvSpPr>
        <p:spPr>
          <a:xfrm>
            <a:off x="4435667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70" name="直接连接符 69"/>
          <p:cNvCxnSpPr/>
          <p:nvPr/>
        </p:nvCxnSpPr>
        <p:spPr>
          <a:xfrm>
            <a:off x="5754000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Placeholder 2"/>
          <p:cNvSpPr txBox="1"/>
          <p:nvPr/>
        </p:nvSpPr>
        <p:spPr bwMode="gray">
          <a:xfrm>
            <a:off x="4978868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药片漏装检测</a:t>
            </a:r>
          </a:p>
        </p:txBody>
      </p:sp>
      <p:sp>
        <p:nvSpPr>
          <p:cNvPr id="72" name="矩形: 圆角 71"/>
          <p:cNvSpPr/>
          <p:nvPr/>
        </p:nvSpPr>
        <p:spPr>
          <a:xfrm>
            <a:off x="829335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pic>
        <p:nvPicPr>
          <p:cNvPr id="73" name="图片 72"/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9335" y="1776186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cxnSp>
        <p:nvCxnSpPr>
          <p:cNvPr id="74" name="直接连接符 73"/>
          <p:cNvCxnSpPr/>
          <p:nvPr/>
        </p:nvCxnSpPr>
        <p:spPr>
          <a:xfrm>
            <a:off x="2147668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2"/>
          <p:cNvSpPr txBox="1"/>
          <p:nvPr/>
        </p:nvSpPr>
        <p:spPr bwMode="gray">
          <a:xfrm>
            <a:off x="1372536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电阻计数</a:t>
            </a:r>
          </a:p>
        </p:txBody>
      </p:sp>
      <p:pic>
        <p:nvPicPr>
          <p:cNvPr id="77" name="图片 7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54054" y="1776186"/>
            <a:ext cx="3319200" cy="2202711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grpSp>
        <p:nvGrpSpPr>
          <p:cNvPr id="86" name="组合 85"/>
          <p:cNvGrpSpPr/>
          <p:nvPr/>
        </p:nvGrpSpPr>
        <p:grpSpPr>
          <a:xfrm>
            <a:off x="-407304" y="5564309"/>
            <a:ext cx="13006608" cy="1688546"/>
            <a:chOff x="352425" y="5600486"/>
            <a:chExt cx="11487150" cy="1123951"/>
          </a:xfrm>
        </p:grpSpPr>
        <p:sp>
          <p:nvSpPr>
            <p:cNvPr id="87" name="椭圆 86"/>
            <p:cNvSpPr/>
            <p:nvPr/>
          </p:nvSpPr>
          <p:spPr>
            <a:xfrm>
              <a:off x="3228869" y="5839579"/>
              <a:ext cx="5550645" cy="345138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88" name="椭圆 87"/>
            <p:cNvSpPr/>
            <p:nvPr/>
          </p:nvSpPr>
          <p:spPr>
            <a:xfrm>
              <a:off x="2247900" y="5691707"/>
              <a:ext cx="7696200" cy="674119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89" name="椭圆 88"/>
            <p:cNvSpPr/>
            <p:nvPr/>
          </p:nvSpPr>
          <p:spPr>
            <a:xfrm>
              <a:off x="1476376" y="5632401"/>
              <a:ext cx="9239250" cy="895350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90" name="椭圆 89"/>
            <p:cNvSpPr/>
            <p:nvPr/>
          </p:nvSpPr>
          <p:spPr>
            <a:xfrm>
              <a:off x="352425" y="5600486"/>
              <a:ext cx="11487150" cy="1123951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</p:grpSp>
      <p:cxnSp>
        <p:nvCxnSpPr>
          <p:cNvPr id="91" name="直接连接符 90"/>
          <p:cNvCxnSpPr/>
          <p:nvPr/>
        </p:nvCxnSpPr>
        <p:spPr>
          <a:xfrm>
            <a:off x="1267023" y="5302421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91"/>
          <p:cNvCxnSpPr/>
          <p:nvPr/>
        </p:nvCxnSpPr>
        <p:spPr>
          <a:xfrm>
            <a:off x="11151200" y="5156948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/>
          <p:cNvCxnSpPr/>
          <p:nvPr/>
        </p:nvCxnSpPr>
        <p:spPr>
          <a:xfrm>
            <a:off x="11567661" y="2153617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接连接符 93"/>
          <p:cNvCxnSpPr/>
          <p:nvPr/>
        </p:nvCxnSpPr>
        <p:spPr>
          <a:xfrm>
            <a:off x="10610720" y="6113389"/>
            <a:ext cx="0" cy="504446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6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94"/>
          <p:cNvCxnSpPr/>
          <p:nvPr/>
        </p:nvCxnSpPr>
        <p:spPr>
          <a:xfrm>
            <a:off x="3149966" y="6160293"/>
            <a:ext cx="0" cy="392456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连接符 95"/>
          <p:cNvCxnSpPr/>
          <p:nvPr/>
        </p:nvCxnSpPr>
        <p:spPr>
          <a:xfrm>
            <a:off x="459831" y="4024458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接连接符 96"/>
          <p:cNvCxnSpPr/>
          <p:nvPr/>
        </p:nvCxnSpPr>
        <p:spPr>
          <a:xfrm>
            <a:off x="11710984" y="4045479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连接符 98"/>
          <p:cNvCxnSpPr/>
          <p:nvPr/>
        </p:nvCxnSpPr>
        <p:spPr>
          <a:xfrm>
            <a:off x="9405509" y="6057900"/>
            <a:ext cx="0" cy="392456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图片 99"/>
          <p:cNvPicPr/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20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35667" y="1776186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sp>
        <p:nvSpPr>
          <p:cNvPr id="101" name="文本框 100"/>
          <p:cNvSpPr txBox="1"/>
          <p:nvPr/>
        </p:nvSpPr>
        <p:spPr>
          <a:xfrm>
            <a:off x="2845869" y="5380322"/>
            <a:ext cx="6500262" cy="87661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>
            <a:defPPr>
              <a:defRPr lang="zh-CN"/>
            </a:defPPr>
            <a:lvl1pPr algn="ctr">
              <a:lnSpc>
                <a:spcPct val="120000"/>
              </a:lnSpc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>
                <a:sym typeface="+mn-ea"/>
              </a:rPr>
              <a:t>输出目标位置和类别</a:t>
            </a:r>
            <a:br>
              <a:rPr lang="en-US" altLang="zh-CN" dirty="0">
                <a:sym typeface="+mn-ea"/>
              </a:rPr>
            </a:br>
            <a:r>
              <a:rPr lang="zh-CN" altLang="en-US" dirty="0">
                <a:sym typeface="+mn-ea"/>
              </a:rPr>
              <a:t>可用于计数、缺陷检测、目标识别等</a:t>
            </a:r>
            <a:endParaRPr lang="zh-CN" altLang="en-US" dirty="0"/>
          </a:p>
        </p:txBody>
      </p:sp>
      <p:pic>
        <p:nvPicPr>
          <p:cNvPr id="103" name="图片 102"/>
          <p:cNvPicPr/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44" b="89869" l="9900" r="89975">
                        <a14:foregroundMark x1="27945" y1="11257" x2="25815" y2="17824"/>
                        <a14:foregroundMark x1="17669" y1="39400" x2="22306" y2="35460"/>
                        <a14:foregroundMark x1="19549" y1="51782" x2="20802" y2="51595"/>
                        <a14:foregroundMark x1="36591" y1="68856" x2="39474" y2="68856"/>
                        <a14:backgroundMark x1="20175" y1="46529" x2="15288" y2="47842"/>
                        <a14:backgroundMark x1="26190" y1="63227" x2="29950" y2="70732"/>
                        <a14:backgroundMark x1="29825" y1="68105" x2="32832" y2="71107"/>
                        <a14:backgroundMark x1="45113" y1="68480" x2="45865" y2="70732"/>
                        <a14:backgroundMark x1="45489" y1="67730" x2="45990" y2="690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35667" y="1776186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noFill/>
          </a:ln>
          <a:effectLst/>
        </p:spPr>
      </p:pic>
      <p:sp>
        <p:nvSpPr>
          <p:cNvPr id="105" name="矩形 104"/>
          <p:cNvSpPr/>
          <p:nvPr/>
        </p:nvSpPr>
        <p:spPr>
          <a:xfrm>
            <a:off x="829335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矩形 105"/>
          <p:cNvSpPr/>
          <p:nvPr/>
        </p:nvSpPr>
        <p:spPr>
          <a:xfrm>
            <a:off x="4437134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 106"/>
          <p:cNvSpPr/>
          <p:nvPr/>
        </p:nvSpPr>
        <p:spPr>
          <a:xfrm>
            <a:off x="8054054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矩形: 圆角 80"/>
          <p:cNvSpPr/>
          <p:nvPr/>
        </p:nvSpPr>
        <p:spPr>
          <a:xfrm>
            <a:off x="8052587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82" name="直接连接符 81"/>
          <p:cNvCxnSpPr/>
          <p:nvPr/>
        </p:nvCxnSpPr>
        <p:spPr>
          <a:xfrm>
            <a:off x="9370920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 Placeholder 2"/>
          <p:cNvSpPr txBox="1"/>
          <p:nvPr/>
        </p:nvSpPr>
        <p:spPr bwMode="gray">
          <a:xfrm>
            <a:off x="8595788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条形褶皱检测</a:t>
            </a:r>
            <a:endParaRPr lang="en-US" altLang="zh-CN" dirty="0"/>
          </a:p>
        </p:txBody>
      </p:sp>
      <p:sp>
        <p:nvSpPr>
          <p:cNvPr id="78" name="矩形: 圆角 77"/>
          <p:cNvSpPr/>
          <p:nvPr/>
        </p:nvSpPr>
        <p:spPr>
          <a:xfrm>
            <a:off x="4435667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cxnSp>
        <p:nvCxnSpPr>
          <p:cNvPr id="79" name="直接连接符 78"/>
          <p:cNvCxnSpPr/>
          <p:nvPr/>
        </p:nvCxnSpPr>
        <p:spPr>
          <a:xfrm>
            <a:off x="5754000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2"/>
          <p:cNvSpPr txBox="1"/>
          <p:nvPr/>
        </p:nvSpPr>
        <p:spPr bwMode="gray">
          <a:xfrm>
            <a:off x="4978868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缺陷</a:t>
            </a:r>
            <a:r>
              <a:rPr lang="zh-CN" altLang="en-US"/>
              <a:t>面积计算</a:t>
            </a:r>
            <a:endParaRPr lang="en-US" altLang="zh-CN" dirty="0"/>
          </a:p>
        </p:txBody>
      </p:sp>
      <p:sp>
        <p:nvSpPr>
          <p:cNvPr id="74" name="矩形: 圆角 73"/>
          <p:cNvSpPr/>
          <p:nvPr/>
        </p:nvSpPr>
        <p:spPr>
          <a:xfrm>
            <a:off x="829335" y="3930650"/>
            <a:ext cx="3320667" cy="10794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22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分割</a:t>
            </a:r>
            <a:r>
              <a:rPr lang="zh-CN" altLang="en-US" dirty="0">
                <a:solidFill>
                  <a:srgbClr val="103E6E"/>
                </a:solidFill>
              </a:rPr>
              <a:t>算法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accent2"/>
                </a:solidFill>
                <a:latin typeface="+mj-ea"/>
                <a:ea typeface="+mj-ea"/>
              </a:rPr>
              <a:t>4</a:t>
            </a:r>
            <a:r>
              <a:rPr lang="zh-CN" altLang="en-US" dirty="0">
                <a:solidFill>
                  <a:schemeClr val="accent2"/>
                </a:solidFill>
                <a:latin typeface="+mj-ea"/>
                <a:ea typeface="+mj-ea"/>
              </a:rPr>
              <a:t>像素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精细化处理能力，可识别最小缺陷：</a:t>
            </a:r>
            <a:r>
              <a:rPr lang="en-US" altLang="zh-CN" dirty="0">
                <a:solidFill>
                  <a:schemeClr val="accent2"/>
                </a:solidFill>
                <a:latin typeface="+mj-ea"/>
                <a:ea typeface="+mj-ea"/>
              </a:rPr>
              <a:t>2pixel * 2pixel</a:t>
            </a:r>
            <a:endParaRPr lang="zh-CN" altLang="en-US" dirty="0">
              <a:solidFill>
                <a:schemeClr val="accent2"/>
              </a:solidFill>
              <a:latin typeface="+mj-ea"/>
              <a:ea typeface="+mj-ea"/>
            </a:endParaRPr>
          </a:p>
        </p:txBody>
      </p:sp>
      <p:cxnSp>
        <p:nvCxnSpPr>
          <p:cNvPr id="75" name="直接连接符 74"/>
          <p:cNvCxnSpPr/>
          <p:nvPr/>
        </p:nvCxnSpPr>
        <p:spPr>
          <a:xfrm>
            <a:off x="2147668" y="4688465"/>
            <a:ext cx="684000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2"/>
          <p:cNvSpPr txBox="1"/>
          <p:nvPr/>
        </p:nvSpPr>
        <p:spPr bwMode="gray">
          <a:xfrm>
            <a:off x="1372536" y="4077018"/>
            <a:ext cx="2234264" cy="485958"/>
          </a:xfrm>
          <a:prstGeom prst="rect">
            <a:avLst/>
          </a:prstGeom>
          <a:noFill/>
        </p:spPr>
        <p:txBody>
          <a:bodyPr vert="horz" wrap="none" lIns="0" tIns="3600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电池极片划伤识别</a:t>
            </a:r>
            <a:endParaRPr lang="en-US" altLang="zh-CN" dirty="0"/>
          </a:p>
        </p:txBody>
      </p:sp>
      <p:grpSp>
        <p:nvGrpSpPr>
          <p:cNvPr id="3" name="图片 47"/>
          <p:cNvGrpSpPr/>
          <p:nvPr/>
        </p:nvGrpSpPr>
        <p:grpSpPr>
          <a:xfrm>
            <a:off x="8059905" y="1768760"/>
            <a:ext cx="3319200" cy="2202711"/>
            <a:chOff x="8041999" y="1877786"/>
            <a:chExt cx="3341843" cy="2600041"/>
          </a:xfrm>
          <a:noFill/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041999" y="1877786"/>
              <a:ext cx="3341843" cy="2600041"/>
            </a:xfrm>
            <a:prstGeom prst="round2SameRect">
              <a:avLst>
                <a:gd name="adj1" fmla="val 5909"/>
                <a:gd name="adj2" fmla="val 0"/>
              </a:avLst>
            </a:prstGeom>
            <a:ln w="6350">
              <a:solidFill>
                <a:schemeClr val="accent1"/>
              </a:solidFill>
            </a:ln>
            <a:effectLst/>
          </p:spPr>
        </p:pic>
        <p:sp>
          <p:nvSpPr>
            <p:cNvPr id="5" name="任意多边形: 形状 4"/>
            <p:cNvSpPr/>
            <p:nvPr/>
          </p:nvSpPr>
          <p:spPr>
            <a:xfrm>
              <a:off x="9156049" y="1901738"/>
              <a:ext cx="263934" cy="130029"/>
            </a:xfrm>
            <a:custGeom>
              <a:avLst/>
              <a:gdLst>
                <a:gd name="connsiteX0" fmla="*/ -835 w 263934"/>
                <a:gd name="connsiteY0" fmla="*/ -626 h 130029"/>
                <a:gd name="connsiteX1" fmla="*/ 22305 w 263934"/>
                <a:gd name="connsiteY1" fmla="*/ 9003 h 130029"/>
                <a:gd name="connsiteX2" fmla="*/ 36238 w 263934"/>
                <a:gd name="connsiteY2" fmla="*/ 13821 h 130029"/>
                <a:gd name="connsiteX3" fmla="*/ 63983 w 263934"/>
                <a:gd name="connsiteY3" fmla="*/ 33086 h 130029"/>
                <a:gd name="connsiteX4" fmla="*/ 91787 w 263934"/>
                <a:gd name="connsiteY4" fmla="*/ 42715 h 130029"/>
                <a:gd name="connsiteX5" fmla="*/ 119531 w 263934"/>
                <a:gd name="connsiteY5" fmla="*/ 57162 h 130029"/>
                <a:gd name="connsiteX6" fmla="*/ 133465 w 263934"/>
                <a:gd name="connsiteY6" fmla="*/ 66798 h 130029"/>
                <a:gd name="connsiteX7" fmla="*/ 161209 w 263934"/>
                <a:gd name="connsiteY7" fmla="*/ 76427 h 130029"/>
                <a:gd name="connsiteX8" fmla="*/ 189014 w 263934"/>
                <a:gd name="connsiteY8" fmla="*/ 90874 h 130029"/>
                <a:gd name="connsiteX9" fmla="*/ 221422 w 263934"/>
                <a:gd name="connsiteY9" fmla="*/ 105327 h 130029"/>
                <a:gd name="connsiteX10" fmla="*/ 249228 w 263934"/>
                <a:gd name="connsiteY10" fmla="*/ 119775 h 130029"/>
                <a:gd name="connsiteX11" fmla="*/ 263100 w 263934"/>
                <a:gd name="connsiteY11" fmla="*/ 129404 h 13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934" h="130029">
                  <a:moveTo>
                    <a:pt x="-835" y="-626"/>
                  </a:moveTo>
                  <a:cubicBezTo>
                    <a:pt x="6899" y="2584"/>
                    <a:pt x="14510" y="5971"/>
                    <a:pt x="22305" y="9003"/>
                  </a:cubicBezTo>
                  <a:cubicBezTo>
                    <a:pt x="26909" y="10789"/>
                    <a:pt x="31942" y="11357"/>
                    <a:pt x="36238" y="13821"/>
                  </a:cubicBezTo>
                  <a:cubicBezTo>
                    <a:pt x="45937" y="19446"/>
                    <a:pt x="53425" y="29424"/>
                    <a:pt x="63983" y="33086"/>
                  </a:cubicBezTo>
                  <a:cubicBezTo>
                    <a:pt x="73251" y="36296"/>
                    <a:pt x="83624" y="37089"/>
                    <a:pt x="91787" y="42715"/>
                  </a:cubicBezTo>
                  <a:cubicBezTo>
                    <a:pt x="109711" y="55163"/>
                    <a:pt x="100381" y="50517"/>
                    <a:pt x="119531" y="57162"/>
                  </a:cubicBezTo>
                  <a:cubicBezTo>
                    <a:pt x="124196" y="60378"/>
                    <a:pt x="128371" y="64443"/>
                    <a:pt x="133465" y="66798"/>
                  </a:cubicBezTo>
                  <a:cubicBezTo>
                    <a:pt x="142365" y="70917"/>
                    <a:pt x="161209" y="76427"/>
                    <a:pt x="161209" y="76427"/>
                  </a:cubicBezTo>
                  <a:cubicBezTo>
                    <a:pt x="187909" y="94939"/>
                    <a:pt x="162191" y="78911"/>
                    <a:pt x="189014" y="90874"/>
                  </a:cubicBezTo>
                  <a:cubicBezTo>
                    <a:pt x="229033" y="108722"/>
                    <a:pt x="188891" y="94035"/>
                    <a:pt x="221422" y="105327"/>
                  </a:cubicBezTo>
                  <a:cubicBezTo>
                    <a:pt x="261258" y="132928"/>
                    <a:pt x="210865" y="99832"/>
                    <a:pt x="249228" y="119775"/>
                  </a:cubicBezTo>
                  <a:cubicBezTo>
                    <a:pt x="254200" y="122361"/>
                    <a:pt x="263100" y="129404"/>
                    <a:pt x="263100" y="129404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/>
            <p:cNvSpPr/>
            <p:nvPr/>
          </p:nvSpPr>
          <p:spPr>
            <a:xfrm>
              <a:off x="8750939" y="2059142"/>
              <a:ext cx="2074649" cy="485899"/>
            </a:xfrm>
            <a:custGeom>
              <a:avLst/>
              <a:gdLst>
                <a:gd name="connsiteX0" fmla="*/ -835 w 2074649"/>
                <a:gd name="connsiteY0" fmla="*/ -626 h 485899"/>
                <a:gd name="connsiteX1" fmla="*/ 385001 w 2074649"/>
                <a:gd name="connsiteY1" fmla="*/ 206894 h 485899"/>
                <a:gd name="connsiteX2" fmla="*/ 398934 w 2074649"/>
                <a:gd name="connsiteY2" fmla="*/ 211958 h 485899"/>
                <a:gd name="connsiteX3" fmla="*/ 440795 w 2074649"/>
                <a:gd name="connsiteY3" fmla="*/ 217016 h 485899"/>
                <a:gd name="connsiteX4" fmla="*/ 515127 w 2074649"/>
                <a:gd name="connsiteY4" fmla="*/ 222080 h 485899"/>
                <a:gd name="connsiteX5" fmla="*/ 547658 w 2074649"/>
                <a:gd name="connsiteY5" fmla="*/ 237266 h 485899"/>
                <a:gd name="connsiteX6" fmla="*/ 561653 w 2074649"/>
                <a:gd name="connsiteY6" fmla="*/ 252446 h 485899"/>
                <a:gd name="connsiteX7" fmla="*/ 589520 w 2074649"/>
                <a:gd name="connsiteY7" fmla="*/ 262567 h 485899"/>
                <a:gd name="connsiteX8" fmla="*/ 617386 w 2074649"/>
                <a:gd name="connsiteY8" fmla="*/ 282818 h 485899"/>
                <a:gd name="connsiteX9" fmla="*/ 631381 w 2074649"/>
                <a:gd name="connsiteY9" fmla="*/ 292940 h 485899"/>
                <a:gd name="connsiteX10" fmla="*/ 803368 w 2074649"/>
                <a:gd name="connsiteY10" fmla="*/ 308126 h 485899"/>
                <a:gd name="connsiteX11" fmla="*/ 891694 w 2074649"/>
                <a:gd name="connsiteY11" fmla="*/ 318247 h 485899"/>
                <a:gd name="connsiteX12" fmla="*/ 966026 w 2074649"/>
                <a:gd name="connsiteY12" fmla="*/ 328369 h 485899"/>
                <a:gd name="connsiteX13" fmla="*/ 1156611 w 2074649"/>
                <a:gd name="connsiteY13" fmla="*/ 333433 h 485899"/>
                <a:gd name="connsiteX14" fmla="*/ 1207741 w 2074649"/>
                <a:gd name="connsiteY14" fmla="*/ 338491 h 485899"/>
                <a:gd name="connsiteX15" fmla="*/ 1221674 w 2074649"/>
                <a:gd name="connsiteY15" fmla="*/ 343555 h 485899"/>
                <a:gd name="connsiteX16" fmla="*/ 1254267 w 2074649"/>
                <a:gd name="connsiteY16" fmla="*/ 353677 h 485899"/>
                <a:gd name="connsiteX17" fmla="*/ 1258870 w 2074649"/>
                <a:gd name="connsiteY17" fmla="*/ 368863 h 485899"/>
                <a:gd name="connsiteX18" fmla="*/ 1277468 w 2074649"/>
                <a:gd name="connsiteY18" fmla="*/ 363799 h 485899"/>
                <a:gd name="connsiteX19" fmla="*/ 1314664 w 2074649"/>
                <a:gd name="connsiteY19" fmla="*/ 353677 h 485899"/>
                <a:gd name="connsiteX20" fmla="*/ 1407656 w 2074649"/>
                <a:gd name="connsiteY20" fmla="*/ 363799 h 485899"/>
                <a:gd name="connsiteX21" fmla="*/ 1495982 w 2074649"/>
                <a:gd name="connsiteY21" fmla="*/ 373921 h 485899"/>
                <a:gd name="connsiteX22" fmla="*/ 1570313 w 2074649"/>
                <a:gd name="connsiteY22" fmla="*/ 384042 h 485899"/>
                <a:gd name="connsiteX23" fmla="*/ 1602845 w 2074649"/>
                <a:gd name="connsiteY23" fmla="*/ 394171 h 485899"/>
                <a:gd name="connsiteX24" fmla="*/ 1630772 w 2074649"/>
                <a:gd name="connsiteY24" fmla="*/ 404293 h 485899"/>
                <a:gd name="connsiteX25" fmla="*/ 1644706 w 2074649"/>
                <a:gd name="connsiteY25" fmla="*/ 409350 h 485899"/>
                <a:gd name="connsiteX26" fmla="*/ 1658639 w 2074649"/>
                <a:gd name="connsiteY26" fmla="*/ 419479 h 485899"/>
                <a:gd name="connsiteX27" fmla="*/ 1700501 w 2074649"/>
                <a:gd name="connsiteY27" fmla="*/ 429601 h 485899"/>
                <a:gd name="connsiteX28" fmla="*/ 1746965 w 2074649"/>
                <a:gd name="connsiteY28" fmla="*/ 444780 h 485899"/>
                <a:gd name="connsiteX29" fmla="*/ 1760899 w 2074649"/>
                <a:gd name="connsiteY29" fmla="*/ 449844 h 485899"/>
                <a:gd name="connsiteX30" fmla="*/ 1746965 w 2074649"/>
                <a:gd name="connsiteY30" fmla="*/ 465030 h 485899"/>
                <a:gd name="connsiteX31" fmla="*/ 1760899 w 2074649"/>
                <a:gd name="connsiteY31" fmla="*/ 470088 h 485899"/>
                <a:gd name="connsiteX32" fmla="*/ 1779497 w 2074649"/>
                <a:gd name="connsiteY32" fmla="*/ 459966 h 485899"/>
                <a:gd name="connsiteX33" fmla="*/ 1839956 w 2074649"/>
                <a:gd name="connsiteY33" fmla="*/ 465030 h 485899"/>
                <a:gd name="connsiteX34" fmla="*/ 1853890 w 2074649"/>
                <a:gd name="connsiteY34" fmla="*/ 475152 h 485899"/>
                <a:gd name="connsiteX35" fmla="*/ 1886421 w 2074649"/>
                <a:gd name="connsiteY35" fmla="*/ 485274 h 485899"/>
                <a:gd name="connsiteX36" fmla="*/ 2016609 w 2074649"/>
                <a:gd name="connsiteY36" fmla="*/ 480216 h 485899"/>
                <a:gd name="connsiteX37" fmla="*/ 2044475 w 2074649"/>
                <a:gd name="connsiteY37" fmla="*/ 470088 h 485899"/>
                <a:gd name="connsiteX38" fmla="*/ 2072342 w 2074649"/>
                <a:gd name="connsiteY38" fmla="*/ 454908 h 485899"/>
                <a:gd name="connsiteX39" fmla="*/ 2072342 w 2074649"/>
                <a:gd name="connsiteY39" fmla="*/ 424536 h 48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74649" h="485899">
                  <a:moveTo>
                    <a:pt x="-835" y="-626"/>
                  </a:moveTo>
                  <a:lnTo>
                    <a:pt x="385001" y="206894"/>
                  </a:lnTo>
                  <a:cubicBezTo>
                    <a:pt x="389359" y="209235"/>
                    <a:pt x="394085" y="211076"/>
                    <a:pt x="398934" y="211958"/>
                  </a:cubicBezTo>
                  <a:cubicBezTo>
                    <a:pt x="412745" y="214470"/>
                    <a:pt x="426801" y="215798"/>
                    <a:pt x="440795" y="217016"/>
                  </a:cubicBezTo>
                  <a:cubicBezTo>
                    <a:pt x="465531" y="219172"/>
                    <a:pt x="490329" y="220390"/>
                    <a:pt x="515127" y="222080"/>
                  </a:cubicBezTo>
                  <a:cubicBezTo>
                    <a:pt x="532865" y="226905"/>
                    <a:pt x="533909" y="224777"/>
                    <a:pt x="547658" y="237266"/>
                  </a:cubicBezTo>
                  <a:cubicBezTo>
                    <a:pt x="552752" y="241845"/>
                    <a:pt x="555883" y="248969"/>
                    <a:pt x="561653" y="252446"/>
                  </a:cubicBezTo>
                  <a:cubicBezTo>
                    <a:pt x="570185" y="257626"/>
                    <a:pt x="589520" y="262567"/>
                    <a:pt x="589520" y="262567"/>
                  </a:cubicBezTo>
                  <a:lnTo>
                    <a:pt x="617386" y="282818"/>
                  </a:lnTo>
                  <a:cubicBezTo>
                    <a:pt x="622051" y="286192"/>
                    <a:pt x="626041" y="291016"/>
                    <a:pt x="631381" y="292940"/>
                  </a:cubicBezTo>
                  <a:cubicBezTo>
                    <a:pt x="704853" y="319610"/>
                    <a:pt x="649426" y="302719"/>
                    <a:pt x="803368" y="308126"/>
                  </a:cubicBezTo>
                  <a:lnTo>
                    <a:pt x="891694" y="318247"/>
                  </a:lnTo>
                  <a:cubicBezTo>
                    <a:pt x="916430" y="321621"/>
                    <a:pt x="941043" y="327705"/>
                    <a:pt x="966026" y="328369"/>
                  </a:cubicBezTo>
                  <a:lnTo>
                    <a:pt x="1156611" y="333433"/>
                  </a:lnTo>
                  <a:cubicBezTo>
                    <a:pt x="1173674" y="335117"/>
                    <a:pt x="1190800" y="335856"/>
                    <a:pt x="1207741" y="338491"/>
                  </a:cubicBezTo>
                  <a:cubicBezTo>
                    <a:pt x="1212589" y="339244"/>
                    <a:pt x="1217009" y="342091"/>
                    <a:pt x="1221674" y="343555"/>
                  </a:cubicBezTo>
                  <a:cubicBezTo>
                    <a:pt x="1262553" y="356264"/>
                    <a:pt x="1220815" y="341543"/>
                    <a:pt x="1254267" y="353677"/>
                  </a:cubicBezTo>
                  <a:cubicBezTo>
                    <a:pt x="1255801" y="358741"/>
                    <a:pt x="1254328" y="366879"/>
                    <a:pt x="1258870" y="368863"/>
                  </a:cubicBezTo>
                  <a:cubicBezTo>
                    <a:pt x="1264824" y="371443"/>
                    <a:pt x="1271269" y="365311"/>
                    <a:pt x="1277468" y="363799"/>
                  </a:cubicBezTo>
                  <a:cubicBezTo>
                    <a:pt x="1311166" y="355655"/>
                    <a:pt x="1289745" y="362725"/>
                    <a:pt x="1314664" y="353677"/>
                  </a:cubicBezTo>
                  <a:cubicBezTo>
                    <a:pt x="1424474" y="363641"/>
                    <a:pt x="1324117" y="353691"/>
                    <a:pt x="1407656" y="363799"/>
                  </a:cubicBezTo>
                  <a:cubicBezTo>
                    <a:pt x="1452770" y="369253"/>
                    <a:pt x="1452463" y="368001"/>
                    <a:pt x="1495982" y="373921"/>
                  </a:cubicBezTo>
                  <a:cubicBezTo>
                    <a:pt x="1602108" y="388368"/>
                    <a:pt x="1441170" y="368418"/>
                    <a:pt x="1570313" y="384042"/>
                  </a:cubicBezTo>
                  <a:cubicBezTo>
                    <a:pt x="1617208" y="401049"/>
                    <a:pt x="1544534" y="375112"/>
                    <a:pt x="1602845" y="394171"/>
                  </a:cubicBezTo>
                  <a:cubicBezTo>
                    <a:pt x="1612236" y="397237"/>
                    <a:pt x="1621443" y="400919"/>
                    <a:pt x="1630772" y="404293"/>
                  </a:cubicBezTo>
                  <a:cubicBezTo>
                    <a:pt x="1635437" y="405976"/>
                    <a:pt x="1640655" y="406394"/>
                    <a:pt x="1644706" y="409350"/>
                  </a:cubicBezTo>
                  <a:cubicBezTo>
                    <a:pt x="1649371" y="412724"/>
                    <a:pt x="1653668" y="416755"/>
                    <a:pt x="1658639" y="419479"/>
                  </a:cubicBezTo>
                  <a:cubicBezTo>
                    <a:pt x="1670731" y="426042"/>
                    <a:pt x="1688593" y="427007"/>
                    <a:pt x="1700501" y="429601"/>
                  </a:cubicBezTo>
                  <a:cubicBezTo>
                    <a:pt x="1718055" y="433426"/>
                    <a:pt x="1729165" y="438326"/>
                    <a:pt x="1746965" y="444780"/>
                  </a:cubicBezTo>
                  <a:lnTo>
                    <a:pt x="1760899" y="449844"/>
                  </a:lnTo>
                  <a:cubicBezTo>
                    <a:pt x="1756295" y="454908"/>
                    <a:pt x="1746965" y="457872"/>
                    <a:pt x="1746965" y="465030"/>
                  </a:cubicBezTo>
                  <a:cubicBezTo>
                    <a:pt x="1746965" y="470361"/>
                    <a:pt x="1756049" y="470848"/>
                    <a:pt x="1760899" y="470088"/>
                  </a:cubicBezTo>
                  <a:cubicBezTo>
                    <a:pt x="1767773" y="469020"/>
                    <a:pt x="1773298" y="463340"/>
                    <a:pt x="1779497" y="459966"/>
                  </a:cubicBezTo>
                  <a:cubicBezTo>
                    <a:pt x="1799629" y="461656"/>
                    <a:pt x="1820069" y="460972"/>
                    <a:pt x="1839956" y="465030"/>
                  </a:cubicBezTo>
                  <a:cubicBezTo>
                    <a:pt x="1845419" y="466153"/>
                    <a:pt x="1848918" y="472428"/>
                    <a:pt x="1853890" y="475152"/>
                  </a:cubicBezTo>
                  <a:cubicBezTo>
                    <a:pt x="1860580" y="478786"/>
                    <a:pt x="1880467" y="483652"/>
                    <a:pt x="1886421" y="485274"/>
                  </a:cubicBezTo>
                  <a:cubicBezTo>
                    <a:pt x="1929817" y="483590"/>
                    <a:pt x="1973335" y="484370"/>
                    <a:pt x="2016609" y="480216"/>
                  </a:cubicBezTo>
                  <a:cubicBezTo>
                    <a:pt x="2026368" y="479279"/>
                    <a:pt x="2035206" y="473462"/>
                    <a:pt x="2044475" y="470088"/>
                  </a:cubicBezTo>
                  <a:cubicBezTo>
                    <a:pt x="2050183" y="468021"/>
                    <a:pt x="2069763" y="462382"/>
                    <a:pt x="2072342" y="454908"/>
                  </a:cubicBezTo>
                  <a:cubicBezTo>
                    <a:pt x="2075656" y="445423"/>
                    <a:pt x="2072342" y="434658"/>
                    <a:pt x="2072342" y="424536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/>
            <p:cNvSpPr/>
            <p:nvPr/>
          </p:nvSpPr>
          <p:spPr>
            <a:xfrm>
              <a:off x="10567792" y="1901738"/>
              <a:ext cx="270072" cy="82123"/>
            </a:xfrm>
            <a:custGeom>
              <a:avLst/>
              <a:gdLst>
                <a:gd name="connsiteX0" fmla="*/ -835 w 270072"/>
                <a:gd name="connsiteY0" fmla="*/ 81498 h 82123"/>
                <a:gd name="connsiteX1" fmla="*/ 108115 w 270072"/>
                <a:gd name="connsiteY1" fmla="*/ 52515 h 82123"/>
                <a:gd name="connsiteX2" fmla="*/ 217126 w 270072"/>
                <a:gd name="connsiteY2" fmla="*/ 42852 h 82123"/>
                <a:gd name="connsiteX3" fmla="*/ 245545 w 270072"/>
                <a:gd name="connsiteY3" fmla="*/ 23532 h 82123"/>
                <a:gd name="connsiteX4" fmla="*/ 259785 w 270072"/>
                <a:gd name="connsiteY4" fmla="*/ 13869 h 82123"/>
                <a:gd name="connsiteX5" fmla="*/ 269238 w 270072"/>
                <a:gd name="connsiteY5" fmla="*/ -626 h 8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072" h="82123">
                  <a:moveTo>
                    <a:pt x="-835" y="81498"/>
                  </a:moveTo>
                  <a:cubicBezTo>
                    <a:pt x="35502" y="71835"/>
                    <a:pt x="71102" y="58661"/>
                    <a:pt x="108115" y="52515"/>
                  </a:cubicBezTo>
                  <a:cubicBezTo>
                    <a:pt x="273903" y="25003"/>
                    <a:pt x="162498" y="61418"/>
                    <a:pt x="217126" y="42852"/>
                  </a:cubicBezTo>
                  <a:lnTo>
                    <a:pt x="245545" y="23532"/>
                  </a:lnTo>
                  <a:lnTo>
                    <a:pt x="259785" y="13869"/>
                  </a:lnTo>
                  <a:lnTo>
                    <a:pt x="269238" y="-626"/>
                  </a:ln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/>
            <p:cNvSpPr/>
            <p:nvPr/>
          </p:nvSpPr>
          <p:spPr>
            <a:xfrm>
              <a:off x="8781630" y="2524511"/>
              <a:ext cx="2037821" cy="561180"/>
            </a:xfrm>
            <a:custGeom>
              <a:avLst/>
              <a:gdLst>
                <a:gd name="connsiteX0" fmla="*/ -835 w 2037821"/>
                <a:gd name="connsiteY0" fmla="*/ -626 h 561180"/>
                <a:gd name="connsiteX1" fmla="*/ 101756 w 2037821"/>
                <a:gd name="connsiteY1" fmla="*/ 145986 h 561180"/>
                <a:gd name="connsiteX2" fmla="*/ 134398 w 2037821"/>
                <a:gd name="connsiteY2" fmla="*/ 186432 h 561180"/>
                <a:gd name="connsiteX3" fmla="*/ 171705 w 2037821"/>
                <a:gd name="connsiteY3" fmla="*/ 221827 h 561180"/>
                <a:gd name="connsiteX4" fmla="*/ 185693 w 2037821"/>
                <a:gd name="connsiteY4" fmla="*/ 236993 h 561180"/>
                <a:gd name="connsiteX5" fmla="*/ 213670 w 2037821"/>
                <a:gd name="connsiteY5" fmla="*/ 257216 h 561180"/>
                <a:gd name="connsiteX6" fmla="*/ 227665 w 2037821"/>
                <a:gd name="connsiteY6" fmla="*/ 267324 h 561180"/>
                <a:gd name="connsiteX7" fmla="*/ 255642 w 2037821"/>
                <a:gd name="connsiteY7" fmla="*/ 287547 h 561180"/>
                <a:gd name="connsiteX8" fmla="*/ 269631 w 2037821"/>
                <a:gd name="connsiteY8" fmla="*/ 302712 h 561180"/>
                <a:gd name="connsiteX9" fmla="*/ 278936 w 2037821"/>
                <a:gd name="connsiteY9" fmla="*/ 317885 h 561180"/>
                <a:gd name="connsiteX10" fmla="*/ 306925 w 2037821"/>
                <a:gd name="connsiteY10" fmla="*/ 327993 h 561180"/>
                <a:gd name="connsiteX11" fmla="*/ 316255 w 2037821"/>
                <a:gd name="connsiteY11" fmla="*/ 343158 h 561180"/>
                <a:gd name="connsiteX12" fmla="*/ 344244 w 2037821"/>
                <a:gd name="connsiteY12" fmla="*/ 353273 h 561180"/>
                <a:gd name="connsiteX13" fmla="*/ 376898 w 2037821"/>
                <a:gd name="connsiteY13" fmla="*/ 363382 h 561180"/>
                <a:gd name="connsiteX14" fmla="*/ 418883 w 2037821"/>
                <a:gd name="connsiteY14" fmla="*/ 368439 h 561180"/>
                <a:gd name="connsiteX15" fmla="*/ 456140 w 2037821"/>
                <a:gd name="connsiteY15" fmla="*/ 373496 h 561180"/>
                <a:gd name="connsiteX16" fmla="*/ 488795 w 2037821"/>
                <a:gd name="connsiteY16" fmla="*/ 383604 h 561180"/>
                <a:gd name="connsiteX17" fmla="*/ 512119 w 2037821"/>
                <a:gd name="connsiteY17" fmla="*/ 388662 h 561180"/>
                <a:gd name="connsiteX18" fmla="*/ 526114 w 2037821"/>
                <a:gd name="connsiteY18" fmla="*/ 393719 h 561180"/>
                <a:gd name="connsiteX19" fmla="*/ 563433 w 2037821"/>
                <a:gd name="connsiteY19" fmla="*/ 398770 h 561180"/>
                <a:gd name="connsiteX20" fmla="*/ 721978 w 2037821"/>
                <a:gd name="connsiteY20" fmla="*/ 393719 h 561180"/>
                <a:gd name="connsiteX21" fmla="*/ 717313 w 2037821"/>
                <a:gd name="connsiteY21" fmla="*/ 378547 h 561180"/>
                <a:gd name="connsiteX22" fmla="*/ 689323 w 2037821"/>
                <a:gd name="connsiteY22" fmla="*/ 368439 h 561180"/>
                <a:gd name="connsiteX23" fmla="*/ 647339 w 2037821"/>
                <a:gd name="connsiteY23" fmla="*/ 353273 h 561180"/>
                <a:gd name="connsiteX24" fmla="*/ 619350 w 2037821"/>
                <a:gd name="connsiteY24" fmla="*/ 343158 h 561180"/>
                <a:gd name="connsiteX25" fmla="*/ 600691 w 2037821"/>
                <a:gd name="connsiteY25" fmla="*/ 338108 h 561180"/>
                <a:gd name="connsiteX26" fmla="*/ 572762 w 2037821"/>
                <a:gd name="connsiteY26" fmla="*/ 327993 h 561180"/>
                <a:gd name="connsiteX27" fmla="*/ 558768 w 2037821"/>
                <a:gd name="connsiteY27" fmla="*/ 322935 h 561180"/>
                <a:gd name="connsiteX28" fmla="*/ 535444 w 2037821"/>
                <a:gd name="connsiteY28" fmla="*/ 292604 h 561180"/>
                <a:gd name="connsiteX29" fmla="*/ 549438 w 2037821"/>
                <a:gd name="connsiteY29" fmla="*/ 297662 h 561180"/>
                <a:gd name="connsiteX30" fmla="*/ 596026 w 2037821"/>
                <a:gd name="connsiteY30" fmla="*/ 327993 h 561180"/>
                <a:gd name="connsiteX31" fmla="*/ 624015 w 2037821"/>
                <a:gd name="connsiteY31" fmla="*/ 338108 h 561180"/>
                <a:gd name="connsiteX32" fmla="*/ 638010 w 2037821"/>
                <a:gd name="connsiteY32" fmla="*/ 348216 h 561180"/>
                <a:gd name="connsiteX33" fmla="*/ 665999 w 2037821"/>
                <a:gd name="connsiteY33" fmla="*/ 358331 h 561180"/>
                <a:gd name="connsiteX34" fmla="*/ 679994 w 2037821"/>
                <a:gd name="connsiteY34" fmla="*/ 363382 h 561180"/>
                <a:gd name="connsiteX35" fmla="*/ 707983 w 2037821"/>
                <a:gd name="connsiteY35" fmla="*/ 373496 h 561180"/>
                <a:gd name="connsiteX36" fmla="*/ 721978 w 2037821"/>
                <a:gd name="connsiteY36" fmla="*/ 378547 h 561180"/>
                <a:gd name="connsiteX37" fmla="*/ 740638 w 2037821"/>
                <a:gd name="connsiteY37" fmla="*/ 383604 h 561180"/>
                <a:gd name="connsiteX38" fmla="*/ 754632 w 2037821"/>
                <a:gd name="connsiteY38" fmla="*/ 388662 h 561180"/>
                <a:gd name="connsiteX39" fmla="*/ 810549 w 2037821"/>
                <a:gd name="connsiteY39" fmla="*/ 398770 h 561180"/>
                <a:gd name="connsiteX40" fmla="*/ 838539 w 2037821"/>
                <a:gd name="connsiteY40" fmla="*/ 403827 h 561180"/>
                <a:gd name="connsiteX41" fmla="*/ 880523 w 2037821"/>
                <a:gd name="connsiteY41" fmla="*/ 413943 h 561180"/>
                <a:gd name="connsiteX42" fmla="*/ 922507 w 2037821"/>
                <a:gd name="connsiteY42" fmla="*/ 418993 h 561180"/>
                <a:gd name="connsiteX43" fmla="*/ 1025073 w 2037821"/>
                <a:gd name="connsiteY43" fmla="*/ 429108 h 561180"/>
                <a:gd name="connsiteX44" fmla="*/ 1048397 w 2037821"/>
                <a:gd name="connsiteY44" fmla="*/ 434165 h 561180"/>
                <a:gd name="connsiteX45" fmla="*/ 1062392 w 2037821"/>
                <a:gd name="connsiteY45" fmla="*/ 439216 h 561180"/>
                <a:gd name="connsiteX46" fmla="*/ 1164959 w 2037821"/>
                <a:gd name="connsiteY46" fmla="*/ 449331 h 561180"/>
                <a:gd name="connsiteX47" fmla="*/ 1220938 w 2037821"/>
                <a:gd name="connsiteY47" fmla="*/ 459439 h 561180"/>
                <a:gd name="connsiteX48" fmla="*/ 1262921 w 2037821"/>
                <a:gd name="connsiteY48" fmla="*/ 469554 h 561180"/>
                <a:gd name="connsiteX49" fmla="*/ 1332833 w 2037821"/>
                <a:gd name="connsiteY49" fmla="*/ 464496 h 561180"/>
                <a:gd name="connsiteX50" fmla="*/ 1328169 w 2037821"/>
                <a:gd name="connsiteY50" fmla="*/ 449331 h 561180"/>
                <a:gd name="connsiteX51" fmla="*/ 1346828 w 2037821"/>
                <a:gd name="connsiteY51" fmla="*/ 429108 h 561180"/>
                <a:gd name="connsiteX52" fmla="*/ 1426131 w 2037821"/>
                <a:gd name="connsiteY52" fmla="*/ 434165 h 561180"/>
                <a:gd name="connsiteX53" fmla="*/ 1463389 w 2037821"/>
                <a:gd name="connsiteY53" fmla="*/ 444273 h 561180"/>
                <a:gd name="connsiteX54" fmla="*/ 1486713 w 2037821"/>
                <a:gd name="connsiteY54" fmla="*/ 449331 h 561180"/>
                <a:gd name="connsiteX55" fmla="*/ 1514703 w 2037821"/>
                <a:gd name="connsiteY55" fmla="*/ 459439 h 561180"/>
                <a:gd name="connsiteX56" fmla="*/ 1533362 w 2037821"/>
                <a:gd name="connsiteY56" fmla="*/ 464496 h 561180"/>
                <a:gd name="connsiteX57" fmla="*/ 1598671 w 2037821"/>
                <a:gd name="connsiteY57" fmla="*/ 474611 h 561180"/>
                <a:gd name="connsiteX58" fmla="*/ 1612665 w 2037821"/>
                <a:gd name="connsiteY58" fmla="*/ 479662 h 561180"/>
                <a:gd name="connsiteX59" fmla="*/ 1635929 w 2037821"/>
                <a:gd name="connsiteY59" fmla="*/ 484719 h 561180"/>
                <a:gd name="connsiteX60" fmla="*/ 1654588 w 2037821"/>
                <a:gd name="connsiteY60" fmla="*/ 489777 h 561180"/>
                <a:gd name="connsiteX61" fmla="*/ 1710567 w 2037821"/>
                <a:gd name="connsiteY61" fmla="*/ 484719 h 561180"/>
                <a:gd name="connsiteX62" fmla="*/ 1738556 w 2037821"/>
                <a:gd name="connsiteY62" fmla="*/ 464496 h 561180"/>
                <a:gd name="connsiteX63" fmla="*/ 1766545 w 2037821"/>
                <a:gd name="connsiteY63" fmla="*/ 444273 h 561180"/>
                <a:gd name="connsiteX64" fmla="*/ 1794473 w 2037821"/>
                <a:gd name="connsiteY64" fmla="*/ 424051 h 561180"/>
                <a:gd name="connsiteX65" fmla="*/ 1808468 w 2037821"/>
                <a:gd name="connsiteY65" fmla="*/ 413943 h 561180"/>
                <a:gd name="connsiteX66" fmla="*/ 1869112 w 2037821"/>
                <a:gd name="connsiteY66" fmla="*/ 398770 h 561180"/>
                <a:gd name="connsiteX67" fmla="*/ 1883107 w 2037821"/>
                <a:gd name="connsiteY67" fmla="*/ 393719 h 561180"/>
                <a:gd name="connsiteX68" fmla="*/ 1855117 w 2037821"/>
                <a:gd name="connsiteY68" fmla="*/ 373496 h 561180"/>
                <a:gd name="connsiteX69" fmla="*/ 1808468 w 2037821"/>
                <a:gd name="connsiteY69" fmla="*/ 358331 h 561180"/>
                <a:gd name="connsiteX70" fmla="*/ 1766545 w 2037821"/>
                <a:gd name="connsiteY70" fmla="*/ 327993 h 561180"/>
                <a:gd name="connsiteX71" fmla="*/ 1752551 w 2037821"/>
                <a:gd name="connsiteY71" fmla="*/ 317885 h 561180"/>
                <a:gd name="connsiteX72" fmla="*/ 1747886 w 2037821"/>
                <a:gd name="connsiteY72" fmla="*/ 302712 h 561180"/>
                <a:gd name="connsiteX73" fmla="*/ 1761881 w 2037821"/>
                <a:gd name="connsiteY73" fmla="*/ 312827 h 561180"/>
                <a:gd name="connsiteX74" fmla="*/ 1789809 w 2037821"/>
                <a:gd name="connsiteY74" fmla="*/ 348216 h 561180"/>
                <a:gd name="connsiteX75" fmla="*/ 1831792 w 2037821"/>
                <a:gd name="connsiteY75" fmla="*/ 373496 h 561180"/>
                <a:gd name="connsiteX76" fmla="*/ 1850452 w 2037821"/>
                <a:gd name="connsiteY76" fmla="*/ 378547 h 561180"/>
                <a:gd name="connsiteX77" fmla="*/ 1915761 w 2037821"/>
                <a:gd name="connsiteY77" fmla="*/ 373496 h 561180"/>
                <a:gd name="connsiteX78" fmla="*/ 1934421 w 2037821"/>
                <a:gd name="connsiteY78" fmla="*/ 368439 h 561180"/>
                <a:gd name="connsiteX79" fmla="*/ 1962348 w 2037821"/>
                <a:gd name="connsiteY79" fmla="*/ 358331 h 561180"/>
                <a:gd name="connsiteX80" fmla="*/ 1971678 w 2037821"/>
                <a:gd name="connsiteY80" fmla="*/ 343158 h 561180"/>
                <a:gd name="connsiteX81" fmla="*/ 1999668 w 2037821"/>
                <a:gd name="connsiteY81" fmla="*/ 333050 h 561180"/>
                <a:gd name="connsiteX82" fmla="*/ 2013662 w 2037821"/>
                <a:gd name="connsiteY82" fmla="*/ 322935 h 561180"/>
                <a:gd name="connsiteX83" fmla="*/ 2032322 w 2037821"/>
                <a:gd name="connsiteY83" fmla="*/ 292604 h 561180"/>
                <a:gd name="connsiteX84" fmla="*/ 2036987 w 2037821"/>
                <a:gd name="connsiteY84" fmla="*/ 307770 h 561180"/>
                <a:gd name="connsiteX85" fmla="*/ 2032322 w 2037821"/>
                <a:gd name="connsiteY85" fmla="*/ 343158 h 561180"/>
                <a:gd name="connsiteX86" fmla="*/ 2008997 w 2037821"/>
                <a:gd name="connsiteY86" fmla="*/ 388662 h 561180"/>
                <a:gd name="connsiteX87" fmla="*/ 1995003 w 2037821"/>
                <a:gd name="connsiteY87" fmla="*/ 403827 h 561180"/>
                <a:gd name="connsiteX88" fmla="*/ 1967013 w 2037821"/>
                <a:gd name="connsiteY88" fmla="*/ 424051 h 561180"/>
                <a:gd name="connsiteX89" fmla="*/ 1953018 w 2037821"/>
                <a:gd name="connsiteY89" fmla="*/ 434165 h 561180"/>
                <a:gd name="connsiteX90" fmla="*/ 1967013 w 2037821"/>
                <a:gd name="connsiteY90" fmla="*/ 439216 h 561180"/>
                <a:gd name="connsiteX91" fmla="*/ 1981008 w 2037821"/>
                <a:gd name="connsiteY91" fmla="*/ 429108 h 561180"/>
                <a:gd name="connsiteX92" fmla="*/ 2008997 w 2037821"/>
                <a:gd name="connsiteY92" fmla="*/ 418993 h 561180"/>
                <a:gd name="connsiteX93" fmla="*/ 2022992 w 2037821"/>
                <a:gd name="connsiteY93" fmla="*/ 413943 h 561180"/>
                <a:gd name="connsiteX94" fmla="*/ 2032322 w 2037821"/>
                <a:gd name="connsiteY94" fmla="*/ 429108 h 561180"/>
                <a:gd name="connsiteX95" fmla="*/ 1999668 w 2037821"/>
                <a:gd name="connsiteY95" fmla="*/ 489777 h 561180"/>
                <a:gd name="connsiteX96" fmla="*/ 1985673 w 2037821"/>
                <a:gd name="connsiteY96" fmla="*/ 499885 h 561180"/>
                <a:gd name="connsiteX97" fmla="*/ 1971678 w 2037821"/>
                <a:gd name="connsiteY97" fmla="*/ 515057 h 561180"/>
                <a:gd name="connsiteX98" fmla="*/ 1943750 w 2037821"/>
                <a:gd name="connsiteY98" fmla="*/ 530223 h 561180"/>
                <a:gd name="connsiteX99" fmla="*/ 1929756 w 2037821"/>
                <a:gd name="connsiteY99" fmla="*/ 540331 h 561180"/>
                <a:gd name="connsiteX100" fmla="*/ 1878442 w 2037821"/>
                <a:gd name="connsiteY100" fmla="*/ 550446 h 561180"/>
                <a:gd name="connsiteX101" fmla="*/ 1808468 w 2037821"/>
                <a:gd name="connsiteY101" fmla="*/ 545388 h 561180"/>
                <a:gd name="connsiteX102" fmla="*/ 1775875 w 2037821"/>
                <a:gd name="connsiteY102" fmla="*/ 535274 h 561180"/>
                <a:gd name="connsiteX103" fmla="*/ 1747886 w 2037821"/>
                <a:gd name="connsiteY103" fmla="*/ 515057 h 561180"/>
                <a:gd name="connsiteX104" fmla="*/ 1757216 w 2037821"/>
                <a:gd name="connsiteY104" fmla="*/ 510000 h 561180"/>
                <a:gd name="connsiteX105" fmla="*/ 1775875 w 2037821"/>
                <a:gd name="connsiteY105" fmla="*/ 530223 h 561180"/>
                <a:gd name="connsiteX106" fmla="*/ 1785144 w 2037821"/>
                <a:gd name="connsiteY106" fmla="*/ 545388 h 561180"/>
                <a:gd name="connsiteX107" fmla="*/ 1799138 w 2037821"/>
                <a:gd name="connsiteY107" fmla="*/ 550446 h 561180"/>
                <a:gd name="connsiteX108" fmla="*/ 1808468 w 2037821"/>
                <a:gd name="connsiteY108" fmla="*/ 560554 h 56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037821" h="561180">
                  <a:moveTo>
                    <a:pt x="-835" y="-626"/>
                  </a:moveTo>
                  <a:cubicBezTo>
                    <a:pt x="90990" y="140846"/>
                    <a:pt x="45065" y="105013"/>
                    <a:pt x="101756" y="145986"/>
                  </a:cubicBezTo>
                  <a:cubicBezTo>
                    <a:pt x="123515" y="181381"/>
                    <a:pt x="111079" y="169582"/>
                    <a:pt x="134398" y="186432"/>
                  </a:cubicBezTo>
                  <a:cubicBezTo>
                    <a:pt x="160816" y="229403"/>
                    <a:pt x="117309" y="162855"/>
                    <a:pt x="171705" y="221827"/>
                  </a:cubicBezTo>
                  <a:cubicBezTo>
                    <a:pt x="176370" y="226878"/>
                    <a:pt x="180488" y="232599"/>
                    <a:pt x="185693" y="236993"/>
                  </a:cubicBezTo>
                  <a:cubicBezTo>
                    <a:pt x="194544" y="244452"/>
                    <a:pt x="204346" y="250475"/>
                    <a:pt x="213670" y="257216"/>
                  </a:cubicBezTo>
                  <a:lnTo>
                    <a:pt x="227665" y="267324"/>
                  </a:lnTo>
                  <a:lnTo>
                    <a:pt x="255642" y="287547"/>
                  </a:lnTo>
                  <a:cubicBezTo>
                    <a:pt x="260307" y="292604"/>
                    <a:pt x="265407" y="297224"/>
                    <a:pt x="269631" y="302712"/>
                  </a:cubicBezTo>
                  <a:cubicBezTo>
                    <a:pt x="273228" y="307380"/>
                    <a:pt x="274210" y="314661"/>
                    <a:pt x="278936" y="317885"/>
                  </a:cubicBezTo>
                  <a:cubicBezTo>
                    <a:pt x="287284" y="323531"/>
                    <a:pt x="306925" y="327993"/>
                    <a:pt x="306925" y="327993"/>
                  </a:cubicBezTo>
                  <a:cubicBezTo>
                    <a:pt x="310056" y="333050"/>
                    <a:pt x="311529" y="339942"/>
                    <a:pt x="316255" y="343158"/>
                  </a:cubicBezTo>
                  <a:cubicBezTo>
                    <a:pt x="324603" y="348811"/>
                    <a:pt x="334915" y="349899"/>
                    <a:pt x="344244" y="353273"/>
                  </a:cubicBezTo>
                  <a:cubicBezTo>
                    <a:pt x="354679" y="357044"/>
                    <a:pt x="366034" y="361568"/>
                    <a:pt x="376898" y="363382"/>
                  </a:cubicBezTo>
                  <a:cubicBezTo>
                    <a:pt x="390770" y="365701"/>
                    <a:pt x="404888" y="366653"/>
                    <a:pt x="418883" y="368439"/>
                  </a:cubicBezTo>
                  <a:lnTo>
                    <a:pt x="456140" y="373496"/>
                  </a:lnTo>
                  <a:cubicBezTo>
                    <a:pt x="471731" y="379122"/>
                    <a:pt x="471240" y="379375"/>
                    <a:pt x="488795" y="383604"/>
                  </a:cubicBezTo>
                  <a:cubicBezTo>
                    <a:pt x="496529" y="385473"/>
                    <a:pt x="504446" y="386575"/>
                    <a:pt x="512119" y="388662"/>
                  </a:cubicBezTo>
                  <a:cubicBezTo>
                    <a:pt x="516907" y="389955"/>
                    <a:pt x="521265" y="392761"/>
                    <a:pt x="526114" y="393719"/>
                  </a:cubicBezTo>
                  <a:cubicBezTo>
                    <a:pt x="538451" y="396149"/>
                    <a:pt x="550973" y="397086"/>
                    <a:pt x="563433" y="398770"/>
                  </a:cubicBezTo>
                  <a:cubicBezTo>
                    <a:pt x="616281" y="397086"/>
                    <a:pt x="669498" y="400618"/>
                    <a:pt x="721978" y="393719"/>
                  </a:cubicBezTo>
                  <a:cubicBezTo>
                    <a:pt x="726827" y="393076"/>
                    <a:pt x="721303" y="381647"/>
                    <a:pt x="717313" y="378547"/>
                  </a:cubicBezTo>
                  <a:cubicBezTo>
                    <a:pt x="709272" y="372353"/>
                    <a:pt x="698653" y="371806"/>
                    <a:pt x="689323" y="368439"/>
                  </a:cubicBezTo>
                  <a:lnTo>
                    <a:pt x="647339" y="353273"/>
                  </a:lnTo>
                  <a:lnTo>
                    <a:pt x="619350" y="343158"/>
                  </a:lnTo>
                  <a:cubicBezTo>
                    <a:pt x="613151" y="341475"/>
                    <a:pt x="606829" y="340099"/>
                    <a:pt x="600691" y="338108"/>
                  </a:cubicBezTo>
                  <a:cubicBezTo>
                    <a:pt x="591299" y="335042"/>
                    <a:pt x="582092" y="331367"/>
                    <a:pt x="572762" y="327993"/>
                  </a:cubicBezTo>
                  <a:lnTo>
                    <a:pt x="558768" y="322935"/>
                  </a:lnTo>
                  <a:cubicBezTo>
                    <a:pt x="558645" y="322798"/>
                    <a:pt x="533295" y="297299"/>
                    <a:pt x="535444" y="292604"/>
                  </a:cubicBezTo>
                  <a:cubicBezTo>
                    <a:pt x="537653" y="287834"/>
                    <a:pt x="544773" y="295971"/>
                    <a:pt x="549438" y="297662"/>
                  </a:cubicBezTo>
                  <a:cubicBezTo>
                    <a:pt x="565826" y="309529"/>
                    <a:pt x="578102" y="320219"/>
                    <a:pt x="596026" y="327993"/>
                  </a:cubicBezTo>
                  <a:cubicBezTo>
                    <a:pt x="605171" y="331949"/>
                    <a:pt x="624015" y="338108"/>
                    <a:pt x="624015" y="338108"/>
                  </a:cubicBezTo>
                  <a:cubicBezTo>
                    <a:pt x="628680" y="341475"/>
                    <a:pt x="632915" y="345745"/>
                    <a:pt x="638010" y="348216"/>
                  </a:cubicBezTo>
                  <a:cubicBezTo>
                    <a:pt x="647033" y="352548"/>
                    <a:pt x="656669" y="354957"/>
                    <a:pt x="665999" y="358331"/>
                  </a:cubicBezTo>
                  <a:lnTo>
                    <a:pt x="679994" y="363382"/>
                  </a:lnTo>
                  <a:lnTo>
                    <a:pt x="707983" y="373496"/>
                  </a:lnTo>
                  <a:cubicBezTo>
                    <a:pt x="712648" y="375180"/>
                    <a:pt x="717190" y="377253"/>
                    <a:pt x="721978" y="378547"/>
                  </a:cubicBezTo>
                  <a:cubicBezTo>
                    <a:pt x="728177" y="380237"/>
                    <a:pt x="734438" y="381695"/>
                    <a:pt x="740638" y="383604"/>
                  </a:cubicBezTo>
                  <a:cubicBezTo>
                    <a:pt x="745363" y="385069"/>
                    <a:pt x="749783" y="387615"/>
                    <a:pt x="754632" y="388662"/>
                  </a:cubicBezTo>
                  <a:cubicBezTo>
                    <a:pt x="773169" y="392679"/>
                    <a:pt x="791890" y="395403"/>
                    <a:pt x="810549" y="398770"/>
                  </a:cubicBezTo>
                  <a:cubicBezTo>
                    <a:pt x="819879" y="400460"/>
                    <a:pt x="829393" y="401343"/>
                    <a:pt x="838539" y="403827"/>
                  </a:cubicBezTo>
                  <a:cubicBezTo>
                    <a:pt x="852104" y="407509"/>
                    <a:pt x="866712" y="411800"/>
                    <a:pt x="880523" y="413943"/>
                  </a:cubicBezTo>
                  <a:cubicBezTo>
                    <a:pt x="894456" y="416098"/>
                    <a:pt x="908512" y="417214"/>
                    <a:pt x="922507" y="418993"/>
                  </a:cubicBezTo>
                  <a:cubicBezTo>
                    <a:pt x="990823" y="427712"/>
                    <a:pt x="930916" y="421820"/>
                    <a:pt x="1025073" y="429108"/>
                  </a:cubicBezTo>
                  <a:cubicBezTo>
                    <a:pt x="1032869" y="430791"/>
                    <a:pt x="1040725" y="432078"/>
                    <a:pt x="1048397" y="434165"/>
                  </a:cubicBezTo>
                  <a:cubicBezTo>
                    <a:pt x="1053185" y="435459"/>
                    <a:pt x="1057544" y="438176"/>
                    <a:pt x="1062392" y="439216"/>
                  </a:cubicBezTo>
                  <a:cubicBezTo>
                    <a:pt x="1094249" y="446128"/>
                    <a:pt x="1134882" y="447155"/>
                    <a:pt x="1164959" y="449331"/>
                  </a:cubicBezTo>
                  <a:lnTo>
                    <a:pt x="1220938" y="459439"/>
                  </a:lnTo>
                  <a:cubicBezTo>
                    <a:pt x="1253776" y="465372"/>
                    <a:pt x="1239965" y="461260"/>
                    <a:pt x="1262921" y="469554"/>
                  </a:cubicBezTo>
                  <a:cubicBezTo>
                    <a:pt x="1286185" y="467870"/>
                    <a:pt x="1310368" y="471457"/>
                    <a:pt x="1332833" y="464496"/>
                  </a:cubicBezTo>
                  <a:cubicBezTo>
                    <a:pt x="1337560" y="463032"/>
                    <a:pt x="1328169" y="454655"/>
                    <a:pt x="1328169" y="449331"/>
                  </a:cubicBezTo>
                  <a:cubicBezTo>
                    <a:pt x="1328169" y="431352"/>
                    <a:pt x="1334368" y="433597"/>
                    <a:pt x="1346828" y="429108"/>
                  </a:cubicBezTo>
                  <a:cubicBezTo>
                    <a:pt x="1373283" y="430791"/>
                    <a:pt x="1399738" y="431565"/>
                    <a:pt x="1426131" y="434165"/>
                  </a:cubicBezTo>
                  <a:cubicBezTo>
                    <a:pt x="1453138" y="436828"/>
                    <a:pt x="1442581" y="438634"/>
                    <a:pt x="1463389" y="444273"/>
                  </a:cubicBezTo>
                  <a:cubicBezTo>
                    <a:pt x="1471123" y="446361"/>
                    <a:pt x="1479102" y="447066"/>
                    <a:pt x="1486713" y="449331"/>
                  </a:cubicBezTo>
                  <a:cubicBezTo>
                    <a:pt x="1496227" y="452137"/>
                    <a:pt x="1505189" y="456859"/>
                    <a:pt x="1514703" y="459439"/>
                  </a:cubicBezTo>
                  <a:cubicBezTo>
                    <a:pt x="1520902" y="461129"/>
                    <a:pt x="1527102" y="463135"/>
                    <a:pt x="1533362" y="464496"/>
                  </a:cubicBezTo>
                  <a:cubicBezTo>
                    <a:pt x="1555766" y="469356"/>
                    <a:pt x="1575714" y="471504"/>
                    <a:pt x="1598671" y="474611"/>
                  </a:cubicBezTo>
                  <a:cubicBezTo>
                    <a:pt x="1603336" y="476295"/>
                    <a:pt x="1607878" y="478369"/>
                    <a:pt x="1612665" y="479662"/>
                  </a:cubicBezTo>
                  <a:cubicBezTo>
                    <a:pt x="1620338" y="481749"/>
                    <a:pt x="1628195" y="482858"/>
                    <a:pt x="1635929" y="484719"/>
                  </a:cubicBezTo>
                  <a:cubicBezTo>
                    <a:pt x="1642190" y="486225"/>
                    <a:pt x="1648388" y="488093"/>
                    <a:pt x="1654588" y="489777"/>
                  </a:cubicBezTo>
                  <a:cubicBezTo>
                    <a:pt x="1673248" y="488093"/>
                    <a:pt x="1692521" y="490153"/>
                    <a:pt x="1710567" y="484719"/>
                  </a:cubicBezTo>
                  <a:cubicBezTo>
                    <a:pt x="1721370" y="481469"/>
                    <a:pt x="1738556" y="464496"/>
                    <a:pt x="1738556" y="464496"/>
                  </a:cubicBezTo>
                  <a:cubicBezTo>
                    <a:pt x="1758689" y="431688"/>
                    <a:pt x="1734076" y="464366"/>
                    <a:pt x="1766545" y="444273"/>
                  </a:cubicBezTo>
                  <a:cubicBezTo>
                    <a:pt x="1815404" y="413976"/>
                    <a:pt x="1750832" y="439832"/>
                    <a:pt x="1794473" y="424051"/>
                  </a:cubicBezTo>
                  <a:cubicBezTo>
                    <a:pt x="1799138" y="420683"/>
                    <a:pt x="1803373" y="416406"/>
                    <a:pt x="1808468" y="413943"/>
                  </a:cubicBezTo>
                  <a:cubicBezTo>
                    <a:pt x="1832775" y="402253"/>
                    <a:pt x="1842534" y="402883"/>
                    <a:pt x="1869112" y="398770"/>
                  </a:cubicBezTo>
                  <a:cubicBezTo>
                    <a:pt x="1873777" y="397086"/>
                    <a:pt x="1885623" y="398284"/>
                    <a:pt x="1883107" y="393719"/>
                  </a:cubicBezTo>
                  <a:cubicBezTo>
                    <a:pt x="1877337" y="383296"/>
                    <a:pt x="1865736" y="377336"/>
                    <a:pt x="1855117" y="373496"/>
                  </a:cubicBezTo>
                  <a:cubicBezTo>
                    <a:pt x="1821051" y="361184"/>
                    <a:pt x="1836703" y="365968"/>
                    <a:pt x="1808468" y="358331"/>
                  </a:cubicBezTo>
                  <a:lnTo>
                    <a:pt x="1766545" y="327993"/>
                  </a:lnTo>
                  <a:lnTo>
                    <a:pt x="1752551" y="317885"/>
                  </a:lnTo>
                  <a:cubicBezTo>
                    <a:pt x="1750955" y="312827"/>
                    <a:pt x="1743467" y="305101"/>
                    <a:pt x="1747886" y="302712"/>
                  </a:cubicBezTo>
                  <a:cubicBezTo>
                    <a:pt x="1752858" y="299995"/>
                    <a:pt x="1757891" y="308530"/>
                    <a:pt x="1761881" y="312827"/>
                  </a:cubicBezTo>
                  <a:cubicBezTo>
                    <a:pt x="1797175" y="351097"/>
                    <a:pt x="1734137" y="299886"/>
                    <a:pt x="1789809" y="348216"/>
                  </a:cubicBezTo>
                  <a:cubicBezTo>
                    <a:pt x="1808407" y="364305"/>
                    <a:pt x="1813133" y="367706"/>
                    <a:pt x="1831792" y="373496"/>
                  </a:cubicBezTo>
                  <a:cubicBezTo>
                    <a:pt x="1837992" y="375406"/>
                    <a:pt x="1844253" y="376863"/>
                    <a:pt x="1850452" y="378547"/>
                  </a:cubicBezTo>
                  <a:cubicBezTo>
                    <a:pt x="1872242" y="376863"/>
                    <a:pt x="1894032" y="376111"/>
                    <a:pt x="1915761" y="373496"/>
                  </a:cubicBezTo>
                  <a:cubicBezTo>
                    <a:pt x="1922083" y="372730"/>
                    <a:pt x="1928283" y="370437"/>
                    <a:pt x="1934421" y="368439"/>
                  </a:cubicBezTo>
                  <a:cubicBezTo>
                    <a:pt x="1943811" y="365373"/>
                    <a:pt x="1962348" y="358331"/>
                    <a:pt x="1962348" y="358331"/>
                  </a:cubicBezTo>
                  <a:cubicBezTo>
                    <a:pt x="1965479" y="353273"/>
                    <a:pt x="1966952" y="346382"/>
                    <a:pt x="1971678" y="343158"/>
                  </a:cubicBezTo>
                  <a:cubicBezTo>
                    <a:pt x="1980026" y="337512"/>
                    <a:pt x="1999668" y="333050"/>
                    <a:pt x="1999668" y="333050"/>
                  </a:cubicBezTo>
                  <a:cubicBezTo>
                    <a:pt x="2004333" y="329676"/>
                    <a:pt x="2009979" y="327514"/>
                    <a:pt x="2013662" y="322935"/>
                  </a:cubicBezTo>
                  <a:cubicBezTo>
                    <a:pt x="2021028" y="313792"/>
                    <a:pt x="2032322" y="292604"/>
                    <a:pt x="2032322" y="292604"/>
                  </a:cubicBezTo>
                  <a:cubicBezTo>
                    <a:pt x="2033856" y="297662"/>
                    <a:pt x="2036987" y="302439"/>
                    <a:pt x="2036987" y="307770"/>
                  </a:cubicBezTo>
                  <a:cubicBezTo>
                    <a:pt x="2036987" y="319685"/>
                    <a:pt x="2034470" y="331476"/>
                    <a:pt x="2032322" y="343158"/>
                  </a:cubicBezTo>
                  <a:cubicBezTo>
                    <a:pt x="2029376" y="359050"/>
                    <a:pt x="2018327" y="378526"/>
                    <a:pt x="2008997" y="388662"/>
                  </a:cubicBezTo>
                  <a:cubicBezTo>
                    <a:pt x="2004333" y="393719"/>
                    <a:pt x="2000220" y="399441"/>
                    <a:pt x="1995003" y="403827"/>
                  </a:cubicBezTo>
                  <a:cubicBezTo>
                    <a:pt x="1986164" y="411287"/>
                    <a:pt x="1976343" y="417309"/>
                    <a:pt x="1967013" y="424051"/>
                  </a:cubicBezTo>
                  <a:lnTo>
                    <a:pt x="1953018" y="434165"/>
                  </a:lnTo>
                  <a:cubicBezTo>
                    <a:pt x="1957683" y="435849"/>
                    <a:pt x="1962165" y="440092"/>
                    <a:pt x="1967013" y="439216"/>
                  </a:cubicBezTo>
                  <a:cubicBezTo>
                    <a:pt x="1972537" y="438217"/>
                    <a:pt x="1975914" y="431578"/>
                    <a:pt x="1981008" y="429108"/>
                  </a:cubicBezTo>
                  <a:cubicBezTo>
                    <a:pt x="1990031" y="424776"/>
                    <a:pt x="1999668" y="422367"/>
                    <a:pt x="2008997" y="418993"/>
                  </a:cubicBezTo>
                  <a:lnTo>
                    <a:pt x="2022992" y="413943"/>
                  </a:lnTo>
                  <a:cubicBezTo>
                    <a:pt x="2026122" y="418993"/>
                    <a:pt x="2031708" y="423065"/>
                    <a:pt x="2032322" y="429108"/>
                  </a:cubicBezTo>
                  <a:cubicBezTo>
                    <a:pt x="2035206" y="457523"/>
                    <a:pt x="2020782" y="474543"/>
                    <a:pt x="1999668" y="489777"/>
                  </a:cubicBezTo>
                  <a:cubicBezTo>
                    <a:pt x="1995003" y="493144"/>
                    <a:pt x="1989969" y="495998"/>
                    <a:pt x="1985673" y="499885"/>
                  </a:cubicBezTo>
                  <a:cubicBezTo>
                    <a:pt x="1980639" y="504464"/>
                    <a:pt x="1976772" y="510479"/>
                    <a:pt x="1971678" y="515057"/>
                  </a:cubicBezTo>
                  <a:cubicBezTo>
                    <a:pt x="1959648" y="525946"/>
                    <a:pt x="1957745" y="525152"/>
                    <a:pt x="1943750" y="530223"/>
                  </a:cubicBezTo>
                  <a:cubicBezTo>
                    <a:pt x="1939086" y="533590"/>
                    <a:pt x="1934911" y="537936"/>
                    <a:pt x="1929756" y="540331"/>
                  </a:cubicBezTo>
                  <a:cubicBezTo>
                    <a:pt x="1918707" y="545443"/>
                    <a:pt x="1885992" y="549269"/>
                    <a:pt x="1878442" y="550446"/>
                  </a:cubicBezTo>
                  <a:cubicBezTo>
                    <a:pt x="1855117" y="548756"/>
                    <a:pt x="1831732" y="548037"/>
                    <a:pt x="1808468" y="545388"/>
                  </a:cubicBezTo>
                  <a:cubicBezTo>
                    <a:pt x="1799936" y="544410"/>
                    <a:pt x="1784530" y="538408"/>
                    <a:pt x="1775875" y="535274"/>
                  </a:cubicBezTo>
                  <a:lnTo>
                    <a:pt x="1747886" y="515057"/>
                  </a:lnTo>
                  <a:cubicBezTo>
                    <a:pt x="1727263" y="500179"/>
                    <a:pt x="1728367" y="503752"/>
                    <a:pt x="1757216" y="510000"/>
                  </a:cubicBezTo>
                  <a:cubicBezTo>
                    <a:pt x="1763416" y="516741"/>
                    <a:pt x="1770106" y="522982"/>
                    <a:pt x="1775875" y="530223"/>
                  </a:cubicBezTo>
                  <a:cubicBezTo>
                    <a:pt x="1779497" y="534836"/>
                    <a:pt x="1780786" y="541590"/>
                    <a:pt x="1785144" y="545388"/>
                  </a:cubicBezTo>
                  <a:cubicBezTo>
                    <a:pt x="1789011" y="548715"/>
                    <a:pt x="1794964" y="547702"/>
                    <a:pt x="1799138" y="550446"/>
                  </a:cubicBezTo>
                  <a:cubicBezTo>
                    <a:pt x="1802944" y="552896"/>
                    <a:pt x="1805399" y="557187"/>
                    <a:pt x="1808468" y="560554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10567792" y="3167815"/>
              <a:ext cx="257796" cy="54749"/>
            </a:xfrm>
            <a:custGeom>
              <a:avLst/>
              <a:gdLst>
                <a:gd name="connsiteX0" fmla="*/ -835 w 257796"/>
                <a:gd name="connsiteY0" fmla="*/ 8497 h 54749"/>
                <a:gd name="connsiteX1" fmla="*/ 88228 w 257796"/>
                <a:gd name="connsiteY1" fmla="*/ 45001 h 54749"/>
                <a:gd name="connsiteX2" fmla="*/ 116340 w 257796"/>
                <a:gd name="connsiteY2" fmla="*/ 54123 h 54749"/>
                <a:gd name="connsiteX3" fmla="*/ 177290 w 257796"/>
                <a:gd name="connsiteY3" fmla="*/ 49559 h 54749"/>
                <a:gd name="connsiteX4" fmla="*/ 210067 w 257796"/>
                <a:gd name="connsiteY4" fmla="*/ 40436 h 54749"/>
                <a:gd name="connsiteX5" fmla="*/ 238240 w 257796"/>
                <a:gd name="connsiteY5" fmla="*/ 22184 h 54749"/>
                <a:gd name="connsiteX6" fmla="*/ 256962 w 257796"/>
                <a:gd name="connsiteY6" fmla="*/ -626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796" h="54749">
                  <a:moveTo>
                    <a:pt x="-835" y="8497"/>
                  </a:moveTo>
                  <a:cubicBezTo>
                    <a:pt x="28873" y="20665"/>
                    <a:pt x="58336" y="33353"/>
                    <a:pt x="88228" y="45001"/>
                  </a:cubicBezTo>
                  <a:cubicBezTo>
                    <a:pt x="97373" y="48573"/>
                    <a:pt x="116340" y="54123"/>
                    <a:pt x="116340" y="54123"/>
                  </a:cubicBezTo>
                  <a:cubicBezTo>
                    <a:pt x="136657" y="52604"/>
                    <a:pt x="157035" y="51879"/>
                    <a:pt x="177290" y="49559"/>
                  </a:cubicBezTo>
                  <a:cubicBezTo>
                    <a:pt x="186375" y="48519"/>
                    <a:pt x="200983" y="43386"/>
                    <a:pt x="210067" y="40436"/>
                  </a:cubicBezTo>
                  <a:cubicBezTo>
                    <a:pt x="219459" y="34352"/>
                    <a:pt x="231980" y="31313"/>
                    <a:pt x="238240" y="22184"/>
                  </a:cubicBezTo>
                  <a:cubicBezTo>
                    <a:pt x="250026" y="4917"/>
                    <a:pt x="243581" y="12377"/>
                    <a:pt x="256962" y="-626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8849148" y="3236252"/>
              <a:ext cx="1338087" cy="342182"/>
            </a:xfrm>
            <a:custGeom>
              <a:avLst/>
              <a:gdLst>
                <a:gd name="connsiteX0" fmla="*/ -835 w 1338087"/>
                <a:gd name="connsiteY0" fmla="*/ -626 h 342182"/>
                <a:gd name="connsiteX1" fmla="*/ 106402 w 1338087"/>
                <a:gd name="connsiteY1" fmla="*/ 103521 h 342182"/>
                <a:gd name="connsiteX2" fmla="*/ 120385 w 1338087"/>
                <a:gd name="connsiteY2" fmla="*/ 113437 h 342182"/>
                <a:gd name="connsiteX3" fmla="*/ 143697 w 1338087"/>
                <a:gd name="connsiteY3" fmla="*/ 153110 h 342182"/>
                <a:gd name="connsiteX4" fmla="*/ 180998 w 1338087"/>
                <a:gd name="connsiteY4" fmla="*/ 187821 h 342182"/>
                <a:gd name="connsiteX5" fmla="*/ 208962 w 1338087"/>
                <a:gd name="connsiteY5" fmla="*/ 207661 h 342182"/>
                <a:gd name="connsiteX6" fmla="*/ 218292 w 1338087"/>
                <a:gd name="connsiteY6" fmla="*/ 222539 h 342182"/>
                <a:gd name="connsiteX7" fmla="*/ 246282 w 1338087"/>
                <a:gd name="connsiteY7" fmla="*/ 232455 h 342182"/>
                <a:gd name="connsiteX8" fmla="*/ 274271 w 1338087"/>
                <a:gd name="connsiteY8" fmla="*/ 247333 h 342182"/>
                <a:gd name="connsiteX9" fmla="*/ 302199 w 1338087"/>
                <a:gd name="connsiteY9" fmla="*/ 262212 h 342182"/>
                <a:gd name="connsiteX10" fmla="*/ 316194 w 1338087"/>
                <a:gd name="connsiteY10" fmla="*/ 272128 h 342182"/>
                <a:gd name="connsiteX11" fmla="*/ 288204 w 1338087"/>
                <a:gd name="connsiteY11" fmla="*/ 252295 h 342182"/>
                <a:gd name="connsiteX12" fmla="*/ 246282 w 1338087"/>
                <a:gd name="connsiteY12" fmla="*/ 217577 h 342182"/>
                <a:gd name="connsiteX13" fmla="*/ 255612 w 1338087"/>
                <a:gd name="connsiteY13" fmla="*/ 202699 h 342182"/>
                <a:gd name="connsiteX14" fmla="*/ 269606 w 1338087"/>
                <a:gd name="connsiteY14" fmla="*/ 197744 h 342182"/>
                <a:gd name="connsiteX15" fmla="*/ 362843 w 1338087"/>
                <a:gd name="connsiteY15" fmla="*/ 202699 h 342182"/>
                <a:gd name="connsiteX16" fmla="*/ 404765 w 1338087"/>
                <a:gd name="connsiteY16" fmla="*/ 217577 h 342182"/>
                <a:gd name="connsiteX17" fmla="*/ 432755 w 1338087"/>
                <a:gd name="connsiteY17" fmla="*/ 227494 h 342182"/>
                <a:gd name="connsiteX18" fmla="*/ 479403 w 1338087"/>
                <a:gd name="connsiteY18" fmla="*/ 232455 h 342182"/>
                <a:gd name="connsiteX19" fmla="*/ 507332 w 1338087"/>
                <a:gd name="connsiteY19" fmla="*/ 242372 h 342182"/>
                <a:gd name="connsiteX20" fmla="*/ 735788 w 1338087"/>
                <a:gd name="connsiteY20" fmla="*/ 252295 h 342182"/>
                <a:gd name="connsiteX21" fmla="*/ 773107 w 1338087"/>
                <a:gd name="connsiteY21" fmla="*/ 262212 h 342182"/>
                <a:gd name="connsiteX22" fmla="*/ 791767 w 1338087"/>
                <a:gd name="connsiteY22" fmla="*/ 267166 h 342182"/>
                <a:gd name="connsiteX23" fmla="*/ 815092 w 1338087"/>
                <a:gd name="connsiteY23" fmla="*/ 272128 h 342182"/>
                <a:gd name="connsiteX24" fmla="*/ 843019 w 1338087"/>
                <a:gd name="connsiteY24" fmla="*/ 282045 h 342182"/>
                <a:gd name="connsiteX25" fmla="*/ 885003 w 1338087"/>
                <a:gd name="connsiteY25" fmla="*/ 306846 h 342182"/>
                <a:gd name="connsiteX26" fmla="*/ 898998 w 1338087"/>
                <a:gd name="connsiteY26" fmla="*/ 316762 h 342182"/>
                <a:gd name="connsiteX27" fmla="*/ 926988 w 1338087"/>
                <a:gd name="connsiteY27" fmla="*/ 326679 h 342182"/>
                <a:gd name="connsiteX28" fmla="*/ 833751 w 1338087"/>
                <a:gd name="connsiteY28" fmla="*/ 331641 h 342182"/>
                <a:gd name="connsiteX29" fmla="*/ 801097 w 1338087"/>
                <a:gd name="connsiteY29" fmla="*/ 336595 h 342182"/>
                <a:gd name="connsiteX30" fmla="*/ 1174043 w 1338087"/>
                <a:gd name="connsiteY30" fmla="*/ 331641 h 342182"/>
                <a:gd name="connsiteX31" fmla="*/ 1146115 w 1338087"/>
                <a:gd name="connsiteY31" fmla="*/ 321724 h 342182"/>
                <a:gd name="connsiteX32" fmla="*/ 1155445 w 1338087"/>
                <a:gd name="connsiteY32" fmla="*/ 306846 h 342182"/>
                <a:gd name="connsiteX33" fmla="*/ 1183373 w 1338087"/>
                <a:gd name="connsiteY33" fmla="*/ 296923 h 342182"/>
                <a:gd name="connsiteX34" fmla="*/ 1267341 w 1338087"/>
                <a:gd name="connsiteY34" fmla="*/ 306846 h 342182"/>
                <a:gd name="connsiteX35" fmla="*/ 1290604 w 1338087"/>
                <a:gd name="connsiteY35" fmla="*/ 311801 h 342182"/>
                <a:gd name="connsiteX36" fmla="*/ 1332588 w 1338087"/>
                <a:gd name="connsiteY36" fmla="*/ 331641 h 342182"/>
                <a:gd name="connsiteX37" fmla="*/ 1337253 w 1338087"/>
                <a:gd name="connsiteY37" fmla="*/ 341557 h 34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38087" h="342182">
                  <a:moveTo>
                    <a:pt x="-835" y="-626"/>
                  </a:moveTo>
                  <a:cubicBezTo>
                    <a:pt x="34913" y="34092"/>
                    <a:pt x="70145" y="69405"/>
                    <a:pt x="106402" y="103521"/>
                  </a:cubicBezTo>
                  <a:cubicBezTo>
                    <a:pt x="110595" y="107463"/>
                    <a:pt x="117414" y="108380"/>
                    <a:pt x="120385" y="113437"/>
                  </a:cubicBezTo>
                  <a:cubicBezTo>
                    <a:pt x="148128" y="160645"/>
                    <a:pt x="112043" y="130663"/>
                    <a:pt x="143697" y="153110"/>
                  </a:cubicBezTo>
                  <a:cubicBezTo>
                    <a:pt x="170121" y="195267"/>
                    <a:pt x="126590" y="129951"/>
                    <a:pt x="180998" y="187821"/>
                  </a:cubicBezTo>
                  <a:cubicBezTo>
                    <a:pt x="198460" y="206395"/>
                    <a:pt x="188725" y="200482"/>
                    <a:pt x="208962" y="207661"/>
                  </a:cubicBezTo>
                  <a:cubicBezTo>
                    <a:pt x="212093" y="212616"/>
                    <a:pt x="213566" y="219377"/>
                    <a:pt x="218292" y="222539"/>
                  </a:cubicBezTo>
                  <a:cubicBezTo>
                    <a:pt x="226640" y="228076"/>
                    <a:pt x="238118" y="226659"/>
                    <a:pt x="246282" y="232455"/>
                  </a:cubicBezTo>
                  <a:cubicBezTo>
                    <a:pt x="264327" y="245274"/>
                    <a:pt x="254936" y="240490"/>
                    <a:pt x="274271" y="247333"/>
                  </a:cubicBezTo>
                  <a:cubicBezTo>
                    <a:pt x="314352" y="275755"/>
                    <a:pt x="263591" y="241681"/>
                    <a:pt x="302199" y="262212"/>
                  </a:cubicBezTo>
                  <a:cubicBezTo>
                    <a:pt x="307232" y="264874"/>
                    <a:pt x="316194" y="278089"/>
                    <a:pt x="316194" y="272128"/>
                  </a:cubicBezTo>
                  <a:cubicBezTo>
                    <a:pt x="316194" y="259748"/>
                    <a:pt x="295447" y="254855"/>
                    <a:pt x="288204" y="252295"/>
                  </a:cubicBezTo>
                  <a:cubicBezTo>
                    <a:pt x="254752" y="228568"/>
                    <a:pt x="268194" y="240887"/>
                    <a:pt x="246282" y="217577"/>
                  </a:cubicBezTo>
                  <a:cubicBezTo>
                    <a:pt x="249351" y="212616"/>
                    <a:pt x="251192" y="206422"/>
                    <a:pt x="255612" y="202699"/>
                  </a:cubicBezTo>
                  <a:cubicBezTo>
                    <a:pt x="259417" y="199434"/>
                    <a:pt x="264696" y="197744"/>
                    <a:pt x="269606" y="197744"/>
                  </a:cubicBezTo>
                  <a:cubicBezTo>
                    <a:pt x="300726" y="197744"/>
                    <a:pt x="331723" y="201050"/>
                    <a:pt x="362843" y="202699"/>
                  </a:cubicBezTo>
                  <a:lnTo>
                    <a:pt x="404765" y="217577"/>
                  </a:lnTo>
                  <a:cubicBezTo>
                    <a:pt x="404765" y="217577"/>
                    <a:pt x="432755" y="227494"/>
                    <a:pt x="432755" y="227494"/>
                  </a:cubicBezTo>
                  <a:lnTo>
                    <a:pt x="479403" y="232455"/>
                  </a:lnTo>
                  <a:lnTo>
                    <a:pt x="507332" y="242372"/>
                  </a:lnTo>
                  <a:cubicBezTo>
                    <a:pt x="589151" y="271382"/>
                    <a:pt x="516477" y="247217"/>
                    <a:pt x="735788" y="252295"/>
                  </a:cubicBezTo>
                  <a:lnTo>
                    <a:pt x="773107" y="262212"/>
                  </a:lnTo>
                  <a:cubicBezTo>
                    <a:pt x="779307" y="263861"/>
                    <a:pt x="785506" y="265832"/>
                    <a:pt x="791767" y="267166"/>
                  </a:cubicBezTo>
                  <a:cubicBezTo>
                    <a:pt x="799563" y="268823"/>
                    <a:pt x="807419" y="269911"/>
                    <a:pt x="815092" y="272128"/>
                  </a:cubicBezTo>
                  <a:cubicBezTo>
                    <a:pt x="824544" y="274879"/>
                    <a:pt x="834856" y="276248"/>
                    <a:pt x="843019" y="282045"/>
                  </a:cubicBezTo>
                  <a:cubicBezTo>
                    <a:pt x="875121" y="304786"/>
                    <a:pt x="860391" y="298113"/>
                    <a:pt x="885003" y="306846"/>
                  </a:cubicBezTo>
                  <a:cubicBezTo>
                    <a:pt x="889668" y="310151"/>
                    <a:pt x="893904" y="314340"/>
                    <a:pt x="898998" y="316762"/>
                  </a:cubicBezTo>
                  <a:cubicBezTo>
                    <a:pt x="907960" y="321006"/>
                    <a:pt x="926988" y="326679"/>
                    <a:pt x="926988" y="326679"/>
                  </a:cubicBezTo>
                  <a:cubicBezTo>
                    <a:pt x="895868" y="328335"/>
                    <a:pt x="864748" y="329197"/>
                    <a:pt x="833751" y="331641"/>
                  </a:cubicBezTo>
                  <a:cubicBezTo>
                    <a:pt x="822764" y="332503"/>
                    <a:pt x="790110" y="336595"/>
                    <a:pt x="801097" y="336595"/>
                  </a:cubicBezTo>
                  <a:cubicBezTo>
                    <a:pt x="925453" y="336595"/>
                    <a:pt x="1049748" y="333290"/>
                    <a:pt x="1174043" y="331641"/>
                  </a:cubicBezTo>
                  <a:cubicBezTo>
                    <a:pt x="1164775" y="328335"/>
                    <a:pt x="1140652" y="330422"/>
                    <a:pt x="1146115" y="321724"/>
                  </a:cubicBezTo>
                  <a:cubicBezTo>
                    <a:pt x="1149184" y="316762"/>
                    <a:pt x="1150657" y="310001"/>
                    <a:pt x="1155445" y="306846"/>
                  </a:cubicBezTo>
                  <a:cubicBezTo>
                    <a:pt x="1163731" y="301302"/>
                    <a:pt x="1183373" y="296923"/>
                    <a:pt x="1183373" y="296923"/>
                  </a:cubicBezTo>
                  <a:cubicBezTo>
                    <a:pt x="1234625" y="301467"/>
                    <a:pt x="1228057" y="299249"/>
                    <a:pt x="1267341" y="306846"/>
                  </a:cubicBezTo>
                  <a:cubicBezTo>
                    <a:pt x="1275136" y="308352"/>
                    <a:pt x="1282993" y="309583"/>
                    <a:pt x="1290604" y="311801"/>
                  </a:cubicBezTo>
                  <a:cubicBezTo>
                    <a:pt x="1303309" y="315483"/>
                    <a:pt x="1322153" y="320547"/>
                    <a:pt x="1332588" y="331641"/>
                  </a:cubicBezTo>
                  <a:cubicBezTo>
                    <a:pt x="1335043" y="334255"/>
                    <a:pt x="1335718" y="338252"/>
                    <a:pt x="1337253" y="341557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9616400" y="3284156"/>
              <a:ext cx="1209189" cy="260063"/>
            </a:xfrm>
            <a:custGeom>
              <a:avLst/>
              <a:gdLst>
                <a:gd name="connsiteX0" fmla="*/ -835 w 1209189"/>
                <a:gd name="connsiteY0" fmla="*/ 146972 h 260063"/>
                <a:gd name="connsiteX1" fmla="*/ 370638 w 1209189"/>
                <a:gd name="connsiteY1" fmla="*/ 111344 h 260063"/>
                <a:gd name="connsiteX2" fmla="*/ 533111 w 1209189"/>
                <a:gd name="connsiteY2" fmla="*/ 106259 h 260063"/>
                <a:gd name="connsiteX3" fmla="*/ 556313 w 1209189"/>
                <a:gd name="connsiteY3" fmla="*/ 101168 h 260063"/>
                <a:gd name="connsiteX4" fmla="*/ 607442 w 1209189"/>
                <a:gd name="connsiteY4" fmla="*/ 96083 h 260063"/>
                <a:gd name="connsiteX5" fmla="*/ 644578 w 1209189"/>
                <a:gd name="connsiteY5" fmla="*/ 85900 h 260063"/>
                <a:gd name="connsiteX6" fmla="*/ 677047 w 1209189"/>
                <a:gd name="connsiteY6" fmla="*/ 75723 h 260063"/>
                <a:gd name="connsiteX7" fmla="*/ 858119 w 1209189"/>
                <a:gd name="connsiteY7" fmla="*/ 80815 h 260063"/>
                <a:gd name="connsiteX8" fmla="*/ 899919 w 1209189"/>
                <a:gd name="connsiteY8" fmla="*/ 96083 h 260063"/>
                <a:gd name="connsiteX9" fmla="*/ 913852 w 1209189"/>
                <a:gd name="connsiteY9" fmla="*/ 101168 h 260063"/>
                <a:gd name="connsiteX10" fmla="*/ 941719 w 1209189"/>
                <a:gd name="connsiteY10" fmla="*/ 121528 h 260063"/>
                <a:gd name="connsiteX11" fmla="*/ 955652 w 1209189"/>
                <a:gd name="connsiteY11" fmla="*/ 131704 h 260063"/>
                <a:gd name="connsiteX12" fmla="*/ 969585 w 1209189"/>
                <a:gd name="connsiteY12" fmla="*/ 136796 h 260063"/>
                <a:gd name="connsiteX13" fmla="*/ 983519 w 1209189"/>
                <a:gd name="connsiteY13" fmla="*/ 146972 h 260063"/>
                <a:gd name="connsiteX14" fmla="*/ 1067057 w 1209189"/>
                <a:gd name="connsiteY14" fmla="*/ 157149 h 260063"/>
                <a:gd name="connsiteX15" fmla="*/ 1159925 w 1209189"/>
                <a:gd name="connsiteY15" fmla="*/ 162234 h 260063"/>
                <a:gd name="connsiteX16" fmla="*/ 1201726 w 1209189"/>
                <a:gd name="connsiteY16" fmla="*/ 157149 h 260063"/>
                <a:gd name="connsiteX17" fmla="*/ 1206391 w 1209189"/>
                <a:gd name="connsiteY17" fmla="*/ 141881 h 260063"/>
                <a:gd name="connsiteX18" fmla="*/ 1178524 w 1209189"/>
                <a:gd name="connsiteY18" fmla="*/ 152057 h 260063"/>
                <a:gd name="connsiteX19" fmla="*/ 1141388 w 1209189"/>
                <a:gd name="connsiteY19" fmla="*/ 162234 h 260063"/>
                <a:gd name="connsiteX20" fmla="*/ 1122791 w 1209189"/>
                <a:gd name="connsiteY20" fmla="*/ 167325 h 260063"/>
                <a:gd name="connsiteX21" fmla="*/ 1108857 w 1209189"/>
                <a:gd name="connsiteY21" fmla="*/ 172417 h 260063"/>
                <a:gd name="connsiteX22" fmla="*/ 1071722 w 1209189"/>
                <a:gd name="connsiteY22" fmla="*/ 182593 h 260063"/>
                <a:gd name="connsiteX23" fmla="*/ 1057789 w 1209189"/>
                <a:gd name="connsiteY23" fmla="*/ 192770 h 260063"/>
                <a:gd name="connsiteX24" fmla="*/ 1043855 w 1209189"/>
                <a:gd name="connsiteY24" fmla="*/ 197862 h 260063"/>
                <a:gd name="connsiteX25" fmla="*/ 1020654 w 1209189"/>
                <a:gd name="connsiteY25" fmla="*/ 218215 h 260063"/>
                <a:gd name="connsiteX26" fmla="*/ 1011386 w 1209189"/>
                <a:gd name="connsiteY26" fmla="*/ 233483 h 260063"/>
                <a:gd name="connsiteX27" fmla="*/ 997452 w 1209189"/>
                <a:gd name="connsiteY27" fmla="*/ 238568 h 260063"/>
                <a:gd name="connsiteX28" fmla="*/ 983519 w 1209189"/>
                <a:gd name="connsiteY28" fmla="*/ 248751 h 260063"/>
                <a:gd name="connsiteX29" fmla="*/ 1080990 w 1209189"/>
                <a:gd name="connsiteY29" fmla="*/ 253836 h 260063"/>
                <a:gd name="connsiteX30" fmla="*/ 1094924 w 1209189"/>
                <a:gd name="connsiteY30" fmla="*/ 248751 h 260063"/>
                <a:gd name="connsiteX31" fmla="*/ 1108857 w 1209189"/>
                <a:gd name="connsiteY31" fmla="*/ 238568 h 260063"/>
                <a:gd name="connsiteX32" fmla="*/ 1136723 w 1209189"/>
                <a:gd name="connsiteY32" fmla="*/ 228391 h 260063"/>
                <a:gd name="connsiteX33" fmla="*/ 1150657 w 1209189"/>
                <a:gd name="connsiteY33" fmla="*/ 223307 h 260063"/>
                <a:gd name="connsiteX34" fmla="*/ 1164590 w 1209189"/>
                <a:gd name="connsiteY34" fmla="*/ 218215 h 260063"/>
                <a:gd name="connsiteX35" fmla="*/ 1178524 w 1209189"/>
                <a:gd name="connsiteY35" fmla="*/ 208038 h 260063"/>
                <a:gd name="connsiteX36" fmla="*/ 1192457 w 1209189"/>
                <a:gd name="connsiteY36" fmla="*/ 177502 h 260063"/>
                <a:gd name="connsiteX37" fmla="*/ 1187792 w 1209189"/>
                <a:gd name="connsiteY37" fmla="*/ 162234 h 260063"/>
                <a:gd name="connsiteX38" fmla="*/ 1169255 w 1209189"/>
                <a:gd name="connsiteY38" fmla="*/ 141881 h 260063"/>
                <a:gd name="connsiteX39" fmla="*/ 1173859 w 1209189"/>
                <a:gd name="connsiteY39" fmla="*/ 96083 h 260063"/>
                <a:gd name="connsiteX40" fmla="*/ 1178524 w 1209189"/>
                <a:gd name="connsiteY40" fmla="*/ 75723 h 260063"/>
                <a:gd name="connsiteX41" fmla="*/ 1164590 w 1209189"/>
                <a:gd name="connsiteY41" fmla="*/ 70638 h 260063"/>
                <a:gd name="connsiteX42" fmla="*/ 1108857 w 1209189"/>
                <a:gd name="connsiteY42" fmla="*/ 101168 h 260063"/>
                <a:gd name="connsiteX43" fmla="*/ 1094924 w 1209189"/>
                <a:gd name="connsiteY43" fmla="*/ 106259 h 260063"/>
                <a:gd name="connsiteX44" fmla="*/ 1080990 w 1209189"/>
                <a:gd name="connsiteY44" fmla="*/ 111344 h 260063"/>
                <a:gd name="connsiteX45" fmla="*/ 1067057 w 1209189"/>
                <a:gd name="connsiteY45" fmla="*/ 106259 h 260063"/>
                <a:gd name="connsiteX46" fmla="*/ 988184 w 1209189"/>
                <a:gd name="connsiteY46" fmla="*/ 96083 h 260063"/>
                <a:gd name="connsiteX47" fmla="*/ 969585 w 1209189"/>
                <a:gd name="connsiteY47" fmla="*/ 90991 h 260063"/>
                <a:gd name="connsiteX48" fmla="*/ 885986 w 1209189"/>
                <a:gd name="connsiteY48" fmla="*/ 85900 h 260063"/>
                <a:gd name="connsiteX49" fmla="*/ 899919 w 1209189"/>
                <a:gd name="connsiteY49" fmla="*/ 75723 h 260063"/>
                <a:gd name="connsiteX50" fmla="*/ 918517 w 1209189"/>
                <a:gd name="connsiteY50" fmla="*/ 70638 h 260063"/>
                <a:gd name="connsiteX51" fmla="*/ 992787 w 1209189"/>
                <a:gd name="connsiteY51" fmla="*/ 60455 h 260063"/>
                <a:gd name="connsiteX52" fmla="*/ 1039252 w 1209189"/>
                <a:gd name="connsiteY52" fmla="*/ 40102 h 260063"/>
                <a:gd name="connsiteX53" fmla="*/ 1067057 w 1209189"/>
                <a:gd name="connsiteY53" fmla="*/ 19749 h 260063"/>
                <a:gd name="connsiteX54" fmla="*/ 1080990 w 1209189"/>
                <a:gd name="connsiteY54" fmla="*/ 9565 h 260063"/>
                <a:gd name="connsiteX55" fmla="*/ 1145992 w 1209189"/>
                <a:gd name="connsiteY55" fmla="*/ 4480 h 260063"/>
                <a:gd name="connsiteX56" fmla="*/ 1183189 w 1209189"/>
                <a:gd name="connsiteY56" fmla="*/ -611 h 26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209189" h="260063">
                  <a:moveTo>
                    <a:pt x="-835" y="146972"/>
                  </a:moveTo>
                  <a:lnTo>
                    <a:pt x="370638" y="111344"/>
                  </a:lnTo>
                  <a:cubicBezTo>
                    <a:pt x="424652" y="107224"/>
                    <a:pt x="478974" y="109223"/>
                    <a:pt x="533111" y="106259"/>
                  </a:cubicBezTo>
                  <a:cubicBezTo>
                    <a:pt x="541029" y="105828"/>
                    <a:pt x="548518" y="102242"/>
                    <a:pt x="556313" y="101168"/>
                  </a:cubicBezTo>
                  <a:cubicBezTo>
                    <a:pt x="573315" y="98848"/>
                    <a:pt x="590378" y="97773"/>
                    <a:pt x="607442" y="96083"/>
                  </a:cubicBezTo>
                  <a:cubicBezTo>
                    <a:pt x="654583" y="85735"/>
                    <a:pt x="611248" y="96336"/>
                    <a:pt x="644578" y="85900"/>
                  </a:cubicBezTo>
                  <a:cubicBezTo>
                    <a:pt x="685396" y="73129"/>
                    <a:pt x="643657" y="87925"/>
                    <a:pt x="677047" y="75723"/>
                  </a:cubicBezTo>
                  <a:cubicBezTo>
                    <a:pt x="737446" y="77420"/>
                    <a:pt x="797905" y="76414"/>
                    <a:pt x="858119" y="80815"/>
                  </a:cubicBezTo>
                  <a:cubicBezTo>
                    <a:pt x="858180" y="80815"/>
                    <a:pt x="892983" y="93537"/>
                    <a:pt x="899919" y="96083"/>
                  </a:cubicBezTo>
                  <a:lnTo>
                    <a:pt x="913852" y="101168"/>
                  </a:lnTo>
                  <a:lnTo>
                    <a:pt x="941719" y="121528"/>
                  </a:lnTo>
                  <a:cubicBezTo>
                    <a:pt x="946383" y="124915"/>
                    <a:pt x="950373" y="129767"/>
                    <a:pt x="955652" y="131704"/>
                  </a:cubicBezTo>
                  <a:cubicBezTo>
                    <a:pt x="960317" y="133401"/>
                    <a:pt x="965228" y="134394"/>
                    <a:pt x="969585" y="136796"/>
                  </a:cubicBezTo>
                  <a:cubicBezTo>
                    <a:pt x="974557" y="139526"/>
                    <a:pt x="978302" y="144823"/>
                    <a:pt x="983519" y="146972"/>
                  </a:cubicBezTo>
                  <a:cubicBezTo>
                    <a:pt x="1001196" y="154233"/>
                    <a:pt x="1063620" y="156916"/>
                    <a:pt x="1067057" y="157149"/>
                  </a:cubicBezTo>
                  <a:cubicBezTo>
                    <a:pt x="1097993" y="159202"/>
                    <a:pt x="1128989" y="160543"/>
                    <a:pt x="1159925" y="162234"/>
                  </a:cubicBezTo>
                  <a:cubicBezTo>
                    <a:pt x="1173859" y="160543"/>
                    <a:pt x="1188713" y="162856"/>
                    <a:pt x="1201726" y="157149"/>
                  </a:cubicBezTo>
                  <a:cubicBezTo>
                    <a:pt x="1206268" y="155157"/>
                    <a:pt x="1211178" y="142935"/>
                    <a:pt x="1206391" y="141881"/>
                  </a:cubicBezTo>
                  <a:cubicBezTo>
                    <a:pt x="1196753" y="139780"/>
                    <a:pt x="1188037" y="149457"/>
                    <a:pt x="1178524" y="152057"/>
                  </a:cubicBezTo>
                  <a:lnTo>
                    <a:pt x="1141388" y="162234"/>
                  </a:lnTo>
                  <a:cubicBezTo>
                    <a:pt x="1135189" y="163931"/>
                    <a:pt x="1128867" y="165115"/>
                    <a:pt x="1122791" y="167325"/>
                  </a:cubicBezTo>
                  <a:cubicBezTo>
                    <a:pt x="1118187" y="169023"/>
                    <a:pt x="1113644" y="171110"/>
                    <a:pt x="1108857" y="172417"/>
                  </a:cubicBezTo>
                  <a:lnTo>
                    <a:pt x="1071722" y="182593"/>
                  </a:lnTo>
                  <a:cubicBezTo>
                    <a:pt x="1067057" y="185988"/>
                    <a:pt x="1062822" y="190033"/>
                    <a:pt x="1057789" y="192770"/>
                  </a:cubicBezTo>
                  <a:cubicBezTo>
                    <a:pt x="1053431" y="195172"/>
                    <a:pt x="1047722" y="194508"/>
                    <a:pt x="1043855" y="197862"/>
                  </a:cubicBezTo>
                  <a:cubicBezTo>
                    <a:pt x="1013841" y="224169"/>
                    <a:pt x="1055640" y="205424"/>
                    <a:pt x="1020654" y="218215"/>
                  </a:cubicBezTo>
                  <a:cubicBezTo>
                    <a:pt x="1017585" y="223307"/>
                    <a:pt x="1015743" y="229657"/>
                    <a:pt x="1011386" y="233483"/>
                  </a:cubicBezTo>
                  <a:cubicBezTo>
                    <a:pt x="1007519" y="236830"/>
                    <a:pt x="1001810" y="236173"/>
                    <a:pt x="997452" y="238568"/>
                  </a:cubicBezTo>
                  <a:cubicBezTo>
                    <a:pt x="992419" y="241305"/>
                    <a:pt x="988184" y="245357"/>
                    <a:pt x="983519" y="248751"/>
                  </a:cubicBezTo>
                  <a:cubicBezTo>
                    <a:pt x="1040234" y="264293"/>
                    <a:pt x="1007948" y="260002"/>
                    <a:pt x="1080990" y="253836"/>
                  </a:cubicBezTo>
                  <a:cubicBezTo>
                    <a:pt x="1085655" y="252139"/>
                    <a:pt x="1090566" y="251147"/>
                    <a:pt x="1094924" y="248751"/>
                  </a:cubicBezTo>
                  <a:cubicBezTo>
                    <a:pt x="1099957" y="246014"/>
                    <a:pt x="1103762" y="241059"/>
                    <a:pt x="1108857" y="238568"/>
                  </a:cubicBezTo>
                  <a:cubicBezTo>
                    <a:pt x="1117819" y="234215"/>
                    <a:pt x="1127455" y="231786"/>
                    <a:pt x="1136723" y="228391"/>
                  </a:cubicBezTo>
                  <a:lnTo>
                    <a:pt x="1150657" y="223307"/>
                  </a:lnTo>
                  <a:lnTo>
                    <a:pt x="1164590" y="218215"/>
                  </a:lnTo>
                  <a:cubicBezTo>
                    <a:pt x="1169255" y="214820"/>
                    <a:pt x="1174595" y="212364"/>
                    <a:pt x="1178524" y="208038"/>
                  </a:cubicBezTo>
                  <a:cubicBezTo>
                    <a:pt x="1187546" y="198170"/>
                    <a:pt x="1188652" y="189916"/>
                    <a:pt x="1192457" y="177502"/>
                  </a:cubicBezTo>
                  <a:cubicBezTo>
                    <a:pt x="1190923" y="172417"/>
                    <a:pt x="1191290" y="166032"/>
                    <a:pt x="1187792" y="162234"/>
                  </a:cubicBezTo>
                  <a:cubicBezTo>
                    <a:pt x="1163056" y="135092"/>
                    <a:pt x="1181593" y="182593"/>
                    <a:pt x="1169255" y="141881"/>
                  </a:cubicBezTo>
                  <a:cubicBezTo>
                    <a:pt x="1170790" y="126612"/>
                    <a:pt x="1171772" y="111262"/>
                    <a:pt x="1173859" y="96083"/>
                  </a:cubicBezTo>
                  <a:cubicBezTo>
                    <a:pt x="1174841" y="89171"/>
                    <a:pt x="1180918" y="82218"/>
                    <a:pt x="1178524" y="75723"/>
                  </a:cubicBezTo>
                  <a:cubicBezTo>
                    <a:pt x="1176682" y="70748"/>
                    <a:pt x="1169255" y="72335"/>
                    <a:pt x="1164590" y="70638"/>
                  </a:cubicBezTo>
                  <a:cubicBezTo>
                    <a:pt x="1128560" y="96945"/>
                    <a:pt x="1147343" y="87125"/>
                    <a:pt x="1108857" y="101168"/>
                  </a:cubicBezTo>
                  <a:lnTo>
                    <a:pt x="1094924" y="106259"/>
                  </a:lnTo>
                  <a:lnTo>
                    <a:pt x="1080990" y="111344"/>
                  </a:lnTo>
                  <a:cubicBezTo>
                    <a:pt x="1076387" y="109654"/>
                    <a:pt x="1071906" y="107217"/>
                    <a:pt x="1067057" y="106259"/>
                  </a:cubicBezTo>
                  <a:cubicBezTo>
                    <a:pt x="1057052" y="104254"/>
                    <a:pt x="996286" y="97069"/>
                    <a:pt x="988184" y="96083"/>
                  </a:cubicBezTo>
                  <a:cubicBezTo>
                    <a:pt x="981984" y="94386"/>
                    <a:pt x="975908" y="91628"/>
                    <a:pt x="969585" y="90991"/>
                  </a:cubicBezTo>
                  <a:cubicBezTo>
                    <a:pt x="941780" y="88219"/>
                    <a:pt x="913361" y="91902"/>
                    <a:pt x="885986" y="85900"/>
                  </a:cubicBezTo>
                  <a:cubicBezTo>
                    <a:pt x="880523" y="84702"/>
                    <a:pt x="894825" y="78132"/>
                    <a:pt x="899919" y="75723"/>
                  </a:cubicBezTo>
                  <a:cubicBezTo>
                    <a:pt x="905811" y="72972"/>
                    <a:pt x="912256" y="72007"/>
                    <a:pt x="918517" y="70638"/>
                  </a:cubicBezTo>
                  <a:cubicBezTo>
                    <a:pt x="947304" y="64321"/>
                    <a:pt x="960808" y="63966"/>
                    <a:pt x="992787" y="60455"/>
                  </a:cubicBezTo>
                  <a:cubicBezTo>
                    <a:pt x="1012736" y="53173"/>
                    <a:pt x="1022127" y="51332"/>
                    <a:pt x="1039252" y="40102"/>
                  </a:cubicBezTo>
                  <a:cubicBezTo>
                    <a:pt x="1048827" y="33806"/>
                    <a:pt x="1057789" y="26531"/>
                    <a:pt x="1067057" y="19749"/>
                  </a:cubicBezTo>
                  <a:cubicBezTo>
                    <a:pt x="1071722" y="16354"/>
                    <a:pt x="1075466" y="10003"/>
                    <a:pt x="1080990" y="9565"/>
                  </a:cubicBezTo>
                  <a:lnTo>
                    <a:pt x="1145992" y="4480"/>
                  </a:lnTo>
                  <a:cubicBezTo>
                    <a:pt x="1176928" y="-1165"/>
                    <a:pt x="1164467" y="-611"/>
                    <a:pt x="1183189" y="-611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/>
          </p:nvSpPr>
          <p:spPr>
            <a:xfrm>
              <a:off x="8812320" y="3626340"/>
              <a:ext cx="1982578" cy="465368"/>
            </a:xfrm>
            <a:custGeom>
              <a:avLst/>
              <a:gdLst>
                <a:gd name="connsiteX0" fmla="*/ -835 w 1982578"/>
                <a:gd name="connsiteY0" fmla="*/ -626 h 465368"/>
                <a:gd name="connsiteX1" fmla="*/ 22502 w 1982578"/>
                <a:gd name="connsiteY1" fmla="*/ 29397 h 465368"/>
                <a:gd name="connsiteX2" fmla="*/ 27167 w 1982578"/>
                <a:gd name="connsiteY2" fmla="*/ 44412 h 465368"/>
                <a:gd name="connsiteX3" fmla="*/ 36503 w 1982578"/>
                <a:gd name="connsiteY3" fmla="*/ 59420 h 465368"/>
                <a:gd name="connsiteX4" fmla="*/ 41174 w 1982578"/>
                <a:gd name="connsiteY4" fmla="*/ 74435 h 465368"/>
                <a:gd name="connsiteX5" fmla="*/ 73846 w 1982578"/>
                <a:gd name="connsiteY5" fmla="*/ 114464 h 465368"/>
                <a:gd name="connsiteX6" fmla="*/ 97183 w 1982578"/>
                <a:gd name="connsiteY6" fmla="*/ 139484 h 465368"/>
                <a:gd name="connsiteX7" fmla="*/ 134521 w 1982578"/>
                <a:gd name="connsiteY7" fmla="*/ 174510 h 465368"/>
                <a:gd name="connsiteX8" fmla="*/ 171858 w 1982578"/>
                <a:gd name="connsiteY8" fmla="*/ 179520 h 465368"/>
                <a:gd name="connsiteX9" fmla="*/ 185859 w 1982578"/>
                <a:gd name="connsiteY9" fmla="*/ 194528 h 465368"/>
                <a:gd name="connsiteX10" fmla="*/ 218532 w 1982578"/>
                <a:gd name="connsiteY10" fmla="*/ 214545 h 465368"/>
                <a:gd name="connsiteX11" fmla="*/ 232533 w 1982578"/>
                <a:gd name="connsiteY11" fmla="*/ 224551 h 465368"/>
                <a:gd name="connsiteX12" fmla="*/ 260522 w 1982578"/>
                <a:gd name="connsiteY12" fmla="*/ 234563 h 465368"/>
                <a:gd name="connsiteX13" fmla="*/ 288573 w 1982578"/>
                <a:gd name="connsiteY13" fmla="*/ 244569 h 465368"/>
                <a:gd name="connsiteX14" fmla="*/ 316562 w 1982578"/>
                <a:gd name="connsiteY14" fmla="*/ 254574 h 465368"/>
                <a:gd name="connsiteX15" fmla="*/ 372541 w 1982578"/>
                <a:gd name="connsiteY15" fmla="*/ 294610 h 465368"/>
                <a:gd name="connsiteX16" fmla="*/ 386535 w 1982578"/>
                <a:gd name="connsiteY16" fmla="*/ 304615 h 465368"/>
                <a:gd name="connsiteX17" fmla="*/ 419251 w 1982578"/>
                <a:gd name="connsiteY17" fmla="*/ 314627 h 465368"/>
                <a:gd name="connsiteX18" fmla="*/ 447240 w 1982578"/>
                <a:gd name="connsiteY18" fmla="*/ 324632 h 465368"/>
                <a:gd name="connsiteX19" fmla="*/ 475230 w 1982578"/>
                <a:gd name="connsiteY19" fmla="*/ 334638 h 465368"/>
                <a:gd name="connsiteX20" fmla="*/ 489224 w 1982578"/>
                <a:gd name="connsiteY20" fmla="*/ 344650 h 465368"/>
                <a:gd name="connsiteX21" fmla="*/ 531269 w 1982578"/>
                <a:gd name="connsiteY21" fmla="*/ 359659 h 465368"/>
                <a:gd name="connsiteX22" fmla="*/ 615238 w 1982578"/>
                <a:gd name="connsiteY22" fmla="*/ 389681 h 465368"/>
                <a:gd name="connsiteX23" fmla="*/ 657283 w 1982578"/>
                <a:gd name="connsiteY23" fmla="*/ 404697 h 465368"/>
                <a:gd name="connsiteX24" fmla="*/ 671278 w 1982578"/>
                <a:gd name="connsiteY24" fmla="*/ 409699 h 465368"/>
                <a:gd name="connsiteX25" fmla="*/ 694603 w 1982578"/>
                <a:gd name="connsiteY25" fmla="*/ 429717 h 465368"/>
                <a:gd name="connsiteX26" fmla="*/ 708597 w 1982578"/>
                <a:gd name="connsiteY26" fmla="*/ 439722 h 465368"/>
                <a:gd name="connsiteX27" fmla="*/ 736586 w 1982578"/>
                <a:gd name="connsiteY27" fmla="*/ 449728 h 465368"/>
                <a:gd name="connsiteX28" fmla="*/ 750643 w 1982578"/>
                <a:gd name="connsiteY28" fmla="*/ 454738 h 465368"/>
                <a:gd name="connsiteX29" fmla="*/ 820616 w 1982578"/>
                <a:gd name="connsiteY29" fmla="*/ 449728 h 465368"/>
                <a:gd name="connsiteX30" fmla="*/ 1053983 w 1982578"/>
                <a:gd name="connsiteY30" fmla="*/ 459740 h 465368"/>
                <a:gd name="connsiteX31" fmla="*/ 1264026 w 1982578"/>
                <a:gd name="connsiteY31" fmla="*/ 464743 h 465368"/>
                <a:gd name="connsiteX32" fmla="*/ 1492728 w 1982578"/>
                <a:gd name="connsiteY32" fmla="*/ 459740 h 465368"/>
                <a:gd name="connsiteX33" fmla="*/ 1553433 w 1982578"/>
                <a:gd name="connsiteY33" fmla="*/ 449728 h 465368"/>
                <a:gd name="connsiteX34" fmla="*/ 1628072 w 1982578"/>
                <a:gd name="connsiteY34" fmla="*/ 439722 h 465368"/>
                <a:gd name="connsiteX35" fmla="*/ 1674782 w 1982578"/>
                <a:gd name="connsiteY35" fmla="*/ 434720 h 465368"/>
                <a:gd name="connsiteX36" fmla="*/ 1721431 w 1982578"/>
                <a:gd name="connsiteY36" fmla="*/ 424714 h 465368"/>
                <a:gd name="connsiteX37" fmla="*/ 1763416 w 1982578"/>
                <a:gd name="connsiteY37" fmla="*/ 414702 h 465368"/>
                <a:gd name="connsiteX38" fmla="*/ 1777471 w 1982578"/>
                <a:gd name="connsiteY38" fmla="*/ 409699 h 465368"/>
                <a:gd name="connsiteX39" fmla="*/ 1810126 w 1982578"/>
                <a:gd name="connsiteY39" fmla="*/ 404697 h 465368"/>
                <a:gd name="connsiteX40" fmla="*/ 1847445 w 1982578"/>
                <a:gd name="connsiteY40" fmla="*/ 394684 h 465368"/>
                <a:gd name="connsiteX41" fmla="*/ 1875434 w 1982578"/>
                <a:gd name="connsiteY41" fmla="*/ 384679 h 465368"/>
                <a:gd name="connsiteX42" fmla="*/ 1889428 w 1982578"/>
                <a:gd name="connsiteY42" fmla="*/ 374673 h 465368"/>
                <a:gd name="connsiteX43" fmla="*/ 1936139 w 1982578"/>
                <a:gd name="connsiteY43" fmla="*/ 354656 h 465368"/>
                <a:gd name="connsiteX44" fmla="*/ 1964128 w 1982578"/>
                <a:gd name="connsiteY44" fmla="*/ 334638 h 465368"/>
                <a:gd name="connsiteX45" fmla="*/ 1964128 w 1982578"/>
                <a:gd name="connsiteY45" fmla="*/ 239566 h 465368"/>
                <a:gd name="connsiteX46" fmla="*/ 1945469 w 1982578"/>
                <a:gd name="connsiteY46" fmla="*/ 259583 h 465368"/>
                <a:gd name="connsiteX47" fmla="*/ 1931474 w 1982578"/>
                <a:gd name="connsiteY47" fmla="*/ 269589 h 465368"/>
                <a:gd name="connsiteX48" fmla="*/ 1917480 w 1982578"/>
                <a:gd name="connsiteY48" fmla="*/ 294610 h 465368"/>
                <a:gd name="connsiteX49" fmla="*/ 1786801 w 1982578"/>
                <a:gd name="connsiteY49" fmla="*/ 319630 h 465368"/>
                <a:gd name="connsiteX50" fmla="*/ 1772745 w 1982578"/>
                <a:gd name="connsiteY50" fmla="*/ 329635 h 465368"/>
                <a:gd name="connsiteX51" fmla="*/ 1758751 w 1982578"/>
                <a:gd name="connsiteY51" fmla="*/ 344650 h 465368"/>
                <a:gd name="connsiteX52" fmla="*/ 1744756 w 1982578"/>
                <a:gd name="connsiteY52" fmla="*/ 349653 h 465368"/>
                <a:gd name="connsiteX53" fmla="*/ 1698107 w 1982578"/>
                <a:gd name="connsiteY53" fmla="*/ 374673 h 465368"/>
                <a:gd name="connsiteX54" fmla="*/ 1684112 w 1982578"/>
                <a:gd name="connsiteY54" fmla="*/ 379676 h 465368"/>
                <a:gd name="connsiteX55" fmla="*/ 1670117 w 1982578"/>
                <a:gd name="connsiteY55" fmla="*/ 384679 h 465368"/>
                <a:gd name="connsiteX56" fmla="*/ 1721431 w 1982578"/>
                <a:gd name="connsiteY56" fmla="*/ 364661 h 465368"/>
                <a:gd name="connsiteX57" fmla="*/ 1740091 w 1982578"/>
                <a:gd name="connsiteY57" fmla="*/ 354656 h 465368"/>
                <a:gd name="connsiteX58" fmla="*/ 1777471 w 1982578"/>
                <a:gd name="connsiteY58" fmla="*/ 344650 h 465368"/>
                <a:gd name="connsiteX59" fmla="*/ 1791466 w 1982578"/>
                <a:gd name="connsiteY59" fmla="*/ 339641 h 465368"/>
                <a:gd name="connsiteX60" fmla="*/ 1819456 w 1982578"/>
                <a:gd name="connsiteY60" fmla="*/ 319630 h 465368"/>
                <a:gd name="connsiteX61" fmla="*/ 1842780 w 1982578"/>
                <a:gd name="connsiteY61" fmla="*/ 274592 h 465368"/>
                <a:gd name="connsiteX62" fmla="*/ 1870769 w 1982578"/>
                <a:gd name="connsiteY62" fmla="*/ 264586 h 465368"/>
                <a:gd name="connsiteX63" fmla="*/ 1903485 w 1982578"/>
                <a:gd name="connsiteY63" fmla="*/ 244569 h 465368"/>
                <a:gd name="connsiteX64" fmla="*/ 1931474 w 1982578"/>
                <a:gd name="connsiteY64" fmla="*/ 234563 h 465368"/>
                <a:gd name="connsiteX65" fmla="*/ 1945469 w 1982578"/>
                <a:gd name="connsiteY65" fmla="*/ 219548 h 465368"/>
                <a:gd name="connsiteX66" fmla="*/ 1954798 w 1982578"/>
                <a:gd name="connsiteY66" fmla="*/ 199531 h 465368"/>
                <a:gd name="connsiteX67" fmla="*/ 1926809 w 1982578"/>
                <a:gd name="connsiteY67" fmla="*/ 229553 h 465368"/>
                <a:gd name="connsiteX68" fmla="*/ 1912815 w 1982578"/>
                <a:gd name="connsiteY68" fmla="*/ 234563 h 465368"/>
                <a:gd name="connsiteX69" fmla="*/ 1875434 w 1982578"/>
                <a:gd name="connsiteY69" fmla="*/ 244569 h 465368"/>
                <a:gd name="connsiteX70" fmla="*/ 1754086 w 1982578"/>
                <a:gd name="connsiteY70" fmla="*/ 239566 h 465368"/>
                <a:gd name="connsiteX71" fmla="*/ 1726096 w 1982578"/>
                <a:gd name="connsiteY71" fmla="*/ 229553 h 465368"/>
                <a:gd name="connsiteX72" fmla="*/ 1707437 w 1982578"/>
                <a:gd name="connsiteY72" fmla="*/ 224551 h 465368"/>
                <a:gd name="connsiteX73" fmla="*/ 1712101 w 1982578"/>
                <a:gd name="connsiteY73" fmla="*/ 209543 h 465368"/>
                <a:gd name="connsiteX74" fmla="*/ 1754086 w 1982578"/>
                <a:gd name="connsiteY74" fmla="*/ 184522 h 465368"/>
                <a:gd name="connsiteX75" fmla="*/ 1768080 w 1982578"/>
                <a:gd name="connsiteY75" fmla="*/ 174510 h 465368"/>
                <a:gd name="connsiteX76" fmla="*/ 1908150 w 1982578"/>
                <a:gd name="connsiteY76" fmla="*/ 159502 h 465368"/>
                <a:gd name="connsiteX77" fmla="*/ 1940804 w 1982578"/>
                <a:gd name="connsiteY77" fmla="*/ 149496 h 465368"/>
                <a:gd name="connsiteX78" fmla="*/ 1954798 w 1982578"/>
                <a:gd name="connsiteY78" fmla="*/ 139484 h 465368"/>
                <a:gd name="connsiteX79" fmla="*/ 1964128 w 1982578"/>
                <a:gd name="connsiteY79" fmla="*/ 124476 h 465368"/>
                <a:gd name="connsiteX80" fmla="*/ 1950134 w 1982578"/>
                <a:gd name="connsiteY80" fmla="*/ 129479 h 465368"/>
                <a:gd name="connsiteX81" fmla="*/ 1936139 w 1982578"/>
                <a:gd name="connsiteY81" fmla="*/ 139484 h 465368"/>
                <a:gd name="connsiteX82" fmla="*/ 1908150 w 1982578"/>
                <a:gd name="connsiteY82" fmla="*/ 149496 h 465368"/>
                <a:gd name="connsiteX83" fmla="*/ 1894155 w 1982578"/>
                <a:gd name="connsiteY83" fmla="*/ 154499 h 465368"/>
                <a:gd name="connsiteX84" fmla="*/ 1875434 w 1982578"/>
                <a:gd name="connsiteY84" fmla="*/ 159502 h 465368"/>
                <a:gd name="connsiteX85" fmla="*/ 1847445 w 1982578"/>
                <a:gd name="connsiteY85" fmla="*/ 169507 h 465368"/>
                <a:gd name="connsiteX86" fmla="*/ 1791466 w 1982578"/>
                <a:gd name="connsiteY86" fmla="*/ 164505 h 465368"/>
                <a:gd name="connsiteX87" fmla="*/ 1749421 w 1982578"/>
                <a:gd name="connsiteY87" fmla="*/ 149496 h 465368"/>
                <a:gd name="connsiteX88" fmla="*/ 1735426 w 1982578"/>
                <a:gd name="connsiteY88" fmla="*/ 144487 h 465368"/>
                <a:gd name="connsiteX89" fmla="*/ 1707437 w 1982578"/>
                <a:gd name="connsiteY89" fmla="*/ 139484 h 465368"/>
                <a:gd name="connsiteX90" fmla="*/ 1609412 w 1982578"/>
                <a:gd name="connsiteY90" fmla="*/ 144487 h 465368"/>
                <a:gd name="connsiteX91" fmla="*/ 1572093 w 1982578"/>
                <a:gd name="connsiteY91" fmla="*/ 154499 h 465368"/>
                <a:gd name="connsiteX92" fmla="*/ 1553433 w 1982578"/>
                <a:gd name="connsiteY92" fmla="*/ 159502 h 465368"/>
                <a:gd name="connsiteX93" fmla="*/ 1530048 w 1982578"/>
                <a:gd name="connsiteY93" fmla="*/ 164505 h 465368"/>
                <a:gd name="connsiteX94" fmla="*/ 1502058 w 1982578"/>
                <a:gd name="connsiteY94" fmla="*/ 174510 h 465368"/>
                <a:gd name="connsiteX95" fmla="*/ 1488063 w 1982578"/>
                <a:gd name="connsiteY95" fmla="*/ 179520 h 465368"/>
                <a:gd name="connsiteX96" fmla="*/ 1469404 w 1982578"/>
                <a:gd name="connsiteY96" fmla="*/ 184522 h 465368"/>
                <a:gd name="connsiteX97" fmla="*/ 1455410 w 1982578"/>
                <a:gd name="connsiteY97" fmla="*/ 194528 h 465368"/>
                <a:gd name="connsiteX98" fmla="*/ 1422694 w 1982578"/>
                <a:gd name="connsiteY98" fmla="*/ 204540 h 465368"/>
                <a:gd name="connsiteX99" fmla="*/ 1408699 w 1982578"/>
                <a:gd name="connsiteY99" fmla="*/ 214545 h 465368"/>
                <a:gd name="connsiteX100" fmla="*/ 1380710 w 1982578"/>
                <a:gd name="connsiteY100" fmla="*/ 224551 h 465368"/>
                <a:gd name="connsiteX101" fmla="*/ 1366715 w 1982578"/>
                <a:gd name="connsiteY101" fmla="*/ 229553 h 465368"/>
                <a:gd name="connsiteX102" fmla="*/ 1348056 w 1982578"/>
                <a:gd name="connsiteY102" fmla="*/ 234563 h 465368"/>
                <a:gd name="connsiteX103" fmla="*/ 1292016 w 1982578"/>
                <a:gd name="connsiteY103" fmla="*/ 249571 h 465368"/>
                <a:gd name="connsiteX104" fmla="*/ 1222042 w 1982578"/>
                <a:gd name="connsiteY104" fmla="*/ 264586 h 465368"/>
                <a:gd name="connsiteX105" fmla="*/ 1166002 w 1982578"/>
                <a:gd name="connsiteY105" fmla="*/ 264586 h 465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982578" h="465368">
                  <a:moveTo>
                    <a:pt x="-835" y="-626"/>
                  </a:moveTo>
                  <a:cubicBezTo>
                    <a:pt x="6942" y="9379"/>
                    <a:pt x="15762" y="18557"/>
                    <a:pt x="22502" y="29397"/>
                  </a:cubicBezTo>
                  <a:cubicBezTo>
                    <a:pt x="25233" y="33784"/>
                    <a:pt x="24969" y="39690"/>
                    <a:pt x="27167" y="44412"/>
                  </a:cubicBezTo>
                  <a:cubicBezTo>
                    <a:pt x="29677" y="49791"/>
                    <a:pt x="33998" y="54041"/>
                    <a:pt x="36503" y="59420"/>
                  </a:cubicBezTo>
                  <a:cubicBezTo>
                    <a:pt x="38706" y="64142"/>
                    <a:pt x="38786" y="69823"/>
                    <a:pt x="41174" y="74435"/>
                  </a:cubicBezTo>
                  <a:cubicBezTo>
                    <a:pt x="57188" y="105341"/>
                    <a:pt x="53388" y="99846"/>
                    <a:pt x="73846" y="114464"/>
                  </a:cubicBezTo>
                  <a:cubicBezTo>
                    <a:pt x="98736" y="154499"/>
                    <a:pt x="66063" y="106122"/>
                    <a:pt x="97183" y="139484"/>
                  </a:cubicBezTo>
                  <a:cubicBezTo>
                    <a:pt x="111515" y="154855"/>
                    <a:pt x="104291" y="170465"/>
                    <a:pt x="134521" y="174510"/>
                  </a:cubicBezTo>
                  <a:lnTo>
                    <a:pt x="171858" y="179520"/>
                  </a:lnTo>
                  <a:cubicBezTo>
                    <a:pt x="176529" y="184522"/>
                    <a:pt x="180789" y="189997"/>
                    <a:pt x="185859" y="194528"/>
                  </a:cubicBezTo>
                  <a:cubicBezTo>
                    <a:pt x="198264" y="205608"/>
                    <a:pt x="204009" y="205649"/>
                    <a:pt x="218532" y="214545"/>
                  </a:cubicBezTo>
                  <a:cubicBezTo>
                    <a:pt x="223405" y="217529"/>
                    <a:pt x="227407" y="222108"/>
                    <a:pt x="232533" y="224551"/>
                  </a:cubicBezTo>
                  <a:cubicBezTo>
                    <a:pt x="241525" y="228835"/>
                    <a:pt x="251192" y="231223"/>
                    <a:pt x="260522" y="234563"/>
                  </a:cubicBezTo>
                  <a:lnTo>
                    <a:pt x="288573" y="244569"/>
                  </a:lnTo>
                  <a:cubicBezTo>
                    <a:pt x="288573" y="244569"/>
                    <a:pt x="316562" y="254574"/>
                    <a:pt x="316562" y="254574"/>
                  </a:cubicBezTo>
                  <a:lnTo>
                    <a:pt x="372541" y="294610"/>
                  </a:lnTo>
                  <a:cubicBezTo>
                    <a:pt x="377206" y="297942"/>
                    <a:pt x="381257" y="302712"/>
                    <a:pt x="386535" y="304615"/>
                  </a:cubicBezTo>
                  <a:cubicBezTo>
                    <a:pt x="433614" y="321437"/>
                    <a:pt x="360571" y="295766"/>
                    <a:pt x="419251" y="314627"/>
                  </a:cubicBezTo>
                  <a:cubicBezTo>
                    <a:pt x="428642" y="317659"/>
                    <a:pt x="437910" y="321293"/>
                    <a:pt x="447240" y="324632"/>
                  </a:cubicBezTo>
                  <a:cubicBezTo>
                    <a:pt x="447240" y="324632"/>
                    <a:pt x="475230" y="334638"/>
                    <a:pt x="475230" y="334638"/>
                  </a:cubicBezTo>
                  <a:cubicBezTo>
                    <a:pt x="479894" y="337978"/>
                    <a:pt x="484130" y="342207"/>
                    <a:pt x="489224" y="344650"/>
                  </a:cubicBezTo>
                  <a:cubicBezTo>
                    <a:pt x="489224" y="344650"/>
                    <a:pt x="524273" y="357154"/>
                    <a:pt x="531269" y="359659"/>
                  </a:cubicBezTo>
                  <a:lnTo>
                    <a:pt x="615238" y="389681"/>
                  </a:lnTo>
                  <a:lnTo>
                    <a:pt x="657283" y="404697"/>
                  </a:lnTo>
                  <a:lnTo>
                    <a:pt x="671278" y="409699"/>
                  </a:lnTo>
                  <a:cubicBezTo>
                    <a:pt x="686992" y="435007"/>
                    <a:pt x="672076" y="417631"/>
                    <a:pt x="694603" y="429717"/>
                  </a:cubicBezTo>
                  <a:cubicBezTo>
                    <a:pt x="699635" y="432407"/>
                    <a:pt x="703502" y="437279"/>
                    <a:pt x="708597" y="439722"/>
                  </a:cubicBezTo>
                  <a:cubicBezTo>
                    <a:pt x="717620" y="444006"/>
                    <a:pt x="727257" y="446395"/>
                    <a:pt x="736586" y="449728"/>
                  </a:cubicBezTo>
                  <a:lnTo>
                    <a:pt x="750643" y="454738"/>
                  </a:lnTo>
                  <a:cubicBezTo>
                    <a:pt x="773967" y="453068"/>
                    <a:pt x="797230" y="449728"/>
                    <a:pt x="820616" y="449728"/>
                  </a:cubicBezTo>
                  <a:cubicBezTo>
                    <a:pt x="967621" y="449728"/>
                    <a:pt x="933862" y="455716"/>
                    <a:pt x="1053983" y="459740"/>
                  </a:cubicBezTo>
                  <a:lnTo>
                    <a:pt x="1264026" y="464743"/>
                  </a:lnTo>
                  <a:lnTo>
                    <a:pt x="1492728" y="459740"/>
                  </a:lnTo>
                  <a:cubicBezTo>
                    <a:pt x="1521332" y="458666"/>
                    <a:pt x="1528268" y="454224"/>
                    <a:pt x="1553433" y="449728"/>
                  </a:cubicBezTo>
                  <a:cubicBezTo>
                    <a:pt x="1577986" y="445341"/>
                    <a:pt x="1603336" y="442515"/>
                    <a:pt x="1628072" y="439722"/>
                  </a:cubicBezTo>
                  <a:cubicBezTo>
                    <a:pt x="1643663" y="437971"/>
                    <a:pt x="1659253" y="436800"/>
                    <a:pt x="1674782" y="434720"/>
                  </a:cubicBezTo>
                  <a:cubicBezTo>
                    <a:pt x="1706086" y="430518"/>
                    <a:pt x="1695590" y="430860"/>
                    <a:pt x="1721431" y="424714"/>
                  </a:cubicBezTo>
                  <a:cubicBezTo>
                    <a:pt x="1743037" y="419561"/>
                    <a:pt x="1743528" y="420800"/>
                    <a:pt x="1763416" y="414702"/>
                  </a:cubicBezTo>
                  <a:cubicBezTo>
                    <a:pt x="1768141" y="413258"/>
                    <a:pt x="1772623" y="410732"/>
                    <a:pt x="1777471" y="409699"/>
                  </a:cubicBezTo>
                  <a:cubicBezTo>
                    <a:pt x="1788213" y="407386"/>
                    <a:pt x="1799323" y="407010"/>
                    <a:pt x="1810126" y="404697"/>
                  </a:cubicBezTo>
                  <a:cubicBezTo>
                    <a:pt x="1822708" y="402000"/>
                    <a:pt x="1835291" y="399037"/>
                    <a:pt x="1847445" y="394684"/>
                  </a:cubicBezTo>
                  <a:lnTo>
                    <a:pt x="1875434" y="384679"/>
                  </a:lnTo>
                  <a:cubicBezTo>
                    <a:pt x="1880099" y="381346"/>
                    <a:pt x="1884334" y="377116"/>
                    <a:pt x="1889428" y="374673"/>
                  </a:cubicBezTo>
                  <a:cubicBezTo>
                    <a:pt x="1923802" y="358304"/>
                    <a:pt x="1908825" y="372210"/>
                    <a:pt x="1936139" y="354656"/>
                  </a:cubicBezTo>
                  <a:cubicBezTo>
                    <a:pt x="1945776" y="348469"/>
                    <a:pt x="1964128" y="334638"/>
                    <a:pt x="1964128" y="334638"/>
                  </a:cubicBezTo>
                  <a:cubicBezTo>
                    <a:pt x="1983525" y="303431"/>
                    <a:pt x="1991381" y="297942"/>
                    <a:pt x="1964128" y="239566"/>
                  </a:cubicBezTo>
                  <a:cubicBezTo>
                    <a:pt x="1960200" y="231128"/>
                    <a:pt x="1952160" y="253438"/>
                    <a:pt x="1945469" y="259583"/>
                  </a:cubicBezTo>
                  <a:cubicBezTo>
                    <a:pt x="1941234" y="263491"/>
                    <a:pt x="1936139" y="266249"/>
                    <a:pt x="1931474" y="269589"/>
                  </a:cubicBezTo>
                  <a:cubicBezTo>
                    <a:pt x="1926809" y="277931"/>
                    <a:pt x="1923863" y="287732"/>
                    <a:pt x="1917480" y="294610"/>
                  </a:cubicBezTo>
                  <a:cubicBezTo>
                    <a:pt x="1880713" y="334036"/>
                    <a:pt x="1840386" y="317016"/>
                    <a:pt x="1786801" y="319630"/>
                  </a:cubicBezTo>
                  <a:cubicBezTo>
                    <a:pt x="1782136" y="322963"/>
                    <a:pt x="1777103" y="325789"/>
                    <a:pt x="1772745" y="329635"/>
                  </a:cubicBezTo>
                  <a:cubicBezTo>
                    <a:pt x="1767712" y="334166"/>
                    <a:pt x="1764274" y="340722"/>
                    <a:pt x="1758751" y="344650"/>
                  </a:cubicBezTo>
                  <a:cubicBezTo>
                    <a:pt x="1754699" y="347573"/>
                    <a:pt x="1749421" y="347983"/>
                    <a:pt x="1744756" y="349653"/>
                  </a:cubicBezTo>
                  <a:cubicBezTo>
                    <a:pt x="1718239" y="370992"/>
                    <a:pt x="1733462" y="362027"/>
                    <a:pt x="1698107" y="374673"/>
                  </a:cubicBezTo>
                  <a:lnTo>
                    <a:pt x="1684112" y="379676"/>
                  </a:lnTo>
                  <a:cubicBezTo>
                    <a:pt x="1679447" y="381346"/>
                    <a:pt x="1665698" y="387040"/>
                    <a:pt x="1670117" y="384679"/>
                  </a:cubicBezTo>
                  <a:cubicBezTo>
                    <a:pt x="1712715" y="361835"/>
                    <a:pt x="1659560" y="388778"/>
                    <a:pt x="1721431" y="364661"/>
                  </a:cubicBezTo>
                  <a:cubicBezTo>
                    <a:pt x="1727999" y="362115"/>
                    <a:pt x="1733523" y="357017"/>
                    <a:pt x="1740091" y="354656"/>
                  </a:cubicBezTo>
                  <a:cubicBezTo>
                    <a:pt x="1752244" y="350303"/>
                    <a:pt x="1765072" y="348271"/>
                    <a:pt x="1777471" y="344650"/>
                  </a:cubicBezTo>
                  <a:cubicBezTo>
                    <a:pt x="1782197" y="343261"/>
                    <a:pt x="1787170" y="342207"/>
                    <a:pt x="1791466" y="339641"/>
                  </a:cubicBezTo>
                  <a:cubicBezTo>
                    <a:pt x="1801225" y="333803"/>
                    <a:pt x="1819456" y="319630"/>
                    <a:pt x="1819456" y="319630"/>
                  </a:cubicBezTo>
                  <a:cubicBezTo>
                    <a:pt x="1823568" y="306408"/>
                    <a:pt x="1830749" y="278896"/>
                    <a:pt x="1842780" y="274592"/>
                  </a:cubicBezTo>
                  <a:lnTo>
                    <a:pt x="1870769" y="264586"/>
                  </a:lnTo>
                  <a:cubicBezTo>
                    <a:pt x="1883413" y="255560"/>
                    <a:pt x="1888630" y="250919"/>
                    <a:pt x="1903485" y="244569"/>
                  </a:cubicBezTo>
                  <a:cubicBezTo>
                    <a:pt x="1912569" y="240654"/>
                    <a:pt x="1931474" y="234563"/>
                    <a:pt x="1931474" y="234563"/>
                  </a:cubicBezTo>
                  <a:cubicBezTo>
                    <a:pt x="1936139" y="229553"/>
                    <a:pt x="1941602" y="225310"/>
                    <a:pt x="1945469" y="219548"/>
                  </a:cubicBezTo>
                  <a:cubicBezTo>
                    <a:pt x="1949520" y="213478"/>
                    <a:pt x="1960998" y="196198"/>
                    <a:pt x="1954798" y="199531"/>
                  </a:cubicBezTo>
                  <a:cubicBezTo>
                    <a:pt x="1943013" y="205861"/>
                    <a:pt x="1939331" y="225078"/>
                    <a:pt x="1926809" y="229553"/>
                  </a:cubicBezTo>
                  <a:cubicBezTo>
                    <a:pt x="1922145" y="231223"/>
                    <a:pt x="1917541" y="233174"/>
                    <a:pt x="1912815" y="234563"/>
                  </a:cubicBezTo>
                  <a:cubicBezTo>
                    <a:pt x="1900416" y="238184"/>
                    <a:pt x="1875434" y="244569"/>
                    <a:pt x="1875434" y="244569"/>
                  </a:cubicBezTo>
                  <a:cubicBezTo>
                    <a:pt x="1834984" y="242899"/>
                    <a:pt x="1794412" y="243618"/>
                    <a:pt x="1754086" y="239566"/>
                  </a:cubicBezTo>
                  <a:cubicBezTo>
                    <a:pt x="1744326" y="238580"/>
                    <a:pt x="1735672" y="232113"/>
                    <a:pt x="1726096" y="229553"/>
                  </a:cubicBezTo>
                  <a:lnTo>
                    <a:pt x="1707437" y="224551"/>
                  </a:lnTo>
                  <a:cubicBezTo>
                    <a:pt x="1708971" y="219548"/>
                    <a:pt x="1708603" y="213273"/>
                    <a:pt x="1712101" y="209543"/>
                  </a:cubicBezTo>
                  <a:cubicBezTo>
                    <a:pt x="1728122" y="192331"/>
                    <a:pt x="1736470" y="190812"/>
                    <a:pt x="1754086" y="184522"/>
                  </a:cubicBezTo>
                  <a:cubicBezTo>
                    <a:pt x="1758751" y="181183"/>
                    <a:pt x="1762985" y="176953"/>
                    <a:pt x="1768080" y="174510"/>
                  </a:cubicBezTo>
                  <a:cubicBezTo>
                    <a:pt x="1814054" y="152617"/>
                    <a:pt x="1852785" y="161972"/>
                    <a:pt x="1908150" y="159502"/>
                  </a:cubicBezTo>
                  <a:cubicBezTo>
                    <a:pt x="1914103" y="157894"/>
                    <a:pt x="1934113" y="153083"/>
                    <a:pt x="1940804" y="149496"/>
                  </a:cubicBezTo>
                  <a:cubicBezTo>
                    <a:pt x="1945837" y="146800"/>
                    <a:pt x="1950134" y="142824"/>
                    <a:pt x="1954798" y="139484"/>
                  </a:cubicBezTo>
                  <a:cubicBezTo>
                    <a:pt x="1957929" y="134482"/>
                    <a:pt x="1966645" y="129855"/>
                    <a:pt x="1964128" y="124476"/>
                  </a:cubicBezTo>
                  <a:cubicBezTo>
                    <a:pt x="1961919" y="119754"/>
                    <a:pt x="1954553" y="127118"/>
                    <a:pt x="1950134" y="129479"/>
                  </a:cubicBezTo>
                  <a:cubicBezTo>
                    <a:pt x="1945101" y="132168"/>
                    <a:pt x="1941234" y="137041"/>
                    <a:pt x="1936139" y="139484"/>
                  </a:cubicBezTo>
                  <a:cubicBezTo>
                    <a:pt x="1927116" y="143768"/>
                    <a:pt x="1917480" y="146157"/>
                    <a:pt x="1908150" y="149496"/>
                  </a:cubicBezTo>
                  <a:cubicBezTo>
                    <a:pt x="1903485" y="151160"/>
                    <a:pt x="1898881" y="153219"/>
                    <a:pt x="1894155" y="154499"/>
                  </a:cubicBezTo>
                  <a:cubicBezTo>
                    <a:pt x="1887894" y="156162"/>
                    <a:pt x="1881572" y="157524"/>
                    <a:pt x="1875434" y="159502"/>
                  </a:cubicBezTo>
                  <a:cubicBezTo>
                    <a:pt x="1866043" y="162534"/>
                    <a:pt x="1847445" y="169507"/>
                    <a:pt x="1847445" y="169507"/>
                  </a:cubicBezTo>
                  <a:cubicBezTo>
                    <a:pt x="1828785" y="167844"/>
                    <a:pt x="1809941" y="167810"/>
                    <a:pt x="1791466" y="164505"/>
                  </a:cubicBezTo>
                  <a:cubicBezTo>
                    <a:pt x="1791404" y="164505"/>
                    <a:pt x="1756418" y="151995"/>
                    <a:pt x="1749421" y="149496"/>
                  </a:cubicBezTo>
                  <a:cubicBezTo>
                    <a:pt x="1744756" y="147827"/>
                    <a:pt x="1740275" y="145356"/>
                    <a:pt x="1735426" y="144487"/>
                  </a:cubicBezTo>
                  <a:lnTo>
                    <a:pt x="1707437" y="139484"/>
                  </a:lnTo>
                  <a:cubicBezTo>
                    <a:pt x="1674782" y="141154"/>
                    <a:pt x="1641944" y="140880"/>
                    <a:pt x="1609412" y="144487"/>
                  </a:cubicBezTo>
                  <a:cubicBezTo>
                    <a:pt x="1596645" y="145904"/>
                    <a:pt x="1584554" y="151160"/>
                    <a:pt x="1572093" y="154499"/>
                  </a:cubicBezTo>
                  <a:cubicBezTo>
                    <a:pt x="1565832" y="156162"/>
                    <a:pt x="1559694" y="158154"/>
                    <a:pt x="1553433" y="159502"/>
                  </a:cubicBezTo>
                  <a:cubicBezTo>
                    <a:pt x="1545638" y="161172"/>
                    <a:pt x="1537721" y="162267"/>
                    <a:pt x="1530048" y="164505"/>
                  </a:cubicBezTo>
                  <a:cubicBezTo>
                    <a:pt x="1520595" y="167283"/>
                    <a:pt x="1511388" y="171177"/>
                    <a:pt x="1502058" y="174510"/>
                  </a:cubicBezTo>
                  <a:cubicBezTo>
                    <a:pt x="1497393" y="176180"/>
                    <a:pt x="1492851" y="178240"/>
                    <a:pt x="1488063" y="179520"/>
                  </a:cubicBezTo>
                  <a:lnTo>
                    <a:pt x="1469404" y="184522"/>
                  </a:lnTo>
                  <a:cubicBezTo>
                    <a:pt x="1464739" y="187855"/>
                    <a:pt x="1460565" y="192160"/>
                    <a:pt x="1455410" y="194528"/>
                  </a:cubicBezTo>
                  <a:cubicBezTo>
                    <a:pt x="1434417" y="204157"/>
                    <a:pt x="1440924" y="194795"/>
                    <a:pt x="1422694" y="204540"/>
                  </a:cubicBezTo>
                  <a:cubicBezTo>
                    <a:pt x="1417722" y="207230"/>
                    <a:pt x="1413855" y="212102"/>
                    <a:pt x="1408699" y="214545"/>
                  </a:cubicBezTo>
                  <a:cubicBezTo>
                    <a:pt x="1399738" y="218830"/>
                    <a:pt x="1390039" y="221218"/>
                    <a:pt x="1380710" y="224551"/>
                  </a:cubicBezTo>
                  <a:cubicBezTo>
                    <a:pt x="1376045" y="226221"/>
                    <a:pt x="1371503" y="228274"/>
                    <a:pt x="1366715" y="229553"/>
                  </a:cubicBezTo>
                  <a:cubicBezTo>
                    <a:pt x="1360516" y="231223"/>
                    <a:pt x="1354194" y="232586"/>
                    <a:pt x="1348056" y="234563"/>
                  </a:cubicBezTo>
                  <a:cubicBezTo>
                    <a:pt x="1274890" y="258085"/>
                    <a:pt x="1364505" y="232921"/>
                    <a:pt x="1292016" y="249571"/>
                  </a:cubicBezTo>
                  <a:cubicBezTo>
                    <a:pt x="1262921" y="256251"/>
                    <a:pt x="1251136" y="262944"/>
                    <a:pt x="1222042" y="264586"/>
                  </a:cubicBezTo>
                  <a:cubicBezTo>
                    <a:pt x="1203382" y="265633"/>
                    <a:pt x="1184662" y="264586"/>
                    <a:pt x="1166002" y="264586"/>
                  </a:cubicBezTo>
                </a:path>
              </a:pathLst>
            </a:custGeom>
            <a:noFill/>
            <a:ln w="16339" cap="flat">
              <a:solidFill>
                <a:srgbClr val="00B050">
                  <a:alpha val="50000"/>
                </a:srgb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-407304" y="5564309"/>
            <a:ext cx="13006608" cy="1688546"/>
            <a:chOff x="352425" y="5600486"/>
            <a:chExt cx="11487150" cy="1123951"/>
          </a:xfrm>
        </p:grpSpPr>
        <p:sp>
          <p:nvSpPr>
            <p:cNvPr id="85" name="椭圆 84"/>
            <p:cNvSpPr/>
            <p:nvPr/>
          </p:nvSpPr>
          <p:spPr>
            <a:xfrm>
              <a:off x="3228869" y="5839579"/>
              <a:ext cx="5550645" cy="345138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86" name="椭圆 85"/>
            <p:cNvSpPr/>
            <p:nvPr/>
          </p:nvSpPr>
          <p:spPr>
            <a:xfrm>
              <a:off x="2247900" y="5691707"/>
              <a:ext cx="7696200" cy="674119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87" name="椭圆 86"/>
            <p:cNvSpPr/>
            <p:nvPr/>
          </p:nvSpPr>
          <p:spPr>
            <a:xfrm>
              <a:off x="1476376" y="5632401"/>
              <a:ext cx="9239250" cy="895350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  <p:sp>
          <p:nvSpPr>
            <p:cNvPr id="88" name="椭圆 87"/>
            <p:cNvSpPr/>
            <p:nvPr/>
          </p:nvSpPr>
          <p:spPr>
            <a:xfrm>
              <a:off x="352425" y="5600486"/>
              <a:ext cx="11487150" cy="1123951"/>
            </a:xfrm>
            <a:prstGeom prst="ellipse">
              <a:avLst/>
            </a:pr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思源黑体 CN Regular" panose="020B0500000000000000" charset="-122"/>
              </a:endParaRPr>
            </a:p>
          </p:txBody>
        </p:sp>
      </p:grpSp>
      <p:cxnSp>
        <p:nvCxnSpPr>
          <p:cNvPr id="89" name="直接连接符 88"/>
          <p:cNvCxnSpPr/>
          <p:nvPr/>
        </p:nvCxnSpPr>
        <p:spPr>
          <a:xfrm>
            <a:off x="1267023" y="5302421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/>
        </p:nvCxnSpPr>
        <p:spPr>
          <a:xfrm>
            <a:off x="11151200" y="5156948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/>
          <p:cNvCxnSpPr/>
          <p:nvPr/>
        </p:nvCxnSpPr>
        <p:spPr>
          <a:xfrm>
            <a:off x="11567661" y="2153617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91"/>
          <p:cNvCxnSpPr/>
          <p:nvPr/>
        </p:nvCxnSpPr>
        <p:spPr>
          <a:xfrm>
            <a:off x="10610720" y="6113389"/>
            <a:ext cx="0" cy="504446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6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/>
          <p:cNvCxnSpPr/>
          <p:nvPr/>
        </p:nvCxnSpPr>
        <p:spPr>
          <a:xfrm>
            <a:off x="3149966" y="6160293"/>
            <a:ext cx="0" cy="392456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接连接符 93"/>
          <p:cNvCxnSpPr/>
          <p:nvPr/>
        </p:nvCxnSpPr>
        <p:spPr>
          <a:xfrm>
            <a:off x="459831" y="4024458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94"/>
          <p:cNvCxnSpPr/>
          <p:nvPr/>
        </p:nvCxnSpPr>
        <p:spPr>
          <a:xfrm>
            <a:off x="11710984" y="4045479"/>
            <a:ext cx="0" cy="924859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/>
          <p:cNvCxnSpPr/>
          <p:nvPr/>
        </p:nvCxnSpPr>
        <p:spPr>
          <a:xfrm>
            <a:off x="9405509" y="6057900"/>
            <a:ext cx="0" cy="392456"/>
          </a:xfrm>
          <a:prstGeom prst="line">
            <a:avLst/>
          </a:prstGeom>
          <a:ln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图片 37"/>
          <p:cNvPicPr/>
          <p:nvPr/>
        </p:nvPicPr>
        <p:blipFill rotWithShape="1">
          <a:blip r:embed="rId3" cstate="screen"/>
          <a:srcRect/>
          <a:stretch>
            <a:fillRect/>
          </a:stretch>
        </p:blipFill>
        <p:spPr>
          <a:xfrm>
            <a:off x="4435667" y="1776186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  <p:sp>
        <p:nvSpPr>
          <p:cNvPr id="25" name="文本框 24"/>
          <p:cNvSpPr txBox="1"/>
          <p:nvPr/>
        </p:nvSpPr>
        <p:spPr>
          <a:xfrm>
            <a:off x="2845869" y="5380322"/>
            <a:ext cx="6500262" cy="87661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>
            <a:defPPr>
              <a:defRPr lang="zh-CN"/>
            </a:defPPr>
            <a:lvl1pPr algn="ctr"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chemeClr val="accent1"/>
                </a:solidFill>
              </a:rPr>
              <a:t>对图像进行</a:t>
            </a:r>
            <a:r>
              <a:rPr lang="zh-CN" altLang="en-US" sz="2400" dirty="0">
                <a:solidFill>
                  <a:schemeClr val="accent2"/>
                </a:solidFill>
              </a:rPr>
              <a:t>像素级别</a:t>
            </a:r>
            <a:r>
              <a:rPr lang="zh-CN" altLang="en-US" sz="2400" dirty="0">
                <a:solidFill>
                  <a:schemeClr val="accent1"/>
                </a:solidFill>
              </a:rPr>
              <a:t>的分类</a:t>
            </a:r>
            <a:br>
              <a:rPr lang="en-US" altLang="zh-CN" sz="2400" dirty="0">
                <a:solidFill>
                  <a:schemeClr val="accent1"/>
                </a:solidFill>
              </a:rPr>
            </a:br>
            <a:r>
              <a:rPr lang="zh-CN" altLang="en-US" sz="2400" dirty="0">
                <a:solidFill>
                  <a:schemeClr val="accent1"/>
                </a:solidFill>
              </a:rPr>
              <a:t>可输出缺陷的面积等</a:t>
            </a:r>
          </a:p>
        </p:txBody>
      </p:sp>
      <p:sp>
        <p:nvSpPr>
          <p:cNvPr id="102" name="矩形 101"/>
          <p:cNvSpPr/>
          <p:nvPr/>
        </p:nvSpPr>
        <p:spPr>
          <a:xfrm>
            <a:off x="829335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矩形 102"/>
          <p:cNvSpPr/>
          <p:nvPr/>
        </p:nvSpPr>
        <p:spPr>
          <a:xfrm>
            <a:off x="4437134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矩形 103"/>
          <p:cNvSpPr/>
          <p:nvPr/>
        </p:nvSpPr>
        <p:spPr>
          <a:xfrm>
            <a:off x="8054054" y="3975296"/>
            <a:ext cx="3319200" cy="36000"/>
          </a:xfrm>
          <a:prstGeom prst="rect">
            <a:avLst/>
          </a:prstGeom>
          <a:solidFill>
            <a:srgbClr val="708B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4" name="图片 43">
            <a:extLst>
              <a:ext uri="{FF2B5EF4-FFF2-40B4-BE49-F238E27FC236}">
                <a16:creationId xmlns:a16="http://schemas.microsoft.com/office/drawing/2014/main" id="{976558C8-6287-42AD-A532-69C9D237ED5F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941" y="1761872"/>
            <a:ext cx="3320667" cy="2213424"/>
          </a:xfrm>
          <a:prstGeom prst="round2SameRect">
            <a:avLst>
              <a:gd name="adj1" fmla="val 5909"/>
              <a:gd name="adj2" fmla="val 0"/>
            </a:avLst>
          </a:prstGeom>
          <a:ln w="6350">
            <a:solidFill>
              <a:schemeClr val="accent1"/>
            </a:solidFill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矩形: 圆角 43"/>
          <p:cNvSpPr/>
          <p:nvPr/>
        </p:nvSpPr>
        <p:spPr>
          <a:xfrm>
            <a:off x="6722270" y="3111782"/>
            <a:ext cx="5138262" cy="3004450"/>
          </a:xfrm>
          <a:prstGeom prst="roundRect">
            <a:avLst>
              <a:gd name="adj" fmla="val 3000"/>
            </a:avLst>
          </a:prstGeom>
          <a:solidFill>
            <a:schemeClr val="accent2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36" name="椭圆 35"/>
          <p:cNvSpPr/>
          <p:nvPr/>
        </p:nvSpPr>
        <p:spPr>
          <a:xfrm flipH="1" flipV="1">
            <a:off x="10148566" y="4145424"/>
            <a:ext cx="1439738" cy="197024"/>
          </a:xfrm>
          <a:prstGeom prst="ellipse">
            <a:avLst/>
          </a:prstGeom>
          <a:noFill/>
          <a:ln w="6350">
            <a:gradFill>
              <a:gsLst>
                <a:gs pos="39000">
                  <a:schemeClr val="accent1">
                    <a:lumMod val="5000"/>
                    <a:lumOff val="95000"/>
                    <a:alpha val="0"/>
                  </a:schemeClr>
                </a:gs>
                <a:gs pos="49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9953554" y="4106061"/>
            <a:ext cx="560667" cy="236387"/>
          </a:xfrm>
          <a:prstGeom prst="rect">
            <a:avLst/>
          </a:prstGeom>
          <a:solidFill>
            <a:srgbClr val="F8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5" name="图形 477"/>
          <p:cNvGrpSpPr/>
          <p:nvPr/>
        </p:nvGrpSpPr>
        <p:grpSpPr>
          <a:xfrm flipH="1">
            <a:off x="2809875" y="-895448"/>
            <a:ext cx="6572250" cy="6166098"/>
            <a:chOff x="3132380" y="-3676530"/>
            <a:chExt cx="5322866" cy="4993924"/>
          </a:xfrm>
          <a:gradFill flip="none" rotWithShape="1">
            <a:gsLst>
              <a:gs pos="72000">
                <a:schemeClr val="accent1">
                  <a:alpha val="0"/>
                </a:schemeClr>
              </a:gs>
              <a:gs pos="15000">
                <a:schemeClr val="accent1">
                  <a:alpha val="0"/>
                </a:schemeClr>
              </a:gs>
              <a:gs pos="39000">
                <a:schemeClr val="accent1">
                  <a:alpha val="15000"/>
                </a:schemeClr>
              </a:gs>
            </a:gsLst>
            <a:path path="shape">
              <a:fillToRect l="50000" t="50000" r="50000" b="50000"/>
            </a:path>
            <a:tileRect/>
          </a:gradFill>
        </p:grpSpPr>
        <p:sp>
          <p:nvSpPr>
            <p:cNvPr id="46" name="任意多边形: 形状 45"/>
            <p:cNvSpPr/>
            <p:nvPr/>
          </p:nvSpPr>
          <p:spPr>
            <a:xfrm>
              <a:off x="3132380" y="-1124695"/>
              <a:ext cx="2960470" cy="672834"/>
            </a:xfrm>
            <a:custGeom>
              <a:avLst/>
              <a:gdLst>
                <a:gd name="connsiteX0" fmla="*/ 2945070 w 2960470"/>
                <a:gd name="connsiteY0" fmla="*/ 632763 h 672834"/>
                <a:gd name="connsiteX1" fmla="*/ 2919054 w 2960470"/>
                <a:gd name="connsiteY1" fmla="*/ 654892 h 672834"/>
                <a:gd name="connsiteX2" fmla="*/ 2872553 w 2960470"/>
                <a:gd name="connsiteY2" fmla="*/ 654892 h 672834"/>
                <a:gd name="connsiteX3" fmla="*/ 2818129 w 2960470"/>
                <a:gd name="connsiteY3" fmla="*/ 600467 h 672834"/>
                <a:gd name="connsiteX4" fmla="*/ 2657247 w 2960470"/>
                <a:gd name="connsiteY4" fmla="*/ 600467 h 672834"/>
                <a:gd name="connsiteX5" fmla="*/ 2564545 w 2960470"/>
                <a:gd name="connsiteY5" fmla="*/ 507766 h 672834"/>
                <a:gd name="connsiteX6" fmla="*/ 2510120 w 2960470"/>
                <a:gd name="connsiteY6" fmla="*/ 507766 h 672834"/>
                <a:gd name="connsiteX7" fmla="*/ 2379142 w 2960470"/>
                <a:gd name="connsiteY7" fmla="*/ 376787 h 672834"/>
                <a:gd name="connsiteX8" fmla="*/ 2379142 w 2960470"/>
                <a:gd name="connsiteY8" fmla="*/ 334623 h 672834"/>
                <a:gd name="connsiteX9" fmla="*/ 2326063 w 2960470"/>
                <a:gd name="connsiteY9" fmla="*/ 281544 h 672834"/>
                <a:gd name="connsiteX10" fmla="*/ 2078310 w 2960470"/>
                <a:gd name="connsiteY10" fmla="*/ 281544 h 672834"/>
                <a:gd name="connsiteX11" fmla="*/ 1992337 w 2960470"/>
                <a:gd name="connsiteY11" fmla="*/ 195570 h 672834"/>
                <a:gd name="connsiteX12" fmla="*/ 1940005 w 2960470"/>
                <a:gd name="connsiteY12" fmla="*/ 195570 h 672834"/>
                <a:gd name="connsiteX13" fmla="*/ 1846556 w 2960470"/>
                <a:gd name="connsiteY13" fmla="*/ 102121 h 672834"/>
                <a:gd name="connsiteX14" fmla="*/ 1846556 w 2960470"/>
                <a:gd name="connsiteY14" fmla="*/ 37380 h 672834"/>
                <a:gd name="connsiteX15" fmla="*/ 1809176 w 2960470"/>
                <a:gd name="connsiteY15" fmla="*/ 0 h 672834"/>
                <a:gd name="connsiteX16" fmla="*/ 825792 w 2960470"/>
                <a:gd name="connsiteY16" fmla="*/ 0 h 672834"/>
                <a:gd name="connsiteX17" fmla="*/ 792001 w 2960470"/>
                <a:gd name="connsiteY17" fmla="*/ 33642 h 672834"/>
                <a:gd name="connsiteX18" fmla="*/ 564134 w 2960470"/>
                <a:gd name="connsiteY18" fmla="*/ 33642 h 672834"/>
                <a:gd name="connsiteX19" fmla="*/ 530492 w 2960470"/>
                <a:gd name="connsiteY19" fmla="*/ 0 h 672834"/>
                <a:gd name="connsiteX20" fmla="*/ 0 w 2960470"/>
                <a:gd name="connsiteY20" fmla="*/ 0 h 672834"/>
                <a:gd name="connsiteX21" fmla="*/ 0 w 2960470"/>
                <a:gd name="connsiteY21" fmla="*/ 7476 h 672834"/>
                <a:gd name="connsiteX22" fmla="*/ 527353 w 2960470"/>
                <a:gd name="connsiteY22" fmla="*/ 7476 h 672834"/>
                <a:gd name="connsiteX23" fmla="*/ 560994 w 2960470"/>
                <a:gd name="connsiteY23" fmla="*/ 41267 h 672834"/>
                <a:gd name="connsiteX24" fmla="*/ 795141 w 2960470"/>
                <a:gd name="connsiteY24" fmla="*/ 41267 h 672834"/>
                <a:gd name="connsiteX25" fmla="*/ 828782 w 2960470"/>
                <a:gd name="connsiteY25" fmla="*/ 7476 h 672834"/>
                <a:gd name="connsiteX26" fmla="*/ 1805887 w 2960470"/>
                <a:gd name="connsiteY26" fmla="*/ 7476 h 672834"/>
                <a:gd name="connsiteX27" fmla="*/ 1838931 w 2960470"/>
                <a:gd name="connsiteY27" fmla="*/ 40520 h 672834"/>
                <a:gd name="connsiteX28" fmla="*/ 1838931 w 2960470"/>
                <a:gd name="connsiteY28" fmla="*/ 105261 h 672834"/>
                <a:gd name="connsiteX29" fmla="*/ 1936716 w 2960470"/>
                <a:gd name="connsiteY29" fmla="*/ 203046 h 672834"/>
                <a:gd name="connsiteX30" fmla="*/ 1989047 w 2960470"/>
                <a:gd name="connsiteY30" fmla="*/ 203046 h 672834"/>
                <a:gd name="connsiteX31" fmla="*/ 2075021 w 2960470"/>
                <a:gd name="connsiteY31" fmla="*/ 289020 h 672834"/>
                <a:gd name="connsiteX32" fmla="*/ 2322773 w 2960470"/>
                <a:gd name="connsiteY32" fmla="*/ 289020 h 672834"/>
                <a:gd name="connsiteX33" fmla="*/ 2371516 w 2960470"/>
                <a:gd name="connsiteY33" fmla="*/ 337763 h 672834"/>
                <a:gd name="connsiteX34" fmla="*/ 2371516 w 2960470"/>
                <a:gd name="connsiteY34" fmla="*/ 379927 h 672834"/>
                <a:gd name="connsiteX35" fmla="*/ 2506831 w 2960470"/>
                <a:gd name="connsiteY35" fmla="*/ 515241 h 672834"/>
                <a:gd name="connsiteX36" fmla="*/ 2561256 w 2960470"/>
                <a:gd name="connsiteY36" fmla="*/ 515241 h 672834"/>
                <a:gd name="connsiteX37" fmla="*/ 2653957 w 2960470"/>
                <a:gd name="connsiteY37" fmla="*/ 607943 h 672834"/>
                <a:gd name="connsiteX38" fmla="*/ 2814839 w 2960470"/>
                <a:gd name="connsiteY38" fmla="*/ 607943 h 672834"/>
                <a:gd name="connsiteX39" fmla="*/ 2869264 w 2960470"/>
                <a:gd name="connsiteY39" fmla="*/ 662368 h 672834"/>
                <a:gd name="connsiteX40" fmla="*/ 2918755 w 2960470"/>
                <a:gd name="connsiteY40" fmla="*/ 662368 h 672834"/>
                <a:gd name="connsiteX41" fmla="*/ 2944771 w 2960470"/>
                <a:gd name="connsiteY41" fmla="*/ 685543 h 672834"/>
                <a:gd name="connsiteX42" fmla="*/ 2971086 w 2960470"/>
                <a:gd name="connsiteY42" fmla="*/ 659228 h 672834"/>
                <a:gd name="connsiteX43" fmla="*/ 2945070 w 2960470"/>
                <a:gd name="connsiteY43" fmla="*/ 632763 h 672834"/>
                <a:gd name="connsiteX44" fmla="*/ 2945070 w 2960470"/>
                <a:gd name="connsiteY44" fmla="*/ 677918 h 672834"/>
                <a:gd name="connsiteX45" fmla="*/ 2926231 w 2960470"/>
                <a:gd name="connsiteY45" fmla="*/ 659078 h 672834"/>
                <a:gd name="connsiteX46" fmla="*/ 2945070 w 2960470"/>
                <a:gd name="connsiteY46" fmla="*/ 640239 h 672834"/>
                <a:gd name="connsiteX47" fmla="*/ 2963909 w 2960470"/>
                <a:gd name="connsiteY47" fmla="*/ 659078 h 672834"/>
                <a:gd name="connsiteX48" fmla="*/ 2945070 w 2960470"/>
                <a:gd name="connsiteY48" fmla="*/ 677918 h 67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60470" h="672834">
                  <a:moveTo>
                    <a:pt x="2945070" y="632763"/>
                  </a:moveTo>
                  <a:cubicBezTo>
                    <a:pt x="2931912" y="632763"/>
                    <a:pt x="2921147" y="642332"/>
                    <a:pt x="2919054" y="654892"/>
                  </a:cubicBezTo>
                  <a:lnTo>
                    <a:pt x="2872553" y="654892"/>
                  </a:lnTo>
                  <a:lnTo>
                    <a:pt x="2818129" y="600467"/>
                  </a:lnTo>
                  <a:lnTo>
                    <a:pt x="2657247" y="600467"/>
                  </a:lnTo>
                  <a:lnTo>
                    <a:pt x="2564545" y="507766"/>
                  </a:lnTo>
                  <a:lnTo>
                    <a:pt x="2510120" y="507766"/>
                  </a:lnTo>
                  <a:lnTo>
                    <a:pt x="2379142" y="376787"/>
                  </a:lnTo>
                  <a:lnTo>
                    <a:pt x="2379142" y="334623"/>
                  </a:lnTo>
                  <a:lnTo>
                    <a:pt x="2326063" y="281544"/>
                  </a:lnTo>
                  <a:lnTo>
                    <a:pt x="2078310" y="281544"/>
                  </a:lnTo>
                  <a:lnTo>
                    <a:pt x="1992337" y="195570"/>
                  </a:lnTo>
                  <a:lnTo>
                    <a:pt x="1940005" y="195570"/>
                  </a:lnTo>
                  <a:lnTo>
                    <a:pt x="1846556" y="102121"/>
                  </a:lnTo>
                  <a:lnTo>
                    <a:pt x="1846556" y="37380"/>
                  </a:lnTo>
                  <a:lnTo>
                    <a:pt x="1809176" y="0"/>
                  </a:lnTo>
                  <a:lnTo>
                    <a:pt x="825792" y="0"/>
                  </a:lnTo>
                  <a:lnTo>
                    <a:pt x="792001" y="33642"/>
                  </a:lnTo>
                  <a:lnTo>
                    <a:pt x="564134" y="33642"/>
                  </a:lnTo>
                  <a:lnTo>
                    <a:pt x="530492" y="0"/>
                  </a:lnTo>
                  <a:lnTo>
                    <a:pt x="0" y="0"/>
                  </a:lnTo>
                  <a:lnTo>
                    <a:pt x="0" y="7476"/>
                  </a:lnTo>
                  <a:lnTo>
                    <a:pt x="527353" y="7476"/>
                  </a:lnTo>
                  <a:lnTo>
                    <a:pt x="560994" y="41267"/>
                  </a:lnTo>
                  <a:lnTo>
                    <a:pt x="795141" y="41267"/>
                  </a:lnTo>
                  <a:lnTo>
                    <a:pt x="828782" y="7476"/>
                  </a:lnTo>
                  <a:lnTo>
                    <a:pt x="1805887" y="7476"/>
                  </a:lnTo>
                  <a:lnTo>
                    <a:pt x="1838931" y="40520"/>
                  </a:lnTo>
                  <a:lnTo>
                    <a:pt x="1838931" y="105261"/>
                  </a:lnTo>
                  <a:lnTo>
                    <a:pt x="1936716" y="203046"/>
                  </a:lnTo>
                  <a:lnTo>
                    <a:pt x="1989047" y="203046"/>
                  </a:lnTo>
                  <a:lnTo>
                    <a:pt x="2075021" y="289020"/>
                  </a:lnTo>
                  <a:lnTo>
                    <a:pt x="2322773" y="289020"/>
                  </a:lnTo>
                  <a:lnTo>
                    <a:pt x="2371516" y="337763"/>
                  </a:lnTo>
                  <a:lnTo>
                    <a:pt x="2371516" y="379927"/>
                  </a:lnTo>
                  <a:lnTo>
                    <a:pt x="2506831" y="515241"/>
                  </a:lnTo>
                  <a:lnTo>
                    <a:pt x="2561256" y="515241"/>
                  </a:lnTo>
                  <a:lnTo>
                    <a:pt x="2653957" y="607943"/>
                  </a:lnTo>
                  <a:lnTo>
                    <a:pt x="2814839" y="607943"/>
                  </a:lnTo>
                  <a:lnTo>
                    <a:pt x="2869264" y="662368"/>
                  </a:lnTo>
                  <a:lnTo>
                    <a:pt x="2918755" y="662368"/>
                  </a:lnTo>
                  <a:cubicBezTo>
                    <a:pt x="2920400" y="675376"/>
                    <a:pt x="2931314" y="685543"/>
                    <a:pt x="2944771" y="685543"/>
                  </a:cubicBezTo>
                  <a:cubicBezTo>
                    <a:pt x="2959274" y="685543"/>
                    <a:pt x="2971086" y="673731"/>
                    <a:pt x="2971086" y="659228"/>
                  </a:cubicBezTo>
                  <a:cubicBezTo>
                    <a:pt x="2971086" y="644725"/>
                    <a:pt x="2959573" y="632763"/>
                    <a:pt x="2945070" y="632763"/>
                  </a:cubicBezTo>
                  <a:close/>
                  <a:moveTo>
                    <a:pt x="2945070" y="677918"/>
                  </a:moveTo>
                  <a:cubicBezTo>
                    <a:pt x="2934604" y="677918"/>
                    <a:pt x="2926231" y="669395"/>
                    <a:pt x="2926231" y="659078"/>
                  </a:cubicBezTo>
                  <a:cubicBezTo>
                    <a:pt x="2926231" y="648762"/>
                    <a:pt x="2934753" y="640239"/>
                    <a:pt x="2945070" y="640239"/>
                  </a:cubicBezTo>
                  <a:cubicBezTo>
                    <a:pt x="2955387" y="640239"/>
                    <a:pt x="2963909" y="648762"/>
                    <a:pt x="2963909" y="659078"/>
                  </a:cubicBezTo>
                  <a:cubicBezTo>
                    <a:pt x="2963909" y="669395"/>
                    <a:pt x="2955536" y="677918"/>
                    <a:pt x="2945070" y="677918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3132380" y="-1097183"/>
              <a:ext cx="2616577" cy="777497"/>
            </a:xfrm>
            <a:custGeom>
              <a:avLst/>
              <a:gdLst>
                <a:gd name="connsiteX0" fmla="*/ 2600729 w 2616577"/>
                <a:gd name="connsiteY0" fmla="*/ 733240 h 777497"/>
                <a:gd name="connsiteX1" fmla="*/ 2585328 w 2616577"/>
                <a:gd name="connsiteY1" fmla="*/ 738323 h 777497"/>
                <a:gd name="connsiteX2" fmla="*/ 2541071 w 2616577"/>
                <a:gd name="connsiteY2" fmla="*/ 694066 h 777497"/>
                <a:gd name="connsiteX3" fmla="*/ 2541071 w 2616577"/>
                <a:gd name="connsiteY3" fmla="*/ 541407 h 777497"/>
                <a:gd name="connsiteX4" fmla="*/ 2293767 w 2616577"/>
                <a:gd name="connsiteY4" fmla="*/ 294103 h 777497"/>
                <a:gd name="connsiteX5" fmla="*/ 2067395 w 2616577"/>
                <a:gd name="connsiteY5" fmla="*/ 294103 h 777497"/>
                <a:gd name="connsiteX6" fmla="*/ 1974096 w 2616577"/>
                <a:gd name="connsiteY6" fmla="*/ 200804 h 777497"/>
                <a:gd name="connsiteX7" fmla="*/ 1910700 w 2616577"/>
                <a:gd name="connsiteY7" fmla="*/ 200804 h 777497"/>
                <a:gd name="connsiteX8" fmla="*/ 1801999 w 2616577"/>
                <a:gd name="connsiteY8" fmla="*/ 92104 h 777497"/>
                <a:gd name="connsiteX9" fmla="*/ 1801999 w 2616577"/>
                <a:gd name="connsiteY9" fmla="*/ 34240 h 777497"/>
                <a:gd name="connsiteX10" fmla="*/ 1771797 w 2616577"/>
                <a:gd name="connsiteY10" fmla="*/ 4037 h 777497"/>
                <a:gd name="connsiteX11" fmla="*/ 1102701 w 2616577"/>
                <a:gd name="connsiteY11" fmla="*/ 4037 h 777497"/>
                <a:gd name="connsiteX12" fmla="*/ 1056798 w 2616577"/>
                <a:gd name="connsiteY12" fmla="*/ 49939 h 777497"/>
                <a:gd name="connsiteX13" fmla="*/ 558004 w 2616577"/>
                <a:gd name="connsiteY13" fmla="*/ 49939 h 777497"/>
                <a:gd name="connsiteX14" fmla="*/ 508065 w 2616577"/>
                <a:gd name="connsiteY14" fmla="*/ 0 h 777497"/>
                <a:gd name="connsiteX15" fmla="*/ 0 w 2616577"/>
                <a:gd name="connsiteY15" fmla="*/ 0 h 777497"/>
                <a:gd name="connsiteX16" fmla="*/ 0 w 2616577"/>
                <a:gd name="connsiteY16" fmla="*/ 7476 h 777497"/>
                <a:gd name="connsiteX17" fmla="*/ 504925 w 2616577"/>
                <a:gd name="connsiteY17" fmla="*/ 7476 h 777497"/>
                <a:gd name="connsiteX18" fmla="*/ 554864 w 2616577"/>
                <a:gd name="connsiteY18" fmla="*/ 57415 h 777497"/>
                <a:gd name="connsiteX19" fmla="*/ 1059938 w 2616577"/>
                <a:gd name="connsiteY19" fmla="*/ 57415 h 777497"/>
                <a:gd name="connsiteX20" fmla="*/ 1105840 w 2616577"/>
                <a:gd name="connsiteY20" fmla="*/ 11513 h 777497"/>
                <a:gd name="connsiteX21" fmla="*/ 1768657 w 2616577"/>
                <a:gd name="connsiteY21" fmla="*/ 11513 h 777497"/>
                <a:gd name="connsiteX22" fmla="*/ 1794374 w 2616577"/>
                <a:gd name="connsiteY22" fmla="*/ 37230 h 777497"/>
                <a:gd name="connsiteX23" fmla="*/ 1794374 w 2616577"/>
                <a:gd name="connsiteY23" fmla="*/ 95094 h 777497"/>
                <a:gd name="connsiteX24" fmla="*/ 1907410 w 2616577"/>
                <a:gd name="connsiteY24" fmla="*/ 208130 h 777497"/>
                <a:gd name="connsiteX25" fmla="*/ 1970806 w 2616577"/>
                <a:gd name="connsiteY25" fmla="*/ 208130 h 777497"/>
                <a:gd name="connsiteX26" fmla="*/ 2064106 w 2616577"/>
                <a:gd name="connsiteY26" fmla="*/ 301430 h 777497"/>
                <a:gd name="connsiteX27" fmla="*/ 2290477 w 2616577"/>
                <a:gd name="connsiteY27" fmla="*/ 301430 h 777497"/>
                <a:gd name="connsiteX28" fmla="*/ 2533295 w 2616577"/>
                <a:gd name="connsiteY28" fmla="*/ 544248 h 777497"/>
                <a:gd name="connsiteX29" fmla="*/ 2533295 w 2616577"/>
                <a:gd name="connsiteY29" fmla="*/ 696907 h 777497"/>
                <a:gd name="connsiteX30" fmla="*/ 2579796 w 2616577"/>
                <a:gd name="connsiteY30" fmla="*/ 743407 h 777497"/>
                <a:gd name="connsiteX31" fmla="*/ 2574264 w 2616577"/>
                <a:gd name="connsiteY31" fmla="*/ 759406 h 777497"/>
                <a:gd name="connsiteX32" fmla="*/ 2600579 w 2616577"/>
                <a:gd name="connsiteY32" fmla="*/ 785721 h 777497"/>
                <a:gd name="connsiteX33" fmla="*/ 2626894 w 2616577"/>
                <a:gd name="connsiteY33" fmla="*/ 759406 h 777497"/>
                <a:gd name="connsiteX34" fmla="*/ 2600729 w 2616577"/>
                <a:gd name="connsiteY34" fmla="*/ 733240 h 777497"/>
                <a:gd name="connsiteX35" fmla="*/ 2600729 w 2616577"/>
                <a:gd name="connsiteY35" fmla="*/ 778394 h 777497"/>
                <a:gd name="connsiteX36" fmla="*/ 2581889 w 2616577"/>
                <a:gd name="connsiteY36" fmla="*/ 759555 h 777497"/>
                <a:gd name="connsiteX37" fmla="*/ 2600729 w 2616577"/>
                <a:gd name="connsiteY37" fmla="*/ 740716 h 777497"/>
                <a:gd name="connsiteX38" fmla="*/ 2619568 w 2616577"/>
                <a:gd name="connsiteY38" fmla="*/ 759555 h 777497"/>
                <a:gd name="connsiteX39" fmla="*/ 2600729 w 2616577"/>
                <a:gd name="connsiteY39" fmla="*/ 778394 h 77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16577" h="777497">
                  <a:moveTo>
                    <a:pt x="2600729" y="733240"/>
                  </a:moveTo>
                  <a:cubicBezTo>
                    <a:pt x="2594897" y="733240"/>
                    <a:pt x="2589664" y="735183"/>
                    <a:pt x="2585328" y="738323"/>
                  </a:cubicBezTo>
                  <a:lnTo>
                    <a:pt x="2541071" y="694066"/>
                  </a:lnTo>
                  <a:lnTo>
                    <a:pt x="2541071" y="541407"/>
                  </a:lnTo>
                  <a:lnTo>
                    <a:pt x="2293767" y="294103"/>
                  </a:lnTo>
                  <a:lnTo>
                    <a:pt x="2067395" y="294103"/>
                  </a:lnTo>
                  <a:lnTo>
                    <a:pt x="1974096" y="200804"/>
                  </a:lnTo>
                  <a:lnTo>
                    <a:pt x="1910700" y="200804"/>
                  </a:lnTo>
                  <a:lnTo>
                    <a:pt x="1801999" y="92104"/>
                  </a:lnTo>
                  <a:lnTo>
                    <a:pt x="1801999" y="34240"/>
                  </a:lnTo>
                  <a:lnTo>
                    <a:pt x="1771797" y="4037"/>
                  </a:lnTo>
                  <a:lnTo>
                    <a:pt x="1102701" y="4037"/>
                  </a:lnTo>
                  <a:lnTo>
                    <a:pt x="1056798" y="49939"/>
                  </a:lnTo>
                  <a:lnTo>
                    <a:pt x="558004" y="49939"/>
                  </a:lnTo>
                  <a:lnTo>
                    <a:pt x="508065" y="0"/>
                  </a:lnTo>
                  <a:lnTo>
                    <a:pt x="0" y="0"/>
                  </a:lnTo>
                  <a:lnTo>
                    <a:pt x="0" y="7476"/>
                  </a:lnTo>
                  <a:lnTo>
                    <a:pt x="504925" y="7476"/>
                  </a:lnTo>
                  <a:lnTo>
                    <a:pt x="554864" y="57415"/>
                  </a:lnTo>
                  <a:lnTo>
                    <a:pt x="1059938" y="57415"/>
                  </a:lnTo>
                  <a:lnTo>
                    <a:pt x="1105840" y="11513"/>
                  </a:lnTo>
                  <a:lnTo>
                    <a:pt x="1768657" y="11513"/>
                  </a:lnTo>
                  <a:lnTo>
                    <a:pt x="1794374" y="37230"/>
                  </a:lnTo>
                  <a:lnTo>
                    <a:pt x="1794374" y="95094"/>
                  </a:lnTo>
                  <a:lnTo>
                    <a:pt x="1907410" y="208130"/>
                  </a:lnTo>
                  <a:lnTo>
                    <a:pt x="1970806" y="208130"/>
                  </a:lnTo>
                  <a:lnTo>
                    <a:pt x="2064106" y="301430"/>
                  </a:lnTo>
                  <a:lnTo>
                    <a:pt x="2290477" y="301430"/>
                  </a:lnTo>
                  <a:lnTo>
                    <a:pt x="2533295" y="544248"/>
                  </a:lnTo>
                  <a:lnTo>
                    <a:pt x="2533295" y="696907"/>
                  </a:lnTo>
                  <a:lnTo>
                    <a:pt x="2579796" y="743407"/>
                  </a:lnTo>
                  <a:cubicBezTo>
                    <a:pt x="2576357" y="747893"/>
                    <a:pt x="2574264" y="753425"/>
                    <a:pt x="2574264" y="759406"/>
                  </a:cubicBezTo>
                  <a:cubicBezTo>
                    <a:pt x="2574264" y="773909"/>
                    <a:pt x="2586076" y="785721"/>
                    <a:pt x="2600579" y="785721"/>
                  </a:cubicBezTo>
                  <a:cubicBezTo>
                    <a:pt x="2615082" y="785721"/>
                    <a:pt x="2626894" y="773909"/>
                    <a:pt x="2626894" y="759406"/>
                  </a:cubicBezTo>
                  <a:cubicBezTo>
                    <a:pt x="2626894" y="744902"/>
                    <a:pt x="2615232" y="733240"/>
                    <a:pt x="2600729" y="733240"/>
                  </a:cubicBezTo>
                  <a:close/>
                  <a:moveTo>
                    <a:pt x="2600729" y="778394"/>
                  </a:moveTo>
                  <a:cubicBezTo>
                    <a:pt x="2590262" y="778394"/>
                    <a:pt x="2581889" y="769872"/>
                    <a:pt x="2581889" y="759555"/>
                  </a:cubicBezTo>
                  <a:cubicBezTo>
                    <a:pt x="2581889" y="749238"/>
                    <a:pt x="2590412" y="740716"/>
                    <a:pt x="2600729" y="740716"/>
                  </a:cubicBezTo>
                  <a:cubicBezTo>
                    <a:pt x="2611045" y="740716"/>
                    <a:pt x="2619568" y="749238"/>
                    <a:pt x="2619568" y="759555"/>
                  </a:cubicBezTo>
                  <a:cubicBezTo>
                    <a:pt x="2619568" y="769872"/>
                    <a:pt x="2611045" y="778394"/>
                    <a:pt x="2600729" y="778394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3132380" y="-1067878"/>
              <a:ext cx="2422203" cy="732642"/>
            </a:xfrm>
            <a:custGeom>
              <a:avLst/>
              <a:gdLst>
                <a:gd name="connsiteX0" fmla="*/ 2009233 w 2422203"/>
                <a:gd name="connsiteY0" fmla="*/ 305018 h 732641"/>
                <a:gd name="connsiteX1" fmla="*/ 1704214 w 2422203"/>
                <a:gd name="connsiteY1" fmla="*/ 0 h 732641"/>
                <a:gd name="connsiteX2" fmla="*/ 1126175 w 2422203"/>
                <a:gd name="connsiteY2" fmla="*/ 0 h 732641"/>
                <a:gd name="connsiteX3" fmla="*/ 1069358 w 2422203"/>
                <a:gd name="connsiteY3" fmla="*/ 56817 h 732641"/>
                <a:gd name="connsiteX4" fmla="*/ 536772 w 2422203"/>
                <a:gd name="connsiteY4" fmla="*/ 56817 h 732641"/>
                <a:gd name="connsiteX5" fmla="*/ 480553 w 2422203"/>
                <a:gd name="connsiteY5" fmla="*/ 598 h 732641"/>
                <a:gd name="connsiteX6" fmla="*/ 0 w 2422203"/>
                <a:gd name="connsiteY6" fmla="*/ 598 h 732641"/>
                <a:gd name="connsiteX7" fmla="*/ 0 w 2422203"/>
                <a:gd name="connsiteY7" fmla="*/ 8074 h 732641"/>
                <a:gd name="connsiteX8" fmla="*/ 477413 w 2422203"/>
                <a:gd name="connsiteY8" fmla="*/ 8074 h 732641"/>
                <a:gd name="connsiteX9" fmla="*/ 533632 w 2422203"/>
                <a:gd name="connsiteY9" fmla="*/ 64293 h 732641"/>
                <a:gd name="connsiteX10" fmla="*/ 1072498 w 2422203"/>
                <a:gd name="connsiteY10" fmla="*/ 64293 h 732641"/>
                <a:gd name="connsiteX11" fmla="*/ 1129315 w 2422203"/>
                <a:gd name="connsiteY11" fmla="*/ 7476 h 732641"/>
                <a:gd name="connsiteX12" fmla="*/ 1701224 w 2422203"/>
                <a:gd name="connsiteY12" fmla="*/ 7476 h 732641"/>
                <a:gd name="connsiteX13" fmla="*/ 2006242 w 2422203"/>
                <a:gd name="connsiteY13" fmla="*/ 312494 h 732641"/>
                <a:gd name="connsiteX14" fmla="*/ 2265657 w 2422203"/>
                <a:gd name="connsiteY14" fmla="*/ 312494 h 732641"/>
                <a:gd name="connsiteX15" fmla="*/ 2427137 w 2422203"/>
                <a:gd name="connsiteY15" fmla="*/ 473974 h 732641"/>
                <a:gd name="connsiteX16" fmla="*/ 2427137 w 2422203"/>
                <a:gd name="connsiteY16" fmla="*/ 600168 h 732641"/>
                <a:gd name="connsiteX17" fmla="*/ 2310363 w 2422203"/>
                <a:gd name="connsiteY17" fmla="*/ 716942 h 732641"/>
                <a:gd name="connsiteX18" fmla="*/ 2267451 w 2422203"/>
                <a:gd name="connsiteY18" fmla="*/ 716942 h 732641"/>
                <a:gd name="connsiteX19" fmla="*/ 2241435 w 2422203"/>
                <a:gd name="connsiteY19" fmla="*/ 694365 h 732641"/>
                <a:gd name="connsiteX20" fmla="*/ 2215120 w 2422203"/>
                <a:gd name="connsiteY20" fmla="*/ 720680 h 732641"/>
                <a:gd name="connsiteX21" fmla="*/ 2241435 w 2422203"/>
                <a:gd name="connsiteY21" fmla="*/ 746995 h 732641"/>
                <a:gd name="connsiteX22" fmla="*/ 2267451 w 2422203"/>
                <a:gd name="connsiteY22" fmla="*/ 724418 h 732641"/>
                <a:gd name="connsiteX23" fmla="*/ 2313503 w 2422203"/>
                <a:gd name="connsiteY23" fmla="*/ 724418 h 732641"/>
                <a:gd name="connsiteX24" fmla="*/ 2434763 w 2422203"/>
                <a:gd name="connsiteY24" fmla="*/ 603158 h 732641"/>
                <a:gd name="connsiteX25" fmla="*/ 2434763 w 2422203"/>
                <a:gd name="connsiteY25" fmla="*/ 470834 h 732641"/>
                <a:gd name="connsiteX26" fmla="*/ 2268797 w 2422203"/>
                <a:gd name="connsiteY26" fmla="*/ 304869 h 732641"/>
                <a:gd name="connsiteX27" fmla="*/ 2009233 w 2422203"/>
                <a:gd name="connsiteY27" fmla="*/ 304869 h 732641"/>
                <a:gd name="connsiteX28" fmla="*/ 2241435 w 2422203"/>
                <a:gd name="connsiteY28" fmla="*/ 739669 h 732641"/>
                <a:gd name="connsiteX29" fmla="*/ 2222596 w 2422203"/>
                <a:gd name="connsiteY29" fmla="*/ 720829 h 732641"/>
                <a:gd name="connsiteX30" fmla="*/ 2241435 w 2422203"/>
                <a:gd name="connsiteY30" fmla="*/ 701990 h 732641"/>
                <a:gd name="connsiteX31" fmla="*/ 2260274 w 2422203"/>
                <a:gd name="connsiteY31" fmla="*/ 720829 h 732641"/>
                <a:gd name="connsiteX32" fmla="*/ 2241435 w 2422203"/>
                <a:gd name="connsiteY32" fmla="*/ 739669 h 73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422203" h="732641">
                  <a:moveTo>
                    <a:pt x="2009233" y="305018"/>
                  </a:moveTo>
                  <a:lnTo>
                    <a:pt x="1704214" y="0"/>
                  </a:lnTo>
                  <a:lnTo>
                    <a:pt x="1126175" y="0"/>
                  </a:lnTo>
                  <a:lnTo>
                    <a:pt x="1069358" y="56817"/>
                  </a:lnTo>
                  <a:lnTo>
                    <a:pt x="536772" y="56817"/>
                  </a:lnTo>
                  <a:lnTo>
                    <a:pt x="480553" y="598"/>
                  </a:lnTo>
                  <a:lnTo>
                    <a:pt x="0" y="598"/>
                  </a:lnTo>
                  <a:lnTo>
                    <a:pt x="0" y="8074"/>
                  </a:lnTo>
                  <a:lnTo>
                    <a:pt x="477413" y="8074"/>
                  </a:lnTo>
                  <a:lnTo>
                    <a:pt x="533632" y="64293"/>
                  </a:lnTo>
                  <a:lnTo>
                    <a:pt x="1072498" y="64293"/>
                  </a:lnTo>
                  <a:lnTo>
                    <a:pt x="1129315" y="7476"/>
                  </a:lnTo>
                  <a:lnTo>
                    <a:pt x="1701224" y="7476"/>
                  </a:lnTo>
                  <a:lnTo>
                    <a:pt x="2006242" y="312494"/>
                  </a:lnTo>
                  <a:lnTo>
                    <a:pt x="2265657" y="312494"/>
                  </a:lnTo>
                  <a:lnTo>
                    <a:pt x="2427137" y="473974"/>
                  </a:lnTo>
                  <a:lnTo>
                    <a:pt x="2427137" y="600168"/>
                  </a:lnTo>
                  <a:lnTo>
                    <a:pt x="2310363" y="716942"/>
                  </a:lnTo>
                  <a:lnTo>
                    <a:pt x="2267451" y="716942"/>
                  </a:lnTo>
                  <a:cubicBezTo>
                    <a:pt x="2265657" y="704233"/>
                    <a:pt x="2254742" y="694365"/>
                    <a:pt x="2241435" y="694365"/>
                  </a:cubicBezTo>
                  <a:cubicBezTo>
                    <a:pt x="2226932" y="694365"/>
                    <a:pt x="2215120" y="706177"/>
                    <a:pt x="2215120" y="720680"/>
                  </a:cubicBezTo>
                  <a:cubicBezTo>
                    <a:pt x="2215120" y="735183"/>
                    <a:pt x="2226932" y="746995"/>
                    <a:pt x="2241435" y="746995"/>
                  </a:cubicBezTo>
                  <a:cubicBezTo>
                    <a:pt x="2254742" y="746995"/>
                    <a:pt x="2265657" y="737127"/>
                    <a:pt x="2267451" y="724418"/>
                  </a:cubicBezTo>
                  <a:lnTo>
                    <a:pt x="2313503" y="724418"/>
                  </a:lnTo>
                  <a:lnTo>
                    <a:pt x="2434763" y="603158"/>
                  </a:lnTo>
                  <a:lnTo>
                    <a:pt x="2434763" y="470834"/>
                  </a:lnTo>
                  <a:lnTo>
                    <a:pt x="2268797" y="304869"/>
                  </a:lnTo>
                  <a:lnTo>
                    <a:pt x="2009233" y="304869"/>
                  </a:lnTo>
                  <a:close/>
                  <a:moveTo>
                    <a:pt x="2241435" y="739669"/>
                  </a:moveTo>
                  <a:cubicBezTo>
                    <a:pt x="2230969" y="739669"/>
                    <a:pt x="2222596" y="731146"/>
                    <a:pt x="2222596" y="720829"/>
                  </a:cubicBezTo>
                  <a:cubicBezTo>
                    <a:pt x="2222596" y="710513"/>
                    <a:pt x="2231118" y="701990"/>
                    <a:pt x="2241435" y="701990"/>
                  </a:cubicBezTo>
                  <a:cubicBezTo>
                    <a:pt x="2251752" y="701990"/>
                    <a:pt x="2260274" y="710513"/>
                    <a:pt x="2260274" y="720829"/>
                  </a:cubicBezTo>
                  <a:cubicBezTo>
                    <a:pt x="2260274" y="731146"/>
                    <a:pt x="2251901" y="739669"/>
                    <a:pt x="2241435" y="739669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49" name="任意多边形: 形状 48"/>
            <p:cNvSpPr/>
            <p:nvPr/>
          </p:nvSpPr>
          <p:spPr>
            <a:xfrm>
              <a:off x="3132380" y="-1410873"/>
              <a:ext cx="2631529" cy="209326"/>
            </a:xfrm>
            <a:custGeom>
              <a:avLst/>
              <a:gdLst>
                <a:gd name="connsiteX0" fmla="*/ 144585 w 2631529"/>
                <a:gd name="connsiteY0" fmla="*/ 177479 h 209326"/>
                <a:gd name="connsiteX1" fmla="*/ 572358 w 2631529"/>
                <a:gd name="connsiteY1" fmla="*/ 177479 h 209326"/>
                <a:gd name="connsiteX2" fmla="*/ 615120 w 2631529"/>
                <a:gd name="connsiteY2" fmla="*/ 220241 h 209326"/>
                <a:gd name="connsiteX3" fmla="*/ 870199 w 2631529"/>
                <a:gd name="connsiteY3" fmla="*/ 220241 h 209326"/>
                <a:gd name="connsiteX4" fmla="*/ 916550 w 2631529"/>
                <a:gd name="connsiteY4" fmla="*/ 173890 h 209326"/>
                <a:gd name="connsiteX5" fmla="*/ 1438968 w 2631529"/>
                <a:gd name="connsiteY5" fmla="*/ 173890 h 209326"/>
                <a:gd name="connsiteX6" fmla="*/ 1483375 w 2631529"/>
                <a:gd name="connsiteY6" fmla="*/ 218297 h 209326"/>
                <a:gd name="connsiteX7" fmla="*/ 1877506 w 2631529"/>
                <a:gd name="connsiteY7" fmla="*/ 218297 h 209326"/>
                <a:gd name="connsiteX8" fmla="*/ 2088328 w 2631529"/>
                <a:gd name="connsiteY8" fmla="*/ 7476 h 209326"/>
                <a:gd name="connsiteX9" fmla="*/ 2340117 w 2631529"/>
                <a:gd name="connsiteY9" fmla="*/ 7476 h 209326"/>
                <a:gd name="connsiteX10" fmla="*/ 2505186 w 2631529"/>
                <a:gd name="connsiteY10" fmla="*/ 172545 h 209326"/>
                <a:gd name="connsiteX11" fmla="*/ 2579945 w 2631529"/>
                <a:gd name="connsiteY11" fmla="*/ 172545 h 209326"/>
                <a:gd name="connsiteX12" fmla="*/ 2605962 w 2631529"/>
                <a:gd name="connsiteY12" fmla="*/ 194972 h 209326"/>
                <a:gd name="connsiteX13" fmla="*/ 2632277 w 2631529"/>
                <a:gd name="connsiteY13" fmla="*/ 168657 h 209326"/>
                <a:gd name="connsiteX14" fmla="*/ 2605962 w 2631529"/>
                <a:gd name="connsiteY14" fmla="*/ 142342 h 209326"/>
                <a:gd name="connsiteX15" fmla="*/ 2579945 w 2631529"/>
                <a:gd name="connsiteY15" fmla="*/ 165069 h 209326"/>
                <a:gd name="connsiteX16" fmla="*/ 2508326 w 2631529"/>
                <a:gd name="connsiteY16" fmla="*/ 165069 h 209326"/>
                <a:gd name="connsiteX17" fmla="*/ 2343257 w 2631529"/>
                <a:gd name="connsiteY17" fmla="*/ 0 h 209326"/>
                <a:gd name="connsiteX18" fmla="*/ 2085188 w 2631529"/>
                <a:gd name="connsiteY18" fmla="*/ 0 h 209326"/>
                <a:gd name="connsiteX19" fmla="*/ 1874367 w 2631529"/>
                <a:gd name="connsiteY19" fmla="*/ 210821 h 209326"/>
                <a:gd name="connsiteX20" fmla="*/ 1486515 w 2631529"/>
                <a:gd name="connsiteY20" fmla="*/ 210821 h 209326"/>
                <a:gd name="connsiteX21" fmla="*/ 1442108 w 2631529"/>
                <a:gd name="connsiteY21" fmla="*/ 166414 h 209326"/>
                <a:gd name="connsiteX22" fmla="*/ 913410 w 2631529"/>
                <a:gd name="connsiteY22" fmla="*/ 166414 h 209326"/>
                <a:gd name="connsiteX23" fmla="*/ 867059 w 2631529"/>
                <a:gd name="connsiteY23" fmla="*/ 212765 h 209326"/>
                <a:gd name="connsiteX24" fmla="*/ 618110 w 2631529"/>
                <a:gd name="connsiteY24" fmla="*/ 212765 h 209326"/>
                <a:gd name="connsiteX25" fmla="*/ 575348 w 2631529"/>
                <a:gd name="connsiteY25" fmla="*/ 170003 h 209326"/>
                <a:gd name="connsiteX26" fmla="*/ 141445 w 2631529"/>
                <a:gd name="connsiteY26" fmla="*/ 170003 h 209326"/>
                <a:gd name="connsiteX27" fmla="*/ 107653 w 2631529"/>
                <a:gd name="connsiteY27" fmla="*/ 203644 h 209326"/>
                <a:gd name="connsiteX28" fmla="*/ 0 w 2631529"/>
                <a:gd name="connsiteY28" fmla="*/ 203644 h 209326"/>
                <a:gd name="connsiteX29" fmla="*/ 0 w 2631529"/>
                <a:gd name="connsiteY29" fmla="*/ 211120 h 209326"/>
                <a:gd name="connsiteX30" fmla="*/ 110943 w 2631529"/>
                <a:gd name="connsiteY30" fmla="*/ 211120 h 209326"/>
                <a:gd name="connsiteX31" fmla="*/ 144585 w 2631529"/>
                <a:gd name="connsiteY31" fmla="*/ 177479 h 209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31529" h="209326">
                  <a:moveTo>
                    <a:pt x="144585" y="177479"/>
                  </a:moveTo>
                  <a:lnTo>
                    <a:pt x="572358" y="177479"/>
                  </a:lnTo>
                  <a:lnTo>
                    <a:pt x="615120" y="220241"/>
                  </a:lnTo>
                  <a:lnTo>
                    <a:pt x="870199" y="220241"/>
                  </a:lnTo>
                  <a:lnTo>
                    <a:pt x="916550" y="173890"/>
                  </a:lnTo>
                  <a:lnTo>
                    <a:pt x="1438968" y="173890"/>
                  </a:lnTo>
                  <a:lnTo>
                    <a:pt x="1483375" y="218297"/>
                  </a:lnTo>
                  <a:lnTo>
                    <a:pt x="1877506" y="218297"/>
                  </a:lnTo>
                  <a:lnTo>
                    <a:pt x="2088328" y="7476"/>
                  </a:lnTo>
                  <a:lnTo>
                    <a:pt x="2340117" y="7476"/>
                  </a:lnTo>
                  <a:lnTo>
                    <a:pt x="2505186" y="172545"/>
                  </a:lnTo>
                  <a:lnTo>
                    <a:pt x="2579945" y="172545"/>
                  </a:lnTo>
                  <a:cubicBezTo>
                    <a:pt x="2581889" y="185254"/>
                    <a:pt x="2592654" y="194972"/>
                    <a:pt x="2605962" y="194972"/>
                  </a:cubicBezTo>
                  <a:cubicBezTo>
                    <a:pt x="2620465" y="194972"/>
                    <a:pt x="2632277" y="183160"/>
                    <a:pt x="2632277" y="168657"/>
                  </a:cubicBezTo>
                  <a:cubicBezTo>
                    <a:pt x="2632277" y="154154"/>
                    <a:pt x="2620465" y="142342"/>
                    <a:pt x="2605962" y="142342"/>
                  </a:cubicBezTo>
                  <a:cubicBezTo>
                    <a:pt x="2592654" y="142342"/>
                    <a:pt x="2581740" y="152210"/>
                    <a:pt x="2579945" y="165069"/>
                  </a:cubicBezTo>
                  <a:lnTo>
                    <a:pt x="2508326" y="165069"/>
                  </a:lnTo>
                  <a:lnTo>
                    <a:pt x="2343257" y="0"/>
                  </a:lnTo>
                  <a:lnTo>
                    <a:pt x="2085188" y="0"/>
                  </a:lnTo>
                  <a:lnTo>
                    <a:pt x="1874367" y="210821"/>
                  </a:lnTo>
                  <a:lnTo>
                    <a:pt x="1486515" y="210821"/>
                  </a:lnTo>
                  <a:lnTo>
                    <a:pt x="1442108" y="166414"/>
                  </a:lnTo>
                  <a:lnTo>
                    <a:pt x="913410" y="166414"/>
                  </a:lnTo>
                  <a:lnTo>
                    <a:pt x="867059" y="212765"/>
                  </a:lnTo>
                  <a:lnTo>
                    <a:pt x="618110" y="212765"/>
                  </a:lnTo>
                  <a:lnTo>
                    <a:pt x="575348" y="170003"/>
                  </a:lnTo>
                  <a:lnTo>
                    <a:pt x="141445" y="170003"/>
                  </a:lnTo>
                  <a:lnTo>
                    <a:pt x="107653" y="203644"/>
                  </a:lnTo>
                  <a:lnTo>
                    <a:pt x="0" y="203644"/>
                  </a:lnTo>
                  <a:lnTo>
                    <a:pt x="0" y="211120"/>
                  </a:lnTo>
                  <a:lnTo>
                    <a:pt x="110943" y="211120"/>
                  </a:lnTo>
                  <a:lnTo>
                    <a:pt x="144585" y="177479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0" name="任意多边形: 形状 49"/>
            <p:cNvSpPr/>
            <p:nvPr/>
          </p:nvSpPr>
          <p:spPr>
            <a:xfrm>
              <a:off x="3132380" y="-1633507"/>
              <a:ext cx="2840855" cy="403700"/>
            </a:xfrm>
            <a:custGeom>
              <a:avLst/>
              <a:gdLst>
                <a:gd name="connsiteX0" fmla="*/ 136511 w 2840855"/>
                <a:gd name="connsiteY0" fmla="*/ 374544 h 403700"/>
                <a:gd name="connsiteX1" fmla="*/ 308158 w 2840855"/>
                <a:gd name="connsiteY1" fmla="*/ 374544 h 403700"/>
                <a:gd name="connsiteX2" fmla="*/ 324007 w 2840855"/>
                <a:gd name="connsiteY2" fmla="*/ 358695 h 403700"/>
                <a:gd name="connsiteX3" fmla="*/ 569666 w 2840855"/>
                <a:gd name="connsiteY3" fmla="*/ 358695 h 403700"/>
                <a:gd name="connsiteX4" fmla="*/ 626782 w 2840855"/>
                <a:gd name="connsiteY4" fmla="*/ 415811 h 403700"/>
                <a:gd name="connsiteX5" fmla="*/ 858686 w 2840855"/>
                <a:gd name="connsiteY5" fmla="*/ 415811 h 403700"/>
                <a:gd name="connsiteX6" fmla="*/ 897112 w 2840855"/>
                <a:gd name="connsiteY6" fmla="*/ 377385 h 403700"/>
                <a:gd name="connsiteX7" fmla="*/ 1452425 w 2840855"/>
                <a:gd name="connsiteY7" fmla="*/ 377385 h 403700"/>
                <a:gd name="connsiteX8" fmla="*/ 1493393 w 2840855"/>
                <a:gd name="connsiteY8" fmla="*/ 418353 h 403700"/>
                <a:gd name="connsiteX9" fmla="*/ 1853882 w 2840855"/>
                <a:gd name="connsiteY9" fmla="*/ 418353 h 403700"/>
                <a:gd name="connsiteX10" fmla="*/ 2064704 w 2840855"/>
                <a:gd name="connsiteY10" fmla="*/ 207532 h 403700"/>
                <a:gd name="connsiteX11" fmla="*/ 2183571 w 2840855"/>
                <a:gd name="connsiteY11" fmla="*/ 207532 h 403700"/>
                <a:gd name="connsiteX12" fmla="*/ 2216466 w 2840855"/>
                <a:gd name="connsiteY12" fmla="*/ 174638 h 403700"/>
                <a:gd name="connsiteX13" fmla="*/ 2453303 w 2840855"/>
                <a:gd name="connsiteY13" fmla="*/ 174638 h 403700"/>
                <a:gd name="connsiteX14" fmla="*/ 2547201 w 2840855"/>
                <a:gd name="connsiteY14" fmla="*/ 80740 h 403700"/>
                <a:gd name="connsiteX15" fmla="*/ 2770432 w 2840855"/>
                <a:gd name="connsiteY15" fmla="*/ 80740 h 403700"/>
                <a:gd name="connsiteX16" fmla="*/ 2805270 w 2840855"/>
                <a:gd name="connsiteY16" fmla="*/ 45902 h 403700"/>
                <a:gd name="connsiteX17" fmla="*/ 2822764 w 2840855"/>
                <a:gd name="connsiteY17" fmla="*/ 52631 h 403700"/>
                <a:gd name="connsiteX18" fmla="*/ 2849079 w 2840855"/>
                <a:gd name="connsiteY18" fmla="*/ 26315 h 403700"/>
                <a:gd name="connsiteX19" fmla="*/ 2822764 w 2840855"/>
                <a:gd name="connsiteY19" fmla="*/ 0 h 403700"/>
                <a:gd name="connsiteX20" fmla="*/ 2796448 w 2840855"/>
                <a:gd name="connsiteY20" fmla="*/ 26315 h 403700"/>
                <a:gd name="connsiteX21" fmla="*/ 2800486 w 2840855"/>
                <a:gd name="connsiteY21" fmla="*/ 40221 h 403700"/>
                <a:gd name="connsiteX22" fmla="*/ 2767292 w 2840855"/>
                <a:gd name="connsiteY22" fmla="*/ 73414 h 403700"/>
                <a:gd name="connsiteX23" fmla="*/ 2544061 w 2840855"/>
                <a:gd name="connsiteY23" fmla="*/ 73414 h 403700"/>
                <a:gd name="connsiteX24" fmla="*/ 2450163 w 2840855"/>
                <a:gd name="connsiteY24" fmla="*/ 167311 h 403700"/>
                <a:gd name="connsiteX25" fmla="*/ 2213326 w 2840855"/>
                <a:gd name="connsiteY25" fmla="*/ 167311 h 403700"/>
                <a:gd name="connsiteX26" fmla="*/ 2180431 w 2840855"/>
                <a:gd name="connsiteY26" fmla="*/ 200206 h 403700"/>
                <a:gd name="connsiteX27" fmla="*/ 2061564 w 2840855"/>
                <a:gd name="connsiteY27" fmla="*/ 200206 h 403700"/>
                <a:gd name="connsiteX28" fmla="*/ 1850743 w 2840855"/>
                <a:gd name="connsiteY28" fmla="*/ 411027 h 403700"/>
                <a:gd name="connsiteX29" fmla="*/ 1496383 w 2840855"/>
                <a:gd name="connsiteY29" fmla="*/ 411027 h 403700"/>
                <a:gd name="connsiteX30" fmla="*/ 1455415 w 2840855"/>
                <a:gd name="connsiteY30" fmla="*/ 370059 h 403700"/>
                <a:gd name="connsiteX31" fmla="*/ 894271 w 2840855"/>
                <a:gd name="connsiteY31" fmla="*/ 370059 h 403700"/>
                <a:gd name="connsiteX32" fmla="*/ 855845 w 2840855"/>
                <a:gd name="connsiteY32" fmla="*/ 408485 h 403700"/>
                <a:gd name="connsiteX33" fmla="*/ 630072 w 2840855"/>
                <a:gd name="connsiteY33" fmla="*/ 408485 h 403700"/>
                <a:gd name="connsiteX34" fmla="*/ 572956 w 2840855"/>
                <a:gd name="connsiteY34" fmla="*/ 351369 h 403700"/>
                <a:gd name="connsiteX35" fmla="*/ 321017 w 2840855"/>
                <a:gd name="connsiteY35" fmla="*/ 351369 h 403700"/>
                <a:gd name="connsiteX36" fmla="*/ 305168 w 2840855"/>
                <a:gd name="connsiteY36" fmla="*/ 367218 h 403700"/>
                <a:gd name="connsiteX37" fmla="*/ 133371 w 2840855"/>
                <a:gd name="connsiteY37" fmla="*/ 367218 h 403700"/>
                <a:gd name="connsiteX38" fmla="*/ 95243 w 2840855"/>
                <a:gd name="connsiteY38" fmla="*/ 405345 h 403700"/>
                <a:gd name="connsiteX39" fmla="*/ 0 w 2840855"/>
                <a:gd name="connsiteY39" fmla="*/ 405345 h 403700"/>
                <a:gd name="connsiteX40" fmla="*/ 0 w 2840855"/>
                <a:gd name="connsiteY40" fmla="*/ 412821 h 403700"/>
                <a:gd name="connsiteX41" fmla="*/ 98383 w 2840855"/>
                <a:gd name="connsiteY41" fmla="*/ 412821 h 403700"/>
                <a:gd name="connsiteX42" fmla="*/ 136511 w 2840855"/>
                <a:gd name="connsiteY42" fmla="*/ 374544 h 403700"/>
                <a:gd name="connsiteX43" fmla="*/ 2823212 w 2840855"/>
                <a:gd name="connsiteY43" fmla="*/ 7326 h 403700"/>
                <a:gd name="connsiteX44" fmla="*/ 2842052 w 2840855"/>
                <a:gd name="connsiteY44" fmla="*/ 26166 h 403700"/>
                <a:gd name="connsiteX45" fmla="*/ 2823212 w 2840855"/>
                <a:gd name="connsiteY45" fmla="*/ 45005 h 403700"/>
                <a:gd name="connsiteX46" fmla="*/ 2804373 w 2840855"/>
                <a:gd name="connsiteY46" fmla="*/ 26166 h 403700"/>
                <a:gd name="connsiteX47" fmla="*/ 2823212 w 2840855"/>
                <a:gd name="connsiteY47" fmla="*/ 7326 h 40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840855" h="403700">
                  <a:moveTo>
                    <a:pt x="136511" y="374544"/>
                  </a:moveTo>
                  <a:lnTo>
                    <a:pt x="308158" y="374544"/>
                  </a:lnTo>
                  <a:lnTo>
                    <a:pt x="324007" y="358695"/>
                  </a:lnTo>
                  <a:lnTo>
                    <a:pt x="569666" y="358695"/>
                  </a:lnTo>
                  <a:lnTo>
                    <a:pt x="626782" y="415811"/>
                  </a:lnTo>
                  <a:lnTo>
                    <a:pt x="858686" y="415811"/>
                  </a:lnTo>
                  <a:lnTo>
                    <a:pt x="897112" y="377385"/>
                  </a:lnTo>
                  <a:lnTo>
                    <a:pt x="1452425" y="377385"/>
                  </a:lnTo>
                  <a:lnTo>
                    <a:pt x="1493393" y="418353"/>
                  </a:lnTo>
                  <a:lnTo>
                    <a:pt x="1853882" y="418353"/>
                  </a:lnTo>
                  <a:lnTo>
                    <a:pt x="2064704" y="207532"/>
                  </a:lnTo>
                  <a:lnTo>
                    <a:pt x="2183571" y="207532"/>
                  </a:lnTo>
                  <a:lnTo>
                    <a:pt x="2216466" y="174638"/>
                  </a:lnTo>
                  <a:lnTo>
                    <a:pt x="2453303" y="174638"/>
                  </a:lnTo>
                  <a:lnTo>
                    <a:pt x="2547201" y="80740"/>
                  </a:lnTo>
                  <a:lnTo>
                    <a:pt x="2770432" y="80740"/>
                  </a:lnTo>
                  <a:lnTo>
                    <a:pt x="2805270" y="45902"/>
                  </a:lnTo>
                  <a:cubicBezTo>
                    <a:pt x="2809905" y="50089"/>
                    <a:pt x="2816035" y="52631"/>
                    <a:pt x="2822764" y="52631"/>
                  </a:cubicBezTo>
                  <a:cubicBezTo>
                    <a:pt x="2837267" y="52631"/>
                    <a:pt x="2849079" y="40819"/>
                    <a:pt x="2849079" y="26315"/>
                  </a:cubicBezTo>
                  <a:cubicBezTo>
                    <a:pt x="2849079" y="11812"/>
                    <a:pt x="2837267" y="0"/>
                    <a:pt x="2822764" y="0"/>
                  </a:cubicBezTo>
                  <a:cubicBezTo>
                    <a:pt x="2808261" y="0"/>
                    <a:pt x="2796448" y="11812"/>
                    <a:pt x="2796448" y="26315"/>
                  </a:cubicBezTo>
                  <a:cubicBezTo>
                    <a:pt x="2796448" y="31399"/>
                    <a:pt x="2797944" y="36183"/>
                    <a:pt x="2800486" y="40221"/>
                  </a:cubicBezTo>
                  <a:lnTo>
                    <a:pt x="2767292" y="73414"/>
                  </a:lnTo>
                  <a:lnTo>
                    <a:pt x="2544061" y="73414"/>
                  </a:lnTo>
                  <a:lnTo>
                    <a:pt x="2450163" y="167311"/>
                  </a:lnTo>
                  <a:lnTo>
                    <a:pt x="2213326" y="167311"/>
                  </a:lnTo>
                  <a:lnTo>
                    <a:pt x="2180431" y="200206"/>
                  </a:lnTo>
                  <a:lnTo>
                    <a:pt x="2061564" y="200206"/>
                  </a:lnTo>
                  <a:lnTo>
                    <a:pt x="1850743" y="411027"/>
                  </a:lnTo>
                  <a:lnTo>
                    <a:pt x="1496383" y="411027"/>
                  </a:lnTo>
                  <a:lnTo>
                    <a:pt x="1455415" y="370059"/>
                  </a:lnTo>
                  <a:lnTo>
                    <a:pt x="894271" y="370059"/>
                  </a:lnTo>
                  <a:lnTo>
                    <a:pt x="855845" y="408485"/>
                  </a:lnTo>
                  <a:lnTo>
                    <a:pt x="630072" y="408485"/>
                  </a:lnTo>
                  <a:lnTo>
                    <a:pt x="572956" y="351369"/>
                  </a:lnTo>
                  <a:lnTo>
                    <a:pt x="321017" y="351369"/>
                  </a:lnTo>
                  <a:lnTo>
                    <a:pt x="305168" y="367218"/>
                  </a:lnTo>
                  <a:lnTo>
                    <a:pt x="133371" y="367218"/>
                  </a:lnTo>
                  <a:lnTo>
                    <a:pt x="95243" y="405345"/>
                  </a:lnTo>
                  <a:lnTo>
                    <a:pt x="0" y="405345"/>
                  </a:lnTo>
                  <a:lnTo>
                    <a:pt x="0" y="412821"/>
                  </a:lnTo>
                  <a:lnTo>
                    <a:pt x="98383" y="412821"/>
                  </a:lnTo>
                  <a:lnTo>
                    <a:pt x="136511" y="374544"/>
                  </a:lnTo>
                  <a:close/>
                  <a:moveTo>
                    <a:pt x="2823212" y="7326"/>
                  </a:moveTo>
                  <a:cubicBezTo>
                    <a:pt x="2833679" y="7326"/>
                    <a:pt x="2842052" y="15849"/>
                    <a:pt x="2842052" y="26166"/>
                  </a:cubicBezTo>
                  <a:cubicBezTo>
                    <a:pt x="2842052" y="36483"/>
                    <a:pt x="2833529" y="45005"/>
                    <a:pt x="2823212" y="45005"/>
                  </a:cubicBezTo>
                  <a:cubicBezTo>
                    <a:pt x="2812746" y="45005"/>
                    <a:pt x="2804373" y="36483"/>
                    <a:pt x="2804373" y="26166"/>
                  </a:cubicBezTo>
                  <a:cubicBezTo>
                    <a:pt x="2804373" y="15849"/>
                    <a:pt x="2812746" y="7326"/>
                    <a:pt x="2823212" y="732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1" name="任意多边形: 形状 50"/>
            <p:cNvSpPr/>
            <p:nvPr/>
          </p:nvSpPr>
          <p:spPr>
            <a:xfrm>
              <a:off x="3132380" y="-1454383"/>
              <a:ext cx="1136342" cy="104663"/>
            </a:xfrm>
            <a:custGeom>
              <a:avLst/>
              <a:gdLst>
                <a:gd name="connsiteX0" fmla="*/ 347631 w 1136342"/>
                <a:gd name="connsiteY0" fmla="*/ 57565 h 104663"/>
                <a:gd name="connsiteX1" fmla="*/ 520475 w 1136342"/>
                <a:gd name="connsiteY1" fmla="*/ 57565 h 104663"/>
                <a:gd name="connsiteX2" fmla="*/ 567124 w 1136342"/>
                <a:gd name="connsiteY2" fmla="*/ 10915 h 104663"/>
                <a:gd name="connsiteX3" fmla="*/ 1026895 w 1136342"/>
                <a:gd name="connsiteY3" fmla="*/ 10915 h 104663"/>
                <a:gd name="connsiteX4" fmla="*/ 1092234 w 1136342"/>
                <a:gd name="connsiteY4" fmla="*/ 76255 h 104663"/>
                <a:gd name="connsiteX5" fmla="*/ 1086253 w 1136342"/>
                <a:gd name="connsiteY5" fmla="*/ 92851 h 104663"/>
                <a:gd name="connsiteX6" fmla="*/ 1112569 w 1136342"/>
                <a:gd name="connsiteY6" fmla="*/ 119166 h 104663"/>
                <a:gd name="connsiteX7" fmla="*/ 1138884 w 1136342"/>
                <a:gd name="connsiteY7" fmla="*/ 92851 h 104663"/>
                <a:gd name="connsiteX8" fmla="*/ 1112569 w 1136342"/>
                <a:gd name="connsiteY8" fmla="*/ 66536 h 104663"/>
                <a:gd name="connsiteX9" fmla="*/ 1097617 w 1136342"/>
                <a:gd name="connsiteY9" fmla="*/ 71171 h 104663"/>
                <a:gd name="connsiteX10" fmla="*/ 1029885 w 1136342"/>
                <a:gd name="connsiteY10" fmla="*/ 3439 h 104663"/>
                <a:gd name="connsiteX11" fmla="*/ 564134 w 1136342"/>
                <a:gd name="connsiteY11" fmla="*/ 3439 h 104663"/>
                <a:gd name="connsiteX12" fmla="*/ 517484 w 1136342"/>
                <a:gd name="connsiteY12" fmla="*/ 50089 h 104663"/>
                <a:gd name="connsiteX13" fmla="*/ 350771 w 1136342"/>
                <a:gd name="connsiteY13" fmla="*/ 50089 h 104663"/>
                <a:gd name="connsiteX14" fmla="*/ 300682 w 1136342"/>
                <a:gd name="connsiteY14" fmla="*/ 0 h 104663"/>
                <a:gd name="connsiteX15" fmla="*/ 0 w 1136342"/>
                <a:gd name="connsiteY15" fmla="*/ 0 h 104663"/>
                <a:gd name="connsiteX16" fmla="*/ 0 w 1136342"/>
                <a:gd name="connsiteY16" fmla="*/ 7476 h 104663"/>
                <a:gd name="connsiteX17" fmla="*/ 297542 w 1136342"/>
                <a:gd name="connsiteY17" fmla="*/ 7476 h 104663"/>
                <a:gd name="connsiteX18" fmla="*/ 347631 w 1136342"/>
                <a:gd name="connsiteY18" fmla="*/ 57565 h 104663"/>
                <a:gd name="connsiteX19" fmla="*/ 1112569 w 1136342"/>
                <a:gd name="connsiteY19" fmla="*/ 74012 h 104663"/>
                <a:gd name="connsiteX20" fmla="*/ 1131408 w 1136342"/>
                <a:gd name="connsiteY20" fmla="*/ 92851 h 104663"/>
                <a:gd name="connsiteX21" fmla="*/ 1112569 w 1136342"/>
                <a:gd name="connsiteY21" fmla="*/ 111690 h 104663"/>
                <a:gd name="connsiteX22" fmla="*/ 1093729 w 1136342"/>
                <a:gd name="connsiteY22" fmla="*/ 92851 h 104663"/>
                <a:gd name="connsiteX23" fmla="*/ 1112569 w 1136342"/>
                <a:gd name="connsiteY23" fmla="*/ 74012 h 104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36342" h="104663">
                  <a:moveTo>
                    <a:pt x="347631" y="57565"/>
                  </a:moveTo>
                  <a:lnTo>
                    <a:pt x="520475" y="57565"/>
                  </a:lnTo>
                  <a:lnTo>
                    <a:pt x="567124" y="10915"/>
                  </a:lnTo>
                  <a:lnTo>
                    <a:pt x="1026895" y="10915"/>
                  </a:lnTo>
                  <a:lnTo>
                    <a:pt x="1092234" y="76255"/>
                  </a:lnTo>
                  <a:cubicBezTo>
                    <a:pt x="1088496" y="80740"/>
                    <a:pt x="1086253" y="86571"/>
                    <a:pt x="1086253" y="92851"/>
                  </a:cubicBezTo>
                  <a:cubicBezTo>
                    <a:pt x="1086253" y="107355"/>
                    <a:pt x="1098065" y="119166"/>
                    <a:pt x="1112569" y="119166"/>
                  </a:cubicBezTo>
                  <a:cubicBezTo>
                    <a:pt x="1127072" y="119166"/>
                    <a:pt x="1138884" y="107355"/>
                    <a:pt x="1138884" y="92851"/>
                  </a:cubicBezTo>
                  <a:cubicBezTo>
                    <a:pt x="1138884" y="78348"/>
                    <a:pt x="1127072" y="66536"/>
                    <a:pt x="1112569" y="66536"/>
                  </a:cubicBezTo>
                  <a:cubicBezTo>
                    <a:pt x="1107037" y="66536"/>
                    <a:pt x="1101953" y="68330"/>
                    <a:pt x="1097617" y="71171"/>
                  </a:cubicBezTo>
                  <a:lnTo>
                    <a:pt x="1029885" y="3439"/>
                  </a:lnTo>
                  <a:lnTo>
                    <a:pt x="564134" y="3439"/>
                  </a:lnTo>
                  <a:lnTo>
                    <a:pt x="517484" y="50089"/>
                  </a:lnTo>
                  <a:lnTo>
                    <a:pt x="350771" y="50089"/>
                  </a:lnTo>
                  <a:lnTo>
                    <a:pt x="300682" y="0"/>
                  </a:lnTo>
                  <a:lnTo>
                    <a:pt x="0" y="0"/>
                  </a:lnTo>
                  <a:lnTo>
                    <a:pt x="0" y="7476"/>
                  </a:lnTo>
                  <a:lnTo>
                    <a:pt x="297542" y="7476"/>
                  </a:lnTo>
                  <a:lnTo>
                    <a:pt x="347631" y="57565"/>
                  </a:lnTo>
                  <a:close/>
                  <a:moveTo>
                    <a:pt x="1112569" y="74012"/>
                  </a:moveTo>
                  <a:cubicBezTo>
                    <a:pt x="1123035" y="74012"/>
                    <a:pt x="1131408" y="82534"/>
                    <a:pt x="1131408" y="92851"/>
                  </a:cubicBezTo>
                  <a:cubicBezTo>
                    <a:pt x="1131408" y="103317"/>
                    <a:pt x="1122886" y="111690"/>
                    <a:pt x="1112569" y="111690"/>
                  </a:cubicBezTo>
                  <a:cubicBezTo>
                    <a:pt x="1102252" y="111690"/>
                    <a:pt x="1093729" y="103168"/>
                    <a:pt x="1093729" y="92851"/>
                  </a:cubicBezTo>
                  <a:cubicBezTo>
                    <a:pt x="1093729" y="82385"/>
                    <a:pt x="1102252" y="74012"/>
                    <a:pt x="1112569" y="74012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3132380" y="-1850159"/>
              <a:ext cx="2257732" cy="493412"/>
            </a:xfrm>
            <a:custGeom>
              <a:avLst/>
              <a:gdLst>
                <a:gd name="connsiteX0" fmla="*/ 580133 w 2257732"/>
                <a:gd name="connsiteY0" fmla="*/ 289767 h 493411"/>
                <a:gd name="connsiteX1" fmla="*/ 813681 w 2257732"/>
                <a:gd name="connsiteY1" fmla="*/ 289767 h 493411"/>
                <a:gd name="connsiteX2" fmla="*/ 841790 w 2257732"/>
                <a:gd name="connsiteY2" fmla="*/ 317877 h 493411"/>
                <a:gd name="connsiteX3" fmla="*/ 1140529 w 2257732"/>
                <a:gd name="connsiteY3" fmla="*/ 317877 h 493411"/>
                <a:gd name="connsiteX4" fmla="*/ 1322942 w 2257732"/>
                <a:gd name="connsiteY4" fmla="*/ 500290 h 493411"/>
                <a:gd name="connsiteX5" fmla="*/ 1364657 w 2257732"/>
                <a:gd name="connsiteY5" fmla="*/ 500290 h 493411"/>
                <a:gd name="connsiteX6" fmla="*/ 1471862 w 2257732"/>
                <a:gd name="connsiteY6" fmla="*/ 393085 h 493411"/>
                <a:gd name="connsiteX7" fmla="*/ 1961685 w 2257732"/>
                <a:gd name="connsiteY7" fmla="*/ 393085 h 493411"/>
                <a:gd name="connsiteX8" fmla="*/ 2204803 w 2257732"/>
                <a:gd name="connsiteY8" fmla="*/ 149967 h 493411"/>
                <a:gd name="connsiteX9" fmla="*/ 2204803 w 2257732"/>
                <a:gd name="connsiteY9" fmla="*/ 63994 h 493411"/>
                <a:gd name="connsiteX10" fmla="*/ 2221848 w 2257732"/>
                <a:gd name="connsiteY10" fmla="*/ 46949 h 493411"/>
                <a:gd name="connsiteX11" fmla="*/ 2237996 w 2257732"/>
                <a:gd name="connsiteY11" fmla="*/ 52631 h 493411"/>
                <a:gd name="connsiteX12" fmla="*/ 2264311 w 2257732"/>
                <a:gd name="connsiteY12" fmla="*/ 26315 h 493411"/>
                <a:gd name="connsiteX13" fmla="*/ 2237996 w 2257732"/>
                <a:gd name="connsiteY13" fmla="*/ 0 h 493411"/>
                <a:gd name="connsiteX14" fmla="*/ 2211681 w 2257732"/>
                <a:gd name="connsiteY14" fmla="*/ 26315 h 493411"/>
                <a:gd name="connsiteX15" fmla="*/ 2216615 w 2257732"/>
                <a:gd name="connsiteY15" fmla="*/ 41566 h 493411"/>
                <a:gd name="connsiteX16" fmla="*/ 2197327 w 2257732"/>
                <a:gd name="connsiteY16" fmla="*/ 60854 h 493411"/>
                <a:gd name="connsiteX17" fmla="*/ 2197327 w 2257732"/>
                <a:gd name="connsiteY17" fmla="*/ 146827 h 493411"/>
                <a:gd name="connsiteX18" fmla="*/ 1958695 w 2257732"/>
                <a:gd name="connsiteY18" fmla="*/ 385459 h 493411"/>
                <a:gd name="connsiteX19" fmla="*/ 1468722 w 2257732"/>
                <a:gd name="connsiteY19" fmla="*/ 385459 h 493411"/>
                <a:gd name="connsiteX20" fmla="*/ 1361517 w 2257732"/>
                <a:gd name="connsiteY20" fmla="*/ 492664 h 493411"/>
                <a:gd name="connsiteX21" fmla="*/ 1325932 w 2257732"/>
                <a:gd name="connsiteY21" fmla="*/ 492664 h 493411"/>
                <a:gd name="connsiteX22" fmla="*/ 1143519 w 2257732"/>
                <a:gd name="connsiteY22" fmla="*/ 310251 h 493411"/>
                <a:gd name="connsiteX23" fmla="*/ 844930 w 2257732"/>
                <a:gd name="connsiteY23" fmla="*/ 310251 h 493411"/>
                <a:gd name="connsiteX24" fmla="*/ 816970 w 2257732"/>
                <a:gd name="connsiteY24" fmla="*/ 282291 h 493411"/>
                <a:gd name="connsiteX25" fmla="*/ 576993 w 2257732"/>
                <a:gd name="connsiteY25" fmla="*/ 282291 h 493411"/>
                <a:gd name="connsiteX26" fmla="*/ 546790 w 2257732"/>
                <a:gd name="connsiteY26" fmla="*/ 312494 h 493411"/>
                <a:gd name="connsiteX27" fmla="*/ 0 w 2257732"/>
                <a:gd name="connsiteY27" fmla="*/ 312494 h 493411"/>
                <a:gd name="connsiteX28" fmla="*/ 0 w 2257732"/>
                <a:gd name="connsiteY28" fmla="*/ 319970 h 493411"/>
                <a:gd name="connsiteX29" fmla="*/ 549930 w 2257732"/>
                <a:gd name="connsiteY29" fmla="*/ 319970 h 493411"/>
                <a:gd name="connsiteX30" fmla="*/ 580133 w 2257732"/>
                <a:gd name="connsiteY30" fmla="*/ 289767 h 493411"/>
                <a:gd name="connsiteX31" fmla="*/ 2237847 w 2257732"/>
                <a:gd name="connsiteY31" fmla="*/ 7326 h 493411"/>
                <a:gd name="connsiteX32" fmla="*/ 2256686 w 2257732"/>
                <a:gd name="connsiteY32" fmla="*/ 26166 h 493411"/>
                <a:gd name="connsiteX33" fmla="*/ 2237847 w 2257732"/>
                <a:gd name="connsiteY33" fmla="*/ 45005 h 493411"/>
                <a:gd name="connsiteX34" fmla="*/ 2219007 w 2257732"/>
                <a:gd name="connsiteY34" fmla="*/ 26166 h 493411"/>
                <a:gd name="connsiteX35" fmla="*/ 2237847 w 2257732"/>
                <a:gd name="connsiteY35" fmla="*/ 7326 h 49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57732" h="493411">
                  <a:moveTo>
                    <a:pt x="580133" y="289767"/>
                  </a:moveTo>
                  <a:lnTo>
                    <a:pt x="813681" y="289767"/>
                  </a:lnTo>
                  <a:lnTo>
                    <a:pt x="841790" y="317877"/>
                  </a:lnTo>
                  <a:lnTo>
                    <a:pt x="1140529" y="317877"/>
                  </a:lnTo>
                  <a:lnTo>
                    <a:pt x="1322942" y="500290"/>
                  </a:lnTo>
                  <a:lnTo>
                    <a:pt x="1364657" y="500290"/>
                  </a:lnTo>
                  <a:lnTo>
                    <a:pt x="1471862" y="393085"/>
                  </a:lnTo>
                  <a:lnTo>
                    <a:pt x="1961685" y="393085"/>
                  </a:lnTo>
                  <a:lnTo>
                    <a:pt x="2204803" y="149967"/>
                  </a:lnTo>
                  <a:lnTo>
                    <a:pt x="2204803" y="63994"/>
                  </a:lnTo>
                  <a:lnTo>
                    <a:pt x="2221848" y="46949"/>
                  </a:lnTo>
                  <a:cubicBezTo>
                    <a:pt x="2226334" y="50388"/>
                    <a:pt x="2231866" y="52631"/>
                    <a:pt x="2237996" y="52631"/>
                  </a:cubicBezTo>
                  <a:cubicBezTo>
                    <a:pt x="2252499" y="52631"/>
                    <a:pt x="2264311" y="40819"/>
                    <a:pt x="2264311" y="26315"/>
                  </a:cubicBezTo>
                  <a:cubicBezTo>
                    <a:pt x="2264311" y="11812"/>
                    <a:pt x="2252499" y="0"/>
                    <a:pt x="2237996" y="0"/>
                  </a:cubicBezTo>
                  <a:cubicBezTo>
                    <a:pt x="2223493" y="0"/>
                    <a:pt x="2211681" y="11812"/>
                    <a:pt x="2211681" y="26315"/>
                  </a:cubicBezTo>
                  <a:cubicBezTo>
                    <a:pt x="2211681" y="31997"/>
                    <a:pt x="2213625" y="37230"/>
                    <a:pt x="2216615" y="41566"/>
                  </a:cubicBezTo>
                  <a:lnTo>
                    <a:pt x="2197327" y="60854"/>
                  </a:lnTo>
                  <a:lnTo>
                    <a:pt x="2197327" y="146827"/>
                  </a:lnTo>
                  <a:lnTo>
                    <a:pt x="1958695" y="385459"/>
                  </a:lnTo>
                  <a:lnTo>
                    <a:pt x="1468722" y="385459"/>
                  </a:lnTo>
                  <a:lnTo>
                    <a:pt x="1361517" y="492664"/>
                  </a:lnTo>
                  <a:lnTo>
                    <a:pt x="1325932" y="492664"/>
                  </a:lnTo>
                  <a:lnTo>
                    <a:pt x="1143519" y="310251"/>
                  </a:lnTo>
                  <a:lnTo>
                    <a:pt x="844930" y="310251"/>
                  </a:lnTo>
                  <a:lnTo>
                    <a:pt x="816970" y="282291"/>
                  </a:lnTo>
                  <a:lnTo>
                    <a:pt x="576993" y="282291"/>
                  </a:lnTo>
                  <a:lnTo>
                    <a:pt x="546790" y="312494"/>
                  </a:lnTo>
                  <a:lnTo>
                    <a:pt x="0" y="312494"/>
                  </a:lnTo>
                  <a:lnTo>
                    <a:pt x="0" y="319970"/>
                  </a:lnTo>
                  <a:lnTo>
                    <a:pt x="549930" y="319970"/>
                  </a:lnTo>
                  <a:lnTo>
                    <a:pt x="580133" y="289767"/>
                  </a:lnTo>
                  <a:close/>
                  <a:moveTo>
                    <a:pt x="2237847" y="7326"/>
                  </a:moveTo>
                  <a:cubicBezTo>
                    <a:pt x="2248313" y="7326"/>
                    <a:pt x="2256686" y="15849"/>
                    <a:pt x="2256686" y="26166"/>
                  </a:cubicBezTo>
                  <a:cubicBezTo>
                    <a:pt x="2256686" y="36482"/>
                    <a:pt x="2248163" y="45005"/>
                    <a:pt x="2237847" y="45005"/>
                  </a:cubicBezTo>
                  <a:cubicBezTo>
                    <a:pt x="2227380" y="45005"/>
                    <a:pt x="2219007" y="36482"/>
                    <a:pt x="2219007" y="26166"/>
                  </a:cubicBezTo>
                  <a:cubicBezTo>
                    <a:pt x="2219007" y="15849"/>
                    <a:pt x="2227380" y="7326"/>
                    <a:pt x="2237847" y="732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3132380" y="-2049019"/>
              <a:ext cx="2332492" cy="478460"/>
            </a:xfrm>
            <a:custGeom>
              <a:avLst/>
              <a:gdLst>
                <a:gd name="connsiteX0" fmla="*/ 424334 w 2332491"/>
                <a:gd name="connsiteY0" fmla="*/ 484141 h 478459"/>
                <a:gd name="connsiteX1" fmla="*/ 528848 w 2332491"/>
                <a:gd name="connsiteY1" fmla="*/ 484141 h 478459"/>
                <a:gd name="connsiteX2" fmla="*/ 555612 w 2332491"/>
                <a:gd name="connsiteY2" fmla="*/ 457378 h 478459"/>
                <a:gd name="connsiteX3" fmla="*/ 827138 w 2332491"/>
                <a:gd name="connsiteY3" fmla="*/ 457378 h 478459"/>
                <a:gd name="connsiteX4" fmla="*/ 857191 w 2332491"/>
                <a:gd name="connsiteY4" fmla="*/ 487431 h 478459"/>
                <a:gd name="connsiteX5" fmla="*/ 2034052 w 2332491"/>
                <a:gd name="connsiteY5" fmla="*/ 487431 h 478459"/>
                <a:gd name="connsiteX6" fmla="*/ 2180282 w 2332491"/>
                <a:gd name="connsiteY6" fmla="*/ 341202 h 478459"/>
                <a:gd name="connsiteX7" fmla="*/ 2180282 w 2332491"/>
                <a:gd name="connsiteY7" fmla="*/ 305018 h 478459"/>
                <a:gd name="connsiteX8" fmla="*/ 2117185 w 2332491"/>
                <a:gd name="connsiteY8" fmla="*/ 241921 h 478459"/>
                <a:gd name="connsiteX9" fmla="*/ 2117185 w 2332491"/>
                <a:gd name="connsiteY9" fmla="*/ 165517 h 478459"/>
                <a:gd name="connsiteX10" fmla="*/ 2252649 w 2332491"/>
                <a:gd name="connsiteY10" fmla="*/ 30053 h 478459"/>
                <a:gd name="connsiteX11" fmla="*/ 2284197 w 2332491"/>
                <a:gd name="connsiteY11" fmla="*/ 30053 h 478459"/>
                <a:gd name="connsiteX12" fmla="*/ 2310214 w 2332491"/>
                <a:gd name="connsiteY12" fmla="*/ 52631 h 478459"/>
                <a:gd name="connsiteX13" fmla="*/ 2336529 w 2332491"/>
                <a:gd name="connsiteY13" fmla="*/ 26315 h 478459"/>
                <a:gd name="connsiteX14" fmla="*/ 2310214 w 2332491"/>
                <a:gd name="connsiteY14" fmla="*/ 0 h 478459"/>
                <a:gd name="connsiteX15" fmla="*/ 2284197 w 2332491"/>
                <a:gd name="connsiteY15" fmla="*/ 22577 h 478459"/>
                <a:gd name="connsiteX16" fmla="*/ 2249509 w 2332491"/>
                <a:gd name="connsiteY16" fmla="*/ 22577 h 478459"/>
                <a:gd name="connsiteX17" fmla="*/ 2109560 w 2332491"/>
                <a:gd name="connsiteY17" fmla="*/ 162527 h 478459"/>
                <a:gd name="connsiteX18" fmla="*/ 2109560 w 2332491"/>
                <a:gd name="connsiteY18" fmla="*/ 245061 h 478459"/>
                <a:gd name="connsiteX19" fmla="*/ 2172656 w 2332491"/>
                <a:gd name="connsiteY19" fmla="*/ 308158 h 478459"/>
                <a:gd name="connsiteX20" fmla="*/ 2172656 w 2332491"/>
                <a:gd name="connsiteY20" fmla="*/ 338211 h 478459"/>
                <a:gd name="connsiteX21" fmla="*/ 2030763 w 2332491"/>
                <a:gd name="connsiteY21" fmla="*/ 480105 h 478459"/>
                <a:gd name="connsiteX22" fmla="*/ 860181 w 2332491"/>
                <a:gd name="connsiteY22" fmla="*/ 480105 h 478459"/>
                <a:gd name="connsiteX23" fmla="*/ 830128 w 2332491"/>
                <a:gd name="connsiteY23" fmla="*/ 450051 h 478459"/>
                <a:gd name="connsiteX24" fmla="*/ 552472 w 2332491"/>
                <a:gd name="connsiteY24" fmla="*/ 450051 h 478459"/>
                <a:gd name="connsiteX25" fmla="*/ 525708 w 2332491"/>
                <a:gd name="connsiteY25" fmla="*/ 476815 h 478459"/>
                <a:gd name="connsiteX26" fmla="*/ 427474 w 2332491"/>
                <a:gd name="connsiteY26" fmla="*/ 476815 h 478459"/>
                <a:gd name="connsiteX27" fmla="*/ 110943 w 2332491"/>
                <a:gd name="connsiteY27" fmla="*/ 159985 h 478459"/>
                <a:gd name="connsiteX28" fmla="*/ 0 w 2332491"/>
                <a:gd name="connsiteY28" fmla="*/ 159985 h 478459"/>
                <a:gd name="connsiteX29" fmla="*/ 0 w 2332491"/>
                <a:gd name="connsiteY29" fmla="*/ 167461 h 478459"/>
                <a:gd name="connsiteX30" fmla="*/ 107803 w 2332491"/>
                <a:gd name="connsiteY30" fmla="*/ 167461 h 478459"/>
                <a:gd name="connsiteX31" fmla="*/ 424334 w 2332491"/>
                <a:gd name="connsiteY31" fmla="*/ 484141 h 478459"/>
                <a:gd name="connsiteX32" fmla="*/ 2310064 w 2332491"/>
                <a:gd name="connsiteY32" fmla="*/ 7177 h 478459"/>
                <a:gd name="connsiteX33" fmla="*/ 2328903 w 2332491"/>
                <a:gd name="connsiteY33" fmla="*/ 26016 h 478459"/>
                <a:gd name="connsiteX34" fmla="*/ 2310064 w 2332491"/>
                <a:gd name="connsiteY34" fmla="*/ 44856 h 478459"/>
                <a:gd name="connsiteX35" fmla="*/ 2291225 w 2332491"/>
                <a:gd name="connsiteY35" fmla="*/ 26016 h 478459"/>
                <a:gd name="connsiteX36" fmla="*/ 2310064 w 2332491"/>
                <a:gd name="connsiteY36" fmla="*/ 7177 h 478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332491" h="478459">
                  <a:moveTo>
                    <a:pt x="424334" y="484141"/>
                  </a:moveTo>
                  <a:lnTo>
                    <a:pt x="528848" y="484141"/>
                  </a:lnTo>
                  <a:lnTo>
                    <a:pt x="555612" y="457378"/>
                  </a:lnTo>
                  <a:lnTo>
                    <a:pt x="827138" y="457378"/>
                  </a:lnTo>
                  <a:lnTo>
                    <a:pt x="857191" y="487431"/>
                  </a:lnTo>
                  <a:lnTo>
                    <a:pt x="2034052" y="487431"/>
                  </a:lnTo>
                  <a:lnTo>
                    <a:pt x="2180282" y="341202"/>
                  </a:lnTo>
                  <a:lnTo>
                    <a:pt x="2180282" y="305018"/>
                  </a:lnTo>
                  <a:lnTo>
                    <a:pt x="2117185" y="241921"/>
                  </a:lnTo>
                  <a:lnTo>
                    <a:pt x="2117185" y="165517"/>
                  </a:lnTo>
                  <a:lnTo>
                    <a:pt x="2252649" y="30053"/>
                  </a:lnTo>
                  <a:lnTo>
                    <a:pt x="2284197" y="30053"/>
                  </a:lnTo>
                  <a:cubicBezTo>
                    <a:pt x="2285992" y="42762"/>
                    <a:pt x="2296906" y="52631"/>
                    <a:pt x="2310214" y="52631"/>
                  </a:cubicBezTo>
                  <a:cubicBezTo>
                    <a:pt x="2324717" y="52631"/>
                    <a:pt x="2336529" y="40819"/>
                    <a:pt x="2336529" y="26315"/>
                  </a:cubicBezTo>
                  <a:cubicBezTo>
                    <a:pt x="2336529" y="11812"/>
                    <a:pt x="2324717" y="0"/>
                    <a:pt x="2310214" y="0"/>
                  </a:cubicBezTo>
                  <a:cubicBezTo>
                    <a:pt x="2296906" y="0"/>
                    <a:pt x="2285992" y="9868"/>
                    <a:pt x="2284197" y="22577"/>
                  </a:cubicBezTo>
                  <a:lnTo>
                    <a:pt x="2249509" y="22577"/>
                  </a:lnTo>
                  <a:lnTo>
                    <a:pt x="2109560" y="162527"/>
                  </a:lnTo>
                  <a:lnTo>
                    <a:pt x="2109560" y="245061"/>
                  </a:lnTo>
                  <a:lnTo>
                    <a:pt x="2172656" y="308158"/>
                  </a:lnTo>
                  <a:lnTo>
                    <a:pt x="2172656" y="338211"/>
                  </a:lnTo>
                  <a:lnTo>
                    <a:pt x="2030763" y="480105"/>
                  </a:lnTo>
                  <a:lnTo>
                    <a:pt x="860181" y="480105"/>
                  </a:lnTo>
                  <a:lnTo>
                    <a:pt x="830128" y="450051"/>
                  </a:lnTo>
                  <a:lnTo>
                    <a:pt x="552472" y="450051"/>
                  </a:lnTo>
                  <a:lnTo>
                    <a:pt x="525708" y="476815"/>
                  </a:lnTo>
                  <a:lnTo>
                    <a:pt x="427474" y="476815"/>
                  </a:lnTo>
                  <a:lnTo>
                    <a:pt x="110943" y="159985"/>
                  </a:lnTo>
                  <a:lnTo>
                    <a:pt x="0" y="159985"/>
                  </a:lnTo>
                  <a:lnTo>
                    <a:pt x="0" y="167461"/>
                  </a:lnTo>
                  <a:lnTo>
                    <a:pt x="107803" y="167461"/>
                  </a:lnTo>
                  <a:lnTo>
                    <a:pt x="424334" y="484141"/>
                  </a:lnTo>
                  <a:close/>
                  <a:moveTo>
                    <a:pt x="2310064" y="7177"/>
                  </a:moveTo>
                  <a:cubicBezTo>
                    <a:pt x="2320530" y="7177"/>
                    <a:pt x="2328903" y="15700"/>
                    <a:pt x="2328903" y="26016"/>
                  </a:cubicBezTo>
                  <a:cubicBezTo>
                    <a:pt x="2328903" y="36483"/>
                    <a:pt x="2320381" y="44856"/>
                    <a:pt x="2310064" y="44856"/>
                  </a:cubicBezTo>
                  <a:cubicBezTo>
                    <a:pt x="2299598" y="44856"/>
                    <a:pt x="2291225" y="36333"/>
                    <a:pt x="2291225" y="26016"/>
                  </a:cubicBezTo>
                  <a:cubicBezTo>
                    <a:pt x="2291225" y="15700"/>
                    <a:pt x="2299747" y="7177"/>
                    <a:pt x="2310064" y="717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3132380" y="-1991753"/>
              <a:ext cx="2123166" cy="403700"/>
            </a:xfrm>
            <a:custGeom>
              <a:avLst/>
              <a:gdLst>
                <a:gd name="connsiteX0" fmla="*/ 439136 w 2123165"/>
                <a:gd name="connsiteY0" fmla="*/ 401607 h 403700"/>
                <a:gd name="connsiteX1" fmla="*/ 518830 w 2123165"/>
                <a:gd name="connsiteY1" fmla="*/ 401607 h 403700"/>
                <a:gd name="connsiteX2" fmla="*/ 552771 w 2123165"/>
                <a:gd name="connsiteY2" fmla="*/ 367667 h 403700"/>
                <a:gd name="connsiteX3" fmla="*/ 837006 w 2123165"/>
                <a:gd name="connsiteY3" fmla="*/ 367667 h 403700"/>
                <a:gd name="connsiteX4" fmla="*/ 873937 w 2123165"/>
                <a:gd name="connsiteY4" fmla="*/ 404598 h 403700"/>
                <a:gd name="connsiteX5" fmla="*/ 1294982 w 2123165"/>
                <a:gd name="connsiteY5" fmla="*/ 404598 h 403700"/>
                <a:gd name="connsiteX6" fmla="*/ 1339538 w 2123165"/>
                <a:gd name="connsiteY6" fmla="*/ 360041 h 403700"/>
                <a:gd name="connsiteX7" fmla="*/ 1623624 w 2123165"/>
                <a:gd name="connsiteY7" fmla="*/ 360041 h 403700"/>
                <a:gd name="connsiteX8" fmla="*/ 1667732 w 2123165"/>
                <a:gd name="connsiteY8" fmla="*/ 404149 h 403700"/>
                <a:gd name="connsiteX9" fmla="*/ 2016409 w 2123165"/>
                <a:gd name="connsiteY9" fmla="*/ 404149 h 403700"/>
                <a:gd name="connsiteX10" fmla="*/ 2134230 w 2123165"/>
                <a:gd name="connsiteY10" fmla="*/ 286328 h 403700"/>
                <a:gd name="connsiteX11" fmla="*/ 2134230 w 2123165"/>
                <a:gd name="connsiteY11" fmla="*/ 247752 h 403700"/>
                <a:gd name="connsiteX12" fmla="*/ 2076516 w 2123165"/>
                <a:gd name="connsiteY12" fmla="*/ 190038 h 403700"/>
                <a:gd name="connsiteX13" fmla="*/ 2076516 w 2123165"/>
                <a:gd name="connsiteY13" fmla="*/ 67582 h 403700"/>
                <a:gd name="connsiteX14" fmla="*/ 2051098 w 2123165"/>
                <a:gd name="connsiteY14" fmla="*/ 42164 h 403700"/>
                <a:gd name="connsiteX15" fmla="*/ 2056480 w 2123165"/>
                <a:gd name="connsiteY15" fmla="*/ 26315 h 403700"/>
                <a:gd name="connsiteX16" fmla="*/ 2030165 w 2123165"/>
                <a:gd name="connsiteY16" fmla="*/ 0 h 403700"/>
                <a:gd name="connsiteX17" fmla="*/ 2003850 w 2123165"/>
                <a:gd name="connsiteY17" fmla="*/ 26315 h 403700"/>
                <a:gd name="connsiteX18" fmla="*/ 2030165 w 2123165"/>
                <a:gd name="connsiteY18" fmla="*/ 52631 h 403700"/>
                <a:gd name="connsiteX19" fmla="*/ 2045865 w 2123165"/>
                <a:gd name="connsiteY19" fmla="*/ 47397 h 403700"/>
                <a:gd name="connsiteX20" fmla="*/ 2069189 w 2123165"/>
                <a:gd name="connsiteY20" fmla="*/ 70722 h 403700"/>
                <a:gd name="connsiteX21" fmla="*/ 2069189 w 2123165"/>
                <a:gd name="connsiteY21" fmla="*/ 193178 h 403700"/>
                <a:gd name="connsiteX22" fmla="*/ 2126904 w 2123165"/>
                <a:gd name="connsiteY22" fmla="*/ 250892 h 403700"/>
                <a:gd name="connsiteX23" fmla="*/ 2126904 w 2123165"/>
                <a:gd name="connsiteY23" fmla="*/ 283338 h 403700"/>
                <a:gd name="connsiteX24" fmla="*/ 2013419 w 2123165"/>
                <a:gd name="connsiteY24" fmla="*/ 396823 h 403700"/>
                <a:gd name="connsiteX25" fmla="*/ 1671021 w 2123165"/>
                <a:gd name="connsiteY25" fmla="*/ 396823 h 403700"/>
                <a:gd name="connsiteX26" fmla="*/ 1626913 w 2123165"/>
                <a:gd name="connsiteY26" fmla="*/ 352715 h 403700"/>
                <a:gd name="connsiteX27" fmla="*/ 1336548 w 2123165"/>
                <a:gd name="connsiteY27" fmla="*/ 352715 h 403700"/>
                <a:gd name="connsiteX28" fmla="*/ 1291991 w 2123165"/>
                <a:gd name="connsiteY28" fmla="*/ 397271 h 403700"/>
                <a:gd name="connsiteX29" fmla="*/ 877077 w 2123165"/>
                <a:gd name="connsiteY29" fmla="*/ 397271 h 403700"/>
                <a:gd name="connsiteX30" fmla="*/ 840146 w 2123165"/>
                <a:gd name="connsiteY30" fmla="*/ 360340 h 403700"/>
                <a:gd name="connsiteX31" fmla="*/ 549631 w 2123165"/>
                <a:gd name="connsiteY31" fmla="*/ 360340 h 403700"/>
                <a:gd name="connsiteX32" fmla="*/ 515690 w 2123165"/>
                <a:gd name="connsiteY32" fmla="*/ 394281 h 403700"/>
                <a:gd name="connsiteX33" fmla="*/ 442127 w 2123165"/>
                <a:gd name="connsiteY33" fmla="*/ 394281 h 403700"/>
                <a:gd name="connsiteX34" fmla="*/ 129184 w 2123165"/>
                <a:gd name="connsiteY34" fmla="*/ 81189 h 403700"/>
                <a:gd name="connsiteX35" fmla="*/ 0 w 2123165"/>
                <a:gd name="connsiteY35" fmla="*/ 81189 h 403700"/>
                <a:gd name="connsiteX36" fmla="*/ 0 w 2123165"/>
                <a:gd name="connsiteY36" fmla="*/ 88665 h 403700"/>
                <a:gd name="connsiteX37" fmla="*/ 126044 w 2123165"/>
                <a:gd name="connsiteY37" fmla="*/ 88665 h 403700"/>
                <a:gd name="connsiteX38" fmla="*/ 439136 w 2123165"/>
                <a:gd name="connsiteY38" fmla="*/ 401607 h 40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23165" h="403700">
                  <a:moveTo>
                    <a:pt x="439136" y="401607"/>
                  </a:moveTo>
                  <a:lnTo>
                    <a:pt x="518830" y="401607"/>
                  </a:lnTo>
                  <a:lnTo>
                    <a:pt x="552771" y="367667"/>
                  </a:lnTo>
                  <a:lnTo>
                    <a:pt x="837006" y="367667"/>
                  </a:lnTo>
                  <a:lnTo>
                    <a:pt x="873937" y="404598"/>
                  </a:lnTo>
                  <a:lnTo>
                    <a:pt x="1294982" y="404598"/>
                  </a:lnTo>
                  <a:lnTo>
                    <a:pt x="1339538" y="360041"/>
                  </a:lnTo>
                  <a:lnTo>
                    <a:pt x="1623624" y="360041"/>
                  </a:lnTo>
                  <a:lnTo>
                    <a:pt x="1667732" y="404149"/>
                  </a:lnTo>
                  <a:lnTo>
                    <a:pt x="2016409" y="404149"/>
                  </a:lnTo>
                  <a:lnTo>
                    <a:pt x="2134230" y="286328"/>
                  </a:lnTo>
                  <a:lnTo>
                    <a:pt x="2134230" y="247752"/>
                  </a:lnTo>
                  <a:lnTo>
                    <a:pt x="2076516" y="190038"/>
                  </a:lnTo>
                  <a:lnTo>
                    <a:pt x="2076516" y="67582"/>
                  </a:lnTo>
                  <a:lnTo>
                    <a:pt x="2051098" y="42164"/>
                  </a:lnTo>
                  <a:cubicBezTo>
                    <a:pt x="2054387" y="37828"/>
                    <a:pt x="2056480" y="32296"/>
                    <a:pt x="2056480" y="26315"/>
                  </a:cubicBezTo>
                  <a:cubicBezTo>
                    <a:pt x="2056480" y="11812"/>
                    <a:pt x="2044668" y="0"/>
                    <a:pt x="2030165" y="0"/>
                  </a:cubicBezTo>
                  <a:cubicBezTo>
                    <a:pt x="2015662" y="0"/>
                    <a:pt x="2003850" y="11812"/>
                    <a:pt x="2003850" y="26315"/>
                  </a:cubicBezTo>
                  <a:cubicBezTo>
                    <a:pt x="2003850" y="40819"/>
                    <a:pt x="2015662" y="52631"/>
                    <a:pt x="2030165" y="52631"/>
                  </a:cubicBezTo>
                  <a:cubicBezTo>
                    <a:pt x="2035996" y="52631"/>
                    <a:pt x="2041528" y="50687"/>
                    <a:pt x="2045865" y="47397"/>
                  </a:cubicBezTo>
                  <a:lnTo>
                    <a:pt x="2069189" y="70722"/>
                  </a:lnTo>
                  <a:lnTo>
                    <a:pt x="2069189" y="193178"/>
                  </a:lnTo>
                  <a:lnTo>
                    <a:pt x="2126904" y="250892"/>
                  </a:lnTo>
                  <a:lnTo>
                    <a:pt x="2126904" y="283338"/>
                  </a:lnTo>
                  <a:lnTo>
                    <a:pt x="2013419" y="396823"/>
                  </a:lnTo>
                  <a:lnTo>
                    <a:pt x="1671021" y="396823"/>
                  </a:lnTo>
                  <a:lnTo>
                    <a:pt x="1626913" y="352715"/>
                  </a:lnTo>
                  <a:lnTo>
                    <a:pt x="1336548" y="352715"/>
                  </a:lnTo>
                  <a:lnTo>
                    <a:pt x="1291991" y="397271"/>
                  </a:lnTo>
                  <a:lnTo>
                    <a:pt x="877077" y="397271"/>
                  </a:lnTo>
                  <a:lnTo>
                    <a:pt x="840146" y="360340"/>
                  </a:lnTo>
                  <a:lnTo>
                    <a:pt x="549631" y="360340"/>
                  </a:lnTo>
                  <a:lnTo>
                    <a:pt x="515690" y="394281"/>
                  </a:lnTo>
                  <a:lnTo>
                    <a:pt x="442127" y="394281"/>
                  </a:lnTo>
                  <a:lnTo>
                    <a:pt x="129184" y="81189"/>
                  </a:lnTo>
                  <a:lnTo>
                    <a:pt x="0" y="81189"/>
                  </a:lnTo>
                  <a:lnTo>
                    <a:pt x="0" y="88665"/>
                  </a:lnTo>
                  <a:lnTo>
                    <a:pt x="126044" y="88665"/>
                  </a:lnTo>
                  <a:lnTo>
                    <a:pt x="439136" y="401607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3132380" y="-1041263"/>
              <a:ext cx="2257732" cy="463508"/>
            </a:xfrm>
            <a:custGeom>
              <a:avLst/>
              <a:gdLst>
                <a:gd name="connsiteX0" fmla="*/ 2258032 w 2257732"/>
                <a:gd name="connsiteY0" fmla="*/ 445865 h 463507"/>
                <a:gd name="connsiteX1" fmla="*/ 2231716 w 2257732"/>
                <a:gd name="connsiteY1" fmla="*/ 419549 h 463507"/>
                <a:gd name="connsiteX2" fmla="*/ 2216017 w 2257732"/>
                <a:gd name="connsiteY2" fmla="*/ 424932 h 463507"/>
                <a:gd name="connsiteX3" fmla="*/ 2104327 w 2257732"/>
                <a:gd name="connsiteY3" fmla="*/ 313242 h 463507"/>
                <a:gd name="connsiteX4" fmla="*/ 1992636 w 2257732"/>
                <a:gd name="connsiteY4" fmla="*/ 313242 h 463507"/>
                <a:gd name="connsiteX5" fmla="*/ 1905915 w 2257732"/>
                <a:gd name="connsiteY5" fmla="*/ 226521 h 463507"/>
                <a:gd name="connsiteX6" fmla="*/ 1855826 w 2257732"/>
                <a:gd name="connsiteY6" fmla="*/ 226521 h 463507"/>
                <a:gd name="connsiteX7" fmla="*/ 1705560 w 2257732"/>
                <a:gd name="connsiteY7" fmla="*/ 76255 h 463507"/>
                <a:gd name="connsiteX8" fmla="*/ 1705560 w 2257732"/>
                <a:gd name="connsiteY8" fmla="*/ 31698 h 463507"/>
                <a:gd name="connsiteX9" fmla="*/ 1676254 w 2257732"/>
                <a:gd name="connsiteY9" fmla="*/ 2392 h 463507"/>
                <a:gd name="connsiteX10" fmla="*/ 1144416 w 2257732"/>
                <a:gd name="connsiteY10" fmla="*/ 2392 h 463507"/>
                <a:gd name="connsiteX11" fmla="*/ 1044388 w 2257732"/>
                <a:gd name="connsiteY11" fmla="*/ 102420 h 463507"/>
                <a:gd name="connsiteX12" fmla="*/ 687039 w 2257732"/>
                <a:gd name="connsiteY12" fmla="*/ 102420 h 463507"/>
                <a:gd name="connsiteX13" fmla="*/ 650406 w 2257732"/>
                <a:gd name="connsiteY13" fmla="*/ 65788 h 463507"/>
                <a:gd name="connsiteX14" fmla="*/ 529745 w 2257732"/>
                <a:gd name="connsiteY14" fmla="*/ 65788 h 463507"/>
                <a:gd name="connsiteX15" fmla="*/ 463957 w 2257732"/>
                <a:gd name="connsiteY15" fmla="*/ 0 h 463507"/>
                <a:gd name="connsiteX16" fmla="*/ 191085 w 2257732"/>
                <a:gd name="connsiteY16" fmla="*/ 0 h 463507"/>
                <a:gd name="connsiteX17" fmla="*/ 42912 w 2257732"/>
                <a:gd name="connsiteY17" fmla="*/ 148173 h 463507"/>
                <a:gd name="connsiteX18" fmla="*/ 0 w 2257732"/>
                <a:gd name="connsiteY18" fmla="*/ 148173 h 463507"/>
                <a:gd name="connsiteX19" fmla="*/ 0 w 2257732"/>
                <a:gd name="connsiteY19" fmla="*/ 155649 h 463507"/>
                <a:gd name="connsiteX20" fmla="*/ 45902 w 2257732"/>
                <a:gd name="connsiteY20" fmla="*/ 155649 h 463507"/>
                <a:gd name="connsiteX21" fmla="*/ 194075 w 2257732"/>
                <a:gd name="connsiteY21" fmla="*/ 7476 h 463507"/>
                <a:gd name="connsiteX22" fmla="*/ 460667 w 2257732"/>
                <a:gd name="connsiteY22" fmla="*/ 7476 h 463507"/>
                <a:gd name="connsiteX23" fmla="*/ 526455 w 2257732"/>
                <a:gd name="connsiteY23" fmla="*/ 73264 h 463507"/>
                <a:gd name="connsiteX24" fmla="*/ 647117 w 2257732"/>
                <a:gd name="connsiteY24" fmla="*/ 73264 h 463507"/>
                <a:gd name="connsiteX25" fmla="*/ 683749 w 2257732"/>
                <a:gd name="connsiteY25" fmla="*/ 109896 h 463507"/>
                <a:gd name="connsiteX26" fmla="*/ 1047379 w 2257732"/>
                <a:gd name="connsiteY26" fmla="*/ 109896 h 463507"/>
                <a:gd name="connsiteX27" fmla="*/ 1147407 w 2257732"/>
                <a:gd name="connsiteY27" fmla="*/ 9868 h 463507"/>
                <a:gd name="connsiteX28" fmla="*/ 1672815 w 2257732"/>
                <a:gd name="connsiteY28" fmla="*/ 9868 h 463507"/>
                <a:gd name="connsiteX29" fmla="*/ 1697785 w 2257732"/>
                <a:gd name="connsiteY29" fmla="*/ 34838 h 463507"/>
                <a:gd name="connsiteX30" fmla="*/ 1697785 w 2257732"/>
                <a:gd name="connsiteY30" fmla="*/ 79394 h 463507"/>
                <a:gd name="connsiteX31" fmla="*/ 1852537 w 2257732"/>
                <a:gd name="connsiteY31" fmla="*/ 234146 h 463507"/>
                <a:gd name="connsiteX32" fmla="*/ 1902626 w 2257732"/>
                <a:gd name="connsiteY32" fmla="*/ 234146 h 463507"/>
                <a:gd name="connsiteX33" fmla="*/ 1989347 w 2257732"/>
                <a:gd name="connsiteY33" fmla="*/ 320867 h 463507"/>
                <a:gd name="connsiteX34" fmla="*/ 2101037 w 2257732"/>
                <a:gd name="connsiteY34" fmla="*/ 320867 h 463507"/>
                <a:gd name="connsiteX35" fmla="*/ 2210634 w 2257732"/>
                <a:gd name="connsiteY35" fmla="*/ 430464 h 463507"/>
                <a:gd name="connsiteX36" fmla="*/ 2205252 w 2257732"/>
                <a:gd name="connsiteY36" fmla="*/ 446164 h 463507"/>
                <a:gd name="connsiteX37" fmla="*/ 2231567 w 2257732"/>
                <a:gd name="connsiteY37" fmla="*/ 472479 h 463507"/>
                <a:gd name="connsiteX38" fmla="*/ 2258032 w 2257732"/>
                <a:gd name="connsiteY38" fmla="*/ 445865 h 46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57732" h="463507">
                  <a:moveTo>
                    <a:pt x="2258032" y="445865"/>
                  </a:moveTo>
                  <a:cubicBezTo>
                    <a:pt x="2258032" y="431362"/>
                    <a:pt x="2246220" y="419549"/>
                    <a:pt x="2231716" y="419549"/>
                  </a:cubicBezTo>
                  <a:cubicBezTo>
                    <a:pt x="2225736" y="419549"/>
                    <a:pt x="2220353" y="421643"/>
                    <a:pt x="2216017" y="424932"/>
                  </a:cubicBezTo>
                  <a:lnTo>
                    <a:pt x="2104327" y="313242"/>
                  </a:lnTo>
                  <a:lnTo>
                    <a:pt x="1992636" y="313242"/>
                  </a:lnTo>
                  <a:lnTo>
                    <a:pt x="1905915" y="226521"/>
                  </a:lnTo>
                  <a:lnTo>
                    <a:pt x="1855826" y="226521"/>
                  </a:lnTo>
                  <a:lnTo>
                    <a:pt x="1705560" y="76255"/>
                  </a:lnTo>
                  <a:lnTo>
                    <a:pt x="1705560" y="31698"/>
                  </a:lnTo>
                  <a:lnTo>
                    <a:pt x="1676254" y="2392"/>
                  </a:lnTo>
                  <a:lnTo>
                    <a:pt x="1144416" y="2392"/>
                  </a:lnTo>
                  <a:lnTo>
                    <a:pt x="1044388" y="102420"/>
                  </a:lnTo>
                  <a:lnTo>
                    <a:pt x="687039" y="102420"/>
                  </a:lnTo>
                  <a:lnTo>
                    <a:pt x="650406" y="65788"/>
                  </a:lnTo>
                  <a:lnTo>
                    <a:pt x="529745" y="65788"/>
                  </a:lnTo>
                  <a:lnTo>
                    <a:pt x="463957" y="0"/>
                  </a:lnTo>
                  <a:lnTo>
                    <a:pt x="191085" y="0"/>
                  </a:lnTo>
                  <a:lnTo>
                    <a:pt x="42912" y="148173"/>
                  </a:lnTo>
                  <a:lnTo>
                    <a:pt x="0" y="148173"/>
                  </a:lnTo>
                  <a:lnTo>
                    <a:pt x="0" y="155649"/>
                  </a:lnTo>
                  <a:lnTo>
                    <a:pt x="45902" y="155649"/>
                  </a:lnTo>
                  <a:lnTo>
                    <a:pt x="194075" y="7476"/>
                  </a:lnTo>
                  <a:lnTo>
                    <a:pt x="460667" y="7476"/>
                  </a:lnTo>
                  <a:lnTo>
                    <a:pt x="526455" y="73264"/>
                  </a:lnTo>
                  <a:lnTo>
                    <a:pt x="647117" y="73264"/>
                  </a:lnTo>
                  <a:lnTo>
                    <a:pt x="683749" y="109896"/>
                  </a:lnTo>
                  <a:lnTo>
                    <a:pt x="1047379" y="109896"/>
                  </a:lnTo>
                  <a:lnTo>
                    <a:pt x="1147407" y="9868"/>
                  </a:lnTo>
                  <a:lnTo>
                    <a:pt x="1672815" y="9868"/>
                  </a:lnTo>
                  <a:lnTo>
                    <a:pt x="1697785" y="34838"/>
                  </a:lnTo>
                  <a:lnTo>
                    <a:pt x="1697785" y="79394"/>
                  </a:lnTo>
                  <a:lnTo>
                    <a:pt x="1852537" y="234146"/>
                  </a:lnTo>
                  <a:lnTo>
                    <a:pt x="1902626" y="234146"/>
                  </a:lnTo>
                  <a:lnTo>
                    <a:pt x="1989347" y="320867"/>
                  </a:lnTo>
                  <a:lnTo>
                    <a:pt x="2101037" y="320867"/>
                  </a:lnTo>
                  <a:lnTo>
                    <a:pt x="2210634" y="430464"/>
                  </a:lnTo>
                  <a:cubicBezTo>
                    <a:pt x="2207345" y="434800"/>
                    <a:pt x="2205252" y="440332"/>
                    <a:pt x="2205252" y="446164"/>
                  </a:cubicBezTo>
                  <a:cubicBezTo>
                    <a:pt x="2205252" y="460667"/>
                    <a:pt x="2217064" y="472479"/>
                    <a:pt x="2231567" y="472479"/>
                  </a:cubicBezTo>
                  <a:cubicBezTo>
                    <a:pt x="2246070" y="472479"/>
                    <a:pt x="2258032" y="460368"/>
                    <a:pt x="2258032" y="44586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3132380" y="-1935385"/>
              <a:ext cx="1719465" cy="313989"/>
            </a:xfrm>
            <a:custGeom>
              <a:avLst/>
              <a:gdLst>
                <a:gd name="connsiteX0" fmla="*/ 201402 w 1719465"/>
                <a:gd name="connsiteY0" fmla="*/ 63246 h 313989"/>
                <a:gd name="connsiteX1" fmla="*/ 233249 w 1719465"/>
                <a:gd name="connsiteY1" fmla="*/ 63246 h 313989"/>
                <a:gd name="connsiteX2" fmla="*/ 406541 w 1719465"/>
                <a:gd name="connsiteY2" fmla="*/ 236539 h 313989"/>
                <a:gd name="connsiteX3" fmla="*/ 406541 w 1719465"/>
                <a:gd name="connsiteY3" fmla="*/ 268984 h 313989"/>
                <a:gd name="connsiteX4" fmla="*/ 449902 w 1719465"/>
                <a:gd name="connsiteY4" fmla="*/ 312345 h 313989"/>
                <a:gd name="connsiteX5" fmla="*/ 505373 w 1719465"/>
                <a:gd name="connsiteY5" fmla="*/ 312345 h 313989"/>
                <a:gd name="connsiteX6" fmla="*/ 535427 w 1719465"/>
                <a:gd name="connsiteY6" fmla="*/ 282291 h 313989"/>
                <a:gd name="connsiteX7" fmla="*/ 853453 w 1719465"/>
                <a:gd name="connsiteY7" fmla="*/ 282291 h 313989"/>
                <a:gd name="connsiteX8" fmla="*/ 896963 w 1719465"/>
                <a:gd name="connsiteY8" fmla="*/ 325801 h 313989"/>
                <a:gd name="connsiteX9" fmla="*/ 1243697 w 1719465"/>
                <a:gd name="connsiteY9" fmla="*/ 325801 h 313989"/>
                <a:gd name="connsiteX10" fmla="*/ 1291692 w 1719465"/>
                <a:gd name="connsiteY10" fmla="*/ 277806 h 313989"/>
                <a:gd name="connsiteX11" fmla="*/ 1374675 w 1719465"/>
                <a:gd name="connsiteY11" fmla="*/ 277806 h 313989"/>
                <a:gd name="connsiteX12" fmla="*/ 1607625 w 1719465"/>
                <a:gd name="connsiteY12" fmla="*/ 44856 h 313989"/>
                <a:gd name="connsiteX13" fmla="*/ 1667582 w 1719465"/>
                <a:gd name="connsiteY13" fmla="*/ 44856 h 313989"/>
                <a:gd name="connsiteX14" fmla="*/ 1693449 w 1719465"/>
                <a:gd name="connsiteY14" fmla="*/ 66386 h 313989"/>
                <a:gd name="connsiteX15" fmla="*/ 1719764 w 1719465"/>
                <a:gd name="connsiteY15" fmla="*/ 40071 h 313989"/>
                <a:gd name="connsiteX16" fmla="*/ 1693449 w 1719465"/>
                <a:gd name="connsiteY16" fmla="*/ 13756 h 313989"/>
                <a:gd name="connsiteX17" fmla="*/ 1667283 w 1719465"/>
                <a:gd name="connsiteY17" fmla="*/ 37380 h 313989"/>
                <a:gd name="connsiteX18" fmla="*/ 1604485 w 1719465"/>
                <a:gd name="connsiteY18" fmla="*/ 37380 h 313989"/>
                <a:gd name="connsiteX19" fmla="*/ 1371535 w 1719465"/>
                <a:gd name="connsiteY19" fmla="*/ 270330 h 313989"/>
                <a:gd name="connsiteX20" fmla="*/ 1288552 w 1719465"/>
                <a:gd name="connsiteY20" fmla="*/ 270330 h 313989"/>
                <a:gd name="connsiteX21" fmla="*/ 1240557 w 1719465"/>
                <a:gd name="connsiteY21" fmla="*/ 318325 h 313989"/>
                <a:gd name="connsiteX22" fmla="*/ 900103 w 1719465"/>
                <a:gd name="connsiteY22" fmla="*/ 318325 h 313989"/>
                <a:gd name="connsiteX23" fmla="*/ 856593 w 1719465"/>
                <a:gd name="connsiteY23" fmla="*/ 274815 h 313989"/>
                <a:gd name="connsiteX24" fmla="*/ 532287 w 1719465"/>
                <a:gd name="connsiteY24" fmla="*/ 274815 h 313989"/>
                <a:gd name="connsiteX25" fmla="*/ 502233 w 1719465"/>
                <a:gd name="connsiteY25" fmla="*/ 304869 h 313989"/>
                <a:gd name="connsiteX26" fmla="*/ 452892 w 1719465"/>
                <a:gd name="connsiteY26" fmla="*/ 304869 h 313989"/>
                <a:gd name="connsiteX27" fmla="*/ 414017 w 1719465"/>
                <a:gd name="connsiteY27" fmla="*/ 265994 h 313989"/>
                <a:gd name="connsiteX28" fmla="*/ 414017 w 1719465"/>
                <a:gd name="connsiteY28" fmla="*/ 233548 h 313989"/>
                <a:gd name="connsiteX29" fmla="*/ 236389 w 1719465"/>
                <a:gd name="connsiteY29" fmla="*/ 55920 h 313989"/>
                <a:gd name="connsiteX30" fmla="*/ 204542 w 1719465"/>
                <a:gd name="connsiteY30" fmla="*/ 55920 h 313989"/>
                <a:gd name="connsiteX31" fmla="*/ 148622 w 1719465"/>
                <a:gd name="connsiteY31" fmla="*/ 0 h 313989"/>
                <a:gd name="connsiteX32" fmla="*/ 0 w 1719465"/>
                <a:gd name="connsiteY32" fmla="*/ 0 h 313989"/>
                <a:gd name="connsiteX33" fmla="*/ 0 w 1719465"/>
                <a:gd name="connsiteY33" fmla="*/ 7476 h 313989"/>
                <a:gd name="connsiteX34" fmla="*/ 145631 w 1719465"/>
                <a:gd name="connsiteY34" fmla="*/ 7476 h 313989"/>
                <a:gd name="connsiteX35" fmla="*/ 201402 w 1719465"/>
                <a:gd name="connsiteY35" fmla="*/ 63246 h 313989"/>
                <a:gd name="connsiteX36" fmla="*/ 1693449 w 1719465"/>
                <a:gd name="connsiteY36" fmla="*/ 21082 h 313989"/>
                <a:gd name="connsiteX37" fmla="*/ 1712288 w 1719465"/>
                <a:gd name="connsiteY37" fmla="*/ 39922 h 313989"/>
                <a:gd name="connsiteX38" fmla="*/ 1693449 w 1719465"/>
                <a:gd name="connsiteY38" fmla="*/ 58761 h 313989"/>
                <a:gd name="connsiteX39" fmla="*/ 1674610 w 1719465"/>
                <a:gd name="connsiteY39" fmla="*/ 39922 h 313989"/>
                <a:gd name="connsiteX40" fmla="*/ 1693449 w 1719465"/>
                <a:gd name="connsiteY40" fmla="*/ 21082 h 31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9465" h="313989">
                  <a:moveTo>
                    <a:pt x="201402" y="63246"/>
                  </a:moveTo>
                  <a:lnTo>
                    <a:pt x="233249" y="63246"/>
                  </a:lnTo>
                  <a:lnTo>
                    <a:pt x="406541" y="236539"/>
                  </a:lnTo>
                  <a:lnTo>
                    <a:pt x="406541" y="268984"/>
                  </a:lnTo>
                  <a:lnTo>
                    <a:pt x="449902" y="312345"/>
                  </a:lnTo>
                  <a:lnTo>
                    <a:pt x="505373" y="312345"/>
                  </a:lnTo>
                  <a:lnTo>
                    <a:pt x="535427" y="282291"/>
                  </a:lnTo>
                  <a:lnTo>
                    <a:pt x="853453" y="282291"/>
                  </a:lnTo>
                  <a:lnTo>
                    <a:pt x="896963" y="325801"/>
                  </a:lnTo>
                  <a:lnTo>
                    <a:pt x="1243697" y="325801"/>
                  </a:lnTo>
                  <a:lnTo>
                    <a:pt x="1291692" y="277806"/>
                  </a:lnTo>
                  <a:lnTo>
                    <a:pt x="1374675" y="277806"/>
                  </a:lnTo>
                  <a:lnTo>
                    <a:pt x="1607625" y="44856"/>
                  </a:lnTo>
                  <a:lnTo>
                    <a:pt x="1667582" y="44856"/>
                  </a:lnTo>
                  <a:cubicBezTo>
                    <a:pt x="1669825" y="57116"/>
                    <a:pt x="1680590" y="66386"/>
                    <a:pt x="1693449" y="66386"/>
                  </a:cubicBezTo>
                  <a:cubicBezTo>
                    <a:pt x="1707952" y="66386"/>
                    <a:pt x="1719764" y="54574"/>
                    <a:pt x="1719764" y="40071"/>
                  </a:cubicBezTo>
                  <a:cubicBezTo>
                    <a:pt x="1719764" y="25568"/>
                    <a:pt x="1707952" y="13756"/>
                    <a:pt x="1693449" y="13756"/>
                  </a:cubicBezTo>
                  <a:cubicBezTo>
                    <a:pt x="1679843" y="13756"/>
                    <a:pt x="1668778" y="24222"/>
                    <a:pt x="1667283" y="37380"/>
                  </a:cubicBezTo>
                  <a:lnTo>
                    <a:pt x="1604485" y="37380"/>
                  </a:lnTo>
                  <a:lnTo>
                    <a:pt x="1371535" y="270330"/>
                  </a:lnTo>
                  <a:lnTo>
                    <a:pt x="1288552" y="270330"/>
                  </a:lnTo>
                  <a:lnTo>
                    <a:pt x="1240557" y="318325"/>
                  </a:lnTo>
                  <a:lnTo>
                    <a:pt x="900103" y="318325"/>
                  </a:lnTo>
                  <a:lnTo>
                    <a:pt x="856593" y="274815"/>
                  </a:lnTo>
                  <a:lnTo>
                    <a:pt x="532287" y="274815"/>
                  </a:lnTo>
                  <a:lnTo>
                    <a:pt x="502233" y="304869"/>
                  </a:lnTo>
                  <a:lnTo>
                    <a:pt x="452892" y="304869"/>
                  </a:lnTo>
                  <a:lnTo>
                    <a:pt x="414017" y="265994"/>
                  </a:lnTo>
                  <a:lnTo>
                    <a:pt x="414017" y="233548"/>
                  </a:lnTo>
                  <a:lnTo>
                    <a:pt x="236389" y="55920"/>
                  </a:lnTo>
                  <a:lnTo>
                    <a:pt x="204542" y="55920"/>
                  </a:lnTo>
                  <a:lnTo>
                    <a:pt x="148622" y="0"/>
                  </a:lnTo>
                  <a:lnTo>
                    <a:pt x="0" y="0"/>
                  </a:lnTo>
                  <a:lnTo>
                    <a:pt x="0" y="7476"/>
                  </a:lnTo>
                  <a:lnTo>
                    <a:pt x="145631" y="7476"/>
                  </a:lnTo>
                  <a:lnTo>
                    <a:pt x="201402" y="63246"/>
                  </a:lnTo>
                  <a:close/>
                  <a:moveTo>
                    <a:pt x="1693449" y="21082"/>
                  </a:moveTo>
                  <a:cubicBezTo>
                    <a:pt x="1703915" y="21082"/>
                    <a:pt x="1712288" y="29605"/>
                    <a:pt x="1712288" y="39922"/>
                  </a:cubicBezTo>
                  <a:cubicBezTo>
                    <a:pt x="1712288" y="50238"/>
                    <a:pt x="1703766" y="58761"/>
                    <a:pt x="1693449" y="58761"/>
                  </a:cubicBezTo>
                  <a:cubicBezTo>
                    <a:pt x="1682983" y="58761"/>
                    <a:pt x="1674610" y="50238"/>
                    <a:pt x="1674610" y="39922"/>
                  </a:cubicBezTo>
                  <a:cubicBezTo>
                    <a:pt x="1674610" y="29605"/>
                    <a:pt x="1683132" y="21082"/>
                    <a:pt x="1693449" y="21082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3132380" y="-1009864"/>
              <a:ext cx="2168021" cy="568171"/>
            </a:xfrm>
            <a:custGeom>
              <a:avLst/>
              <a:gdLst>
                <a:gd name="connsiteX0" fmla="*/ 2148434 w 2168021"/>
                <a:gd name="connsiteY0" fmla="*/ 529595 h 568170"/>
                <a:gd name="connsiteX1" fmla="*/ 2132884 w 2168021"/>
                <a:gd name="connsiteY1" fmla="*/ 534828 h 568170"/>
                <a:gd name="connsiteX2" fmla="*/ 2108214 w 2168021"/>
                <a:gd name="connsiteY2" fmla="*/ 510158 h 568170"/>
                <a:gd name="connsiteX3" fmla="*/ 2108214 w 2168021"/>
                <a:gd name="connsiteY3" fmla="*/ 346883 h 568170"/>
                <a:gd name="connsiteX4" fmla="*/ 2073974 w 2168021"/>
                <a:gd name="connsiteY4" fmla="*/ 312643 h 568170"/>
                <a:gd name="connsiteX5" fmla="*/ 1971255 w 2168021"/>
                <a:gd name="connsiteY5" fmla="*/ 312643 h 568170"/>
                <a:gd name="connsiteX6" fmla="*/ 1877506 w 2168021"/>
                <a:gd name="connsiteY6" fmla="*/ 218895 h 568170"/>
                <a:gd name="connsiteX7" fmla="*/ 1829661 w 2168021"/>
                <a:gd name="connsiteY7" fmla="*/ 218895 h 568170"/>
                <a:gd name="connsiteX8" fmla="*/ 1726941 w 2168021"/>
                <a:gd name="connsiteY8" fmla="*/ 116176 h 568170"/>
                <a:gd name="connsiteX9" fmla="*/ 1615101 w 2168021"/>
                <a:gd name="connsiteY9" fmla="*/ 116176 h 568170"/>
                <a:gd name="connsiteX10" fmla="*/ 1584001 w 2168021"/>
                <a:gd name="connsiteY10" fmla="*/ 147276 h 568170"/>
                <a:gd name="connsiteX11" fmla="*/ 1095972 w 2168021"/>
                <a:gd name="connsiteY11" fmla="*/ 147276 h 568170"/>
                <a:gd name="connsiteX12" fmla="*/ 1061583 w 2168021"/>
                <a:gd name="connsiteY12" fmla="*/ 112886 h 568170"/>
                <a:gd name="connsiteX13" fmla="*/ 679114 w 2168021"/>
                <a:gd name="connsiteY13" fmla="*/ 112886 h 568170"/>
                <a:gd name="connsiteX14" fmla="*/ 630371 w 2168021"/>
                <a:gd name="connsiteY14" fmla="*/ 64143 h 568170"/>
                <a:gd name="connsiteX15" fmla="*/ 502981 w 2168021"/>
                <a:gd name="connsiteY15" fmla="*/ 64143 h 568170"/>
                <a:gd name="connsiteX16" fmla="*/ 438837 w 2168021"/>
                <a:gd name="connsiteY16" fmla="*/ 0 h 568170"/>
                <a:gd name="connsiteX17" fmla="*/ 201103 w 2168021"/>
                <a:gd name="connsiteY17" fmla="*/ 0 h 568170"/>
                <a:gd name="connsiteX18" fmla="*/ 56219 w 2168021"/>
                <a:gd name="connsiteY18" fmla="*/ 144883 h 568170"/>
                <a:gd name="connsiteX19" fmla="*/ 0 w 2168021"/>
                <a:gd name="connsiteY19" fmla="*/ 144883 h 568170"/>
                <a:gd name="connsiteX20" fmla="*/ 0 w 2168021"/>
                <a:gd name="connsiteY20" fmla="*/ 152359 h 568170"/>
                <a:gd name="connsiteX21" fmla="*/ 59209 w 2168021"/>
                <a:gd name="connsiteY21" fmla="*/ 152359 h 568170"/>
                <a:gd name="connsiteX22" fmla="*/ 204093 w 2168021"/>
                <a:gd name="connsiteY22" fmla="*/ 7476 h 568170"/>
                <a:gd name="connsiteX23" fmla="*/ 435698 w 2168021"/>
                <a:gd name="connsiteY23" fmla="*/ 7476 h 568170"/>
                <a:gd name="connsiteX24" fmla="*/ 499841 w 2168021"/>
                <a:gd name="connsiteY24" fmla="*/ 71619 h 568170"/>
                <a:gd name="connsiteX25" fmla="*/ 627231 w 2168021"/>
                <a:gd name="connsiteY25" fmla="*/ 71619 h 568170"/>
                <a:gd name="connsiteX26" fmla="*/ 675974 w 2168021"/>
                <a:gd name="connsiteY26" fmla="*/ 120362 h 568170"/>
                <a:gd name="connsiteX27" fmla="*/ 1058443 w 2168021"/>
                <a:gd name="connsiteY27" fmla="*/ 120362 h 568170"/>
                <a:gd name="connsiteX28" fmla="*/ 1092832 w 2168021"/>
                <a:gd name="connsiteY28" fmla="*/ 154752 h 568170"/>
                <a:gd name="connsiteX29" fmla="*/ 1586842 w 2168021"/>
                <a:gd name="connsiteY29" fmla="*/ 154752 h 568170"/>
                <a:gd name="connsiteX30" fmla="*/ 1617942 w 2168021"/>
                <a:gd name="connsiteY30" fmla="*/ 123652 h 568170"/>
                <a:gd name="connsiteX31" fmla="*/ 1723652 w 2168021"/>
                <a:gd name="connsiteY31" fmla="*/ 123652 h 568170"/>
                <a:gd name="connsiteX32" fmla="*/ 1826371 w 2168021"/>
                <a:gd name="connsiteY32" fmla="*/ 226371 h 568170"/>
                <a:gd name="connsiteX33" fmla="*/ 1874217 w 2168021"/>
                <a:gd name="connsiteY33" fmla="*/ 226371 h 568170"/>
                <a:gd name="connsiteX34" fmla="*/ 1967965 w 2168021"/>
                <a:gd name="connsiteY34" fmla="*/ 320119 h 568170"/>
                <a:gd name="connsiteX35" fmla="*/ 2070685 w 2168021"/>
                <a:gd name="connsiteY35" fmla="*/ 320119 h 568170"/>
                <a:gd name="connsiteX36" fmla="*/ 2100439 w 2168021"/>
                <a:gd name="connsiteY36" fmla="*/ 349874 h 568170"/>
                <a:gd name="connsiteX37" fmla="*/ 2100439 w 2168021"/>
                <a:gd name="connsiteY37" fmla="*/ 513148 h 568170"/>
                <a:gd name="connsiteX38" fmla="*/ 2127352 w 2168021"/>
                <a:gd name="connsiteY38" fmla="*/ 540061 h 568170"/>
                <a:gd name="connsiteX39" fmla="*/ 2121820 w 2168021"/>
                <a:gd name="connsiteY39" fmla="*/ 556060 h 568170"/>
                <a:gd name="connsiteX40" fmla="*/ 2148135 w 2168021"/>
                <a:gd name="connsiteY40" fmla="*/ 582375 h 568170"/>
                <a:gd name="connsiteX41" fmla="*/ 2174451 w 2168021"/>
                <a:gd name="connsiteY41" fmla="*/ 556060 h 568170"/>
                <a:gd name="connsiteX42" fmla="*/ 2148434 w 2168021"/>
                <a:gd name="connsiteY42" fmla="*/ 529595 h 568170"/>
                <a:gd name="connsiteX43" fmla="*/ 2148434 w 2168021"/>
                <a:gd name="connsiteY43" fmla="*/ 574899 h 568170"/>
                <a:gd name="connsiteX44" fmla="*/ 2129595 w 2168021"/>
                <a:gd name="connsiteY44" fmla="*/ 556060 h 568170"/>
                <a:gd name="connsiteX45" fmla="*/ 2148434 w 2168021"/>
                <a:gd name="connsiteY45" fmla="*/ 537221 h 568170"/>
                <a:gd name="connsiteX46" fmla="*/ 2167274 w 2168021"/>
                <a:gd name="connsiteY46" fmla="*/ 556060 h 568170"/>
                <a:gd name="connsiteX47" fmla="*/ 2148434 w 2168021"/>
                <a:gd name="connsiteY47" fmla="*/ 574899 h 568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168021" h="568170">
                  <a:moveTo>
                    <a:pt x="2148434" y="529595"/>
                  </a:moveTo>
                  <a:cubicBezTo>
                    <a:pt x="2142603" y="529595"/>
                    <a:pt x="2137221" y="531539"/>
                    <a:pt x="2132884" y="534828"/>
                  </a:cubicBezTo>
                  <a:lnTo>
                    <a:pt x="2108214" y="510158"/>
                  </a:lnTo>
                  <a:lnTo>
                    <a:pt x="2108214" y="346883"/>
                  </a:lnTo>
                  <a:lnTo>
                    <a:pt x="2073974" y="312643"/>
                  </a:lnTo>
                  <a:lnTo>
                    <a:pt x="1971255" y="312643"/>
                  </a:lnTo>
                  <a:lnTo>
                    <a:pt x="1877506" y="218895"/>
                  </a:lnTo>
                  <a:lnTo>
                    <a:pt x="1829661" y="218895"/>
                  </a:lnTo>
                  <a:lnTo>
                    <a:pt x="1726941" y="116176"/>
                  </a:lnTo>
                  <a:lnTo>
                    <a:pt x="1615101" y="116176"/>
                  </a:lnTo>
                  <a:lnTo>
                    <a:pt x="1584001" y="147276"/>
                  </a:lnTo>
                  <a:lnTo>
                    <a:pt x="1095972" y="147276"/>
                  </a:lnTo>
                  <a:lnTo>
                    <a:pt x="1061583" y="112886"/>
                  </a:lnTo>
                  <a:lnTo>
                    <a:pt x="679114" y="112886"/>
                  </a:lnTo>
                  <a:lnTo>
                    <a:pt x="630371" y="64143"/>
                  </a:lnTo>
                  <a:lnTo>
                    <a:pt x="502981" y="64143"/>
                  </a:lnTo>
                  <a:lnTo>
                    <a:pt x="438837" y="0"/>
                  </a:lnTo>
                  <a:lnTo>
                    <a:pt x="201103" y="0"/>
                  </a:lnTo>
                  <a:lnTo>
                    <a:pt x="56219" y="144883"/>
                  </a:lnTo>
                  <a:lnTo>
                    <a:pt x="0" y="144883"/>
                  </a:lnTo>
                  <a:lnTo>
                    <a:pt x="0" y="152359"/>
                  </a:lnTo>
                  <a:lnTo>
                    <a:pt x="59209" y="152359"/>
                  </a:lnTo>
                  <a:lnTo>
                    <a:pt x="204093" y="7476"/>
                  </a:lnTo>
                  <a:lnTo>
                    <a:pt x="435698" y="7476"/>
                  </a:lnTo>
                  <a:lnTo>
                    <a:pt x="499841" y="71619"/>
                  </a:lnTo>
                  <a:lnTo>
                    <a:pt x="627231" y="71619"/>
                  </a:lnTo>
                  <a:lnTo>
                    <a:pt x="675974" y="120362"/>
                  </a:lnTo>
                  <a:lnTo>
                    <a:pt x="1058443" y="120362"/>
                  </a:lnTo>
                  <a:lnTo>
                    <a:pt x="1092832" y="154752"/>
                  </a:lnTo>
                  <a:lnTo>
                    <a:pt x="1586842" y="154752"/>
                  </a:lnTo>
                  <a:lnTo>
                    <a:pt x="1617942" y="123652"/>
                  </a:lnTo>
                  <a:lnTo>
                    <a:pt x="1723652" y="123652"/>
                  </a:lnTo>
                  <a:lnTo>
                    <a:pt x="1826371" y="226371"/>
                  </a:lnTo>
                  <a:lnTo>
                    <a:pt x="1874217" y="226371"/>
                  </a:lnTo>
                  <a:lnTo>
                    <a:pt x="1967965" y="320119"/>
                  </a:lnTo>
                  <a:lnTo>
                    <a:pt x="2070685" y="320119"/>
                  </a:lnTo>
                  <a:lnTo>
                    <a:pt x="2100439" y="349874"/>
                  </a:lnTo>
                  <a:lnTo>
                    <a:pt x="2100439" y="513148"/>
                  </a:lnTo>
                  <a:lnTo>
                    <a:pt x="2127352" y="540061"/>
                  </a:lnTo>
                  <a:cubicBezTo>
                    <a:pt x="2123913" y="544547"/>
                    <a:pt x="2121820" y="549930"/>
                    <a:pt x="2121820" y="556060"/>
                  </a:cubicBezTo>
                  <a:cubicBezTo>
                    <a:pt x="2121820" y="570563"/>
                    <a:pt x="2133632" y="582375"/>
                    <a:pt x="2148135" y="582375"/>
                  </a:cubicBezTo>
                  <a:cubicBezTo>
                    <a:pt x="2162639" y="582375"/>
                    <a:pt x="2174451" y="570563"/>
                    <a:pt x="2174451" y="556060"/>
                  </a:cubicBezTo>
                  <a:cubicBezTo>
                    <a:pt x="2174451" y="541557"/>
                    <a:pt x="2162938" y="529595"/>
                    <a:pt x="2148434" y="529595"/>
                  </a:cubicBezTo>
                  <a:close/>
                  <a:moveTo>
                    <a:pt x="2148434" y="574899"/>
                  </a:moveTo>
                  <a:cubicBezTo>
                    <a:pt x="2137968" y="574899"/>
                    <a:pt x="2129595" y="566377"/>
                    <a:pt x="2129595" y="556060"/>
                  </a:cubicBezTo>
                  <a:cubicBezTo>
                    <a:pt x="2129595" y="545594"/>
                    <a:pt x="2138118" y="537221"/>
                    <a:pt x="2148434" y="537221"/>
                  </a:cubicBezTo>
                  <a:cubicBezTo>
                    <a:pt x="2158901" y="537221"/>
                    <a:pt x="2167274" y="545743"/>
                    <a:pt x="2167274" y="556060"/>
                  </a:cubicBezTo>
                  <a:cubicBezTo>
                    <a:pt x="2167274" y="566377"/>
                    <a:pt x="2158901" y="574899"/>
                    <a:pt x="2148434" y="574899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3132380" y="-971289"/>
              <a:ext cx="2018503" cy="388749"/>
            </a:xfrm>
            <a:custGeom>
              <a:avLst/>
              <a:gdLst>
                <a:gd name="connsiteX0" fmla="*/ 2000112 w 2018502"/>
                <a:gd name="connsiteY0" fmla="*/ 325801 h 388748"/>
                <a:gd name="connsiteX1" fmla="*/ 1974245 w 2018502"/>
                <a:gd name="connsiteY1" fmla="*/ 347332 h 388748"/>
                <a:gd name="connsiteX2" fmla="*/ 1940753 w 2018502"/>
                <a:gd name="connsiteY2" fmla="*/ 347332 h 388748"/>
                <a:gd name="connsiteX3" fmla="*/ 1902775 w 2018502"/>
                <a:gd name="connsiteY3" fmla="*/ 385310 h 388748"/>
                <a:gd name="connsiteX4" fmla="*/ 1853135 w 2018502"/>
                <a:gd name="connsiteY4" fmla="*/ 385310 h 388748"/>
                <a:gd name="connsiteX5" fmla="*/ 1618092 w 2018502"/>
                <a:gd name="connsiteY5" fmla="*/ 150565 h 388748"/>
                <a:gd name="connsiteX6" fmla="*/ 1068311 w 2018502"/>
                <a:gd name="connsiteY6" fmla="*/ 150565 h 388748"/>
                <a:gd name="connsiteX7" fmla="*/ 1023306 w 2018502"/>
                <a:gd name="connsiteY7" fmla="*/ 105560 h 388748"/>
                <a:gd name="connsiteX8" fmla="*/ 649509 w 2018502"/>
                <a:gd name="connsiteY8" fmla="*/ 105560 h 388748"/>
                <a:gd name="connsiteX9" fmla="*/ 610335 w 2018502"/>
                <a:gd name="connsiteY9" fmla="*/ 66386 h 388748"/>
                <a:gd name="connsiteX10" fmla="*/ 486982 w 2018502"/>
                <a:gd name="connsiteY10" fmla="*/ 66386 h 388748"/>
                <a:gd name="connsiteX11" fmla="*/ 420596 w 2018502"/>
                <a:gd name="connsiteY11" fmla="*/ 0 h 388748"/>
                <a:gd name="connsiteX12" fmla="*/ 228016 w 2018502"/>
                <a:gd name="connsiteY12" fmla="*/ 0 h 388748"/>
                <a:gd name="connsiteX13" fmla="*/ 32296 w 2018502"/>
                <a:gd name="connsiteY13" fmla="*/ 195720 h 388748"/>
                <a:gd name="connsiteX14" fmla="*/ 0 w 2018502"/>
                <a:gd name="connsiteY14" fmla="*/ 195720 h 388748"/>
                <a:gd name="connsiteX15" fmla="*/ 0 w 2018502"/>
                <a:gd name="connsiteY15" fmla="*/ 203196 h 388748"/>
                <a:gd name="connsiteX16" fmla="*/ 35436 w 2018502"/>
                <a:gd name="connsiteY16" fmla="*/ 203196 h 388748"/>
                <a:gd name="connsiteX17" fmla="*/ 231006 w 2018502"/>
                <a:gd name="connsiteY17" fmla="*/ 7626 h 388748"/>
                <a:gd name="connsiteX18" fmla="*/ 417456 w 2018502"/>
                <a:gd name="connsiteY18" fmla="*/ 7626 h 388748"/>
                <a:gd name="connsiteX19" fmla="*/ 483843 w 2018502"/>
                <a:gd name="connsiteY19" fmla="*/ 74012 h 388748"/>
                <a:gd name="connsiteX20" fmla="*/ 607196 w 2018502"/>
                <a:gd name="connsiteY20" fmla="*/ 74012 h 388748"/>
                <a:gd name="connsiteX21" fmla="*/ 646369 w 2018502"/>
                <a:gd name="connsiteY21" fmla="*/ 113186 h 388748"/>
                <a:gd name="connsiteX22" fmla="*/ 1020166 w 2018502"/>
                <a:gd name="connsiteY22" fmla="*/ 113186 h 388748"/>
                <a:gd name="connsiteX23" fmla="*/ 1065171 w 2018502"/>
                <a:gd name="connsiteY23" fmla="*/ 158191 h 388748"/>
                <a:gd name="connsiteX24" fmla="*/ 1614952 w 2018502"/>
                <a:gd name="connsiteY24" fmla="*/ 158191 h 388748"/>
                <a:gd name="connsiteX25" fmla="*/ 1849846 w 2018502"/>
                <a:gd name="connsiteY25" fmla="*/ 393085 h 388748"/>
                <a:gd name="connsiteX26" fmla="*/ 1905765 w 2018502"/>
                <a:gd name="connsiteY26" fmla="*/ 393085 h 388748"/>
                <a:gd name="connsiteX27" fmla="*/ 1943743 w 2018502"/>
                <a:gd name="connsiteY27" fmla="*/ 355107 h 388748"/>
                <a:gd name="connsiteX28" fmla="*/ 1973946 w 2018502"/>
                <a:gd name="connsiteY28" fmla="*/ 355107 h 388748"/>
                <a:gd name="connsiteX29" fmla="*/ 2000112 w 2018502"/>
                <a:gd name="connsiteY29" fmla="*/ 378731 h 388748"/>
                <a:gd name="connsiteX30" fmla="*/ 2026427 w 2018502"/>
                <a:gd name="connsiteY30" fmla="*/ 352416 h 388748"/>
                <a:gd name="connsiteX31" fmla="*/ 2000112 w 2018502"/>
                <a:gd name="connsiteY31" fmla="*/ 325801 h 388748"/>
                <a:gd name="connsiteX32" fmla="*/ 2000112 w 2018502"/>
                <a:gd name="connsiteY32" fmla="*/ 371105 h 388748"/>
                <a:gd name="connsiteX33" fmla="*/ 1981272 w 2018502"/>
                <a:gd name="connsiteY33" fmla="*/ 352266 h 388748"/>
                <a:gd name="connsiteX34" fmla="*/ 2000112 w 2018502"/>
                <a:gd name="connsiteY34" fmla="*/ 333427 h 388748"/>
                <a:gd name="connsiteX35" fmla="*/ 2018951 w 2018502"/>
                <a:gd name="connsiteY35" fmla="*/ 352266 h 388748"/>
                <a:gd name="connsiteX36" fmla="*/ 2000112 w 2018502"/>
                <a:gd name="connsiteY36" fmla="*/ 371105 h 38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018502" h="388748">
                  <a:moveTo>
                    <a:pt x="2000112" y="325801"/>
                  </a:moveTo>
                  <a:cubicBezTo>
                    <a:pt x="1987253" y="325801"/>
                    <a:pt x="1976488" y="335071"/>
                    <a:pt x="1974245" y="347332"/>
                  </a:cubicBezTo>
                  <a:lnTo>
                    <a:pt x="1940753" y="347332"/>
                  </a:lnTo>
                  <a:lnTo>
                    <a:pt x="1902775" y="385310"/>
                  </a:lnTo>
                  <a:lnTo>
                    <a:pt x="1853135" y="385310"/>
                  </a:lnTo>
                  <a:lnTo>
                    <a:pt x="1618092" y="150565"/>
                  </a:lnTo>
                  <a:lnTo>
                    <a:pt x="1068311" y="150565"/>
                  </a:lnTo>
                  <a:lnTo>
                    <a:pt x="1023306" y="105560"/>
                  </a:lnTo>
                  <a:lnTo>
                    <a:pt x="649509" y="105560"/>
                  </a:lnTo>
                  <a:lnTo>
                    <a:pt x="610335" y="66386"/>
                  </a:lnTo>
                  <a:lnTo>
                    <a:pt x="486982" y="66386"/>
                  </a:lnTo>
                  <a:lnTo>
                    <a:pt x="420596" y="0"/>
                  </a:lnTo>
                  <a:lnTo>
                    <a:pt x="228016" y="0"/>
                  </a:lnTo>
                  <a:lnTo>
                    <a:pt x="32296" y="195720"/>
                  </a:lnTo>
                  <a:lnTo>
                    <a:pt x="0" y="195720"/>
                  </a:lnTo>
                  <a:lnTo>
                    <a:pt x="0" y="203196"/>
                  </a:lnTo>
                  <a:lnTo>
                    <a:pt x="35436" y="203196"/>
                  </a:lnTo>
                  <a:lnTo>
                    <a:pt x="231006" y="7626"/>
                  </a:lnTo>
                  <a:lnTo>
                    <a:pt x="417456" y="7626"/>
                  </a:lnTo>
                  <a:lnTo>
                    <a:pt x="483843" y="74012"/>
                  </a:lnTo>
                  <a:lnTo>
                    <a:pt x="607196" y="74012"/>
                  </a:lnTo>
                  <a:lnTo>
                    <a:pt x="646369" y="113186"/>
                  </a:lnTo>
                  <a:lnTo>
                    <a:pt x="1020166" y="113186"/>
                  </a:lnTo>
                  <a:lnTo>
                    <a:pt x="1065171" y="158191"/>
                  </a:lnTo>
                  <a:lnTo>
                    <a:pt x="1614952" y="158191"/>
                  </a:lnTo>
                  <a:lnTo>
                    <a:pt x="1849846" y="393085"/>
                  </a:lnTo>
                  <a:lnTo>
                    <a:pt x="1905765" y="393085"/>
                  </a:lnTo>
                  <a:lnTo>
                    <a:pt x="1943743" y="355107"/>
                  </a:lnTo>
                  <a:lnTo>
                    <a:pt x="1973946" y="355107"/>
                  </a:lnTo>
                  <a:cubicBezTo>
                    <a:pt x="1975292" y="368414"/>
                    <a:pt x="1986356" y="378731"/>
                    <a:pt x="2000112" y="378731"/>
                  </a:cubicBezTo>
                  <a:cubicBezTo>
                    <a:pt x="2014615" y="378731"/>
                    <a:pt x="2026427" y="366919"/>
                    <a:pt x="2026427" y="352416"/>
                  </a:cubicBezTo>
                  <a:cubicBezTo>
                    <a:pt x="2026427" y="337912"/>
                    <a:pt x="2014615" y="325801"/>
                    <a:pt x="2000112" y="325801"/>
                  </a:cubicBezTo>
                  <a:close/>
                  <a:moveTo>
                    <a:pt x="2000112" y="371105"/>
                  </a:moveTo>
                  <a:cubicBezTo>
                    <a:pt x="1989646" y="371105"/>
                    <a:pt x="1981272" y="362583"/>
                    <a:pt x="1981272" y="352266"/>
                  </a:cubicBezTo>
                  <a:cubicBezTo>
                    <a:pt x="1981272" y="341949"/>
                    <a:pt x="1989795" y="333427"/>
                    <a:pt x="2000112" y="333427"/>
                  </a:cubicBezTo>
                  <a:cubicBezTo>
                    <a:pt x="2010429" y="333427"/>
                    <a:pt x="2018951" y="341949"/>
                    <a:pt x="2018951" y="352266"/>
                  </a:cubicBezTo>
                  <a:cubicBezTo>
                    <a:pt x="2018951" y="362583"/>
                    <a:pt x="2010429" y="371105"/>
                    <a:pt x="2000112" y="37110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3132380" y="-837619"/>
              <a:ext cx="1958695" cy="508364"/>
            </a:xfrm>
            <a:custGeom>
              <a:avLst/>
              <a:gdLst>
                <a:gd name="connsiteX0" fmla="*/ 1933277 w 1958695"/>
                <a:gd name="connsiteY0" fmla="*/ 464106 h 508363"/>
                <a:gd name="connsiteX1" fmla="*/ 1918774 w 1958695"/>
                <a:gd name="connsiteY1" fmla="*/ 468442 h 508363"/>
                <a:gd name="connsiteX2" fmla="*/ 1884683 w 1958695"/>
                <a:gd name="connsiteY2" fmla="*/ 434352 h 508363"/>
                <a:gd name="connsiteX3" fmla="*/ 1884683 w 1958695"/>
                <a:gd name="connsiteY3" fmla="*/ 334473 h 508363"/>
                <a:gd name="connsiteX4" fmla="*/ 1612709 w 1958695"/>
                <a:gd name="connsiteY4" fmla="*/ 62499 h 508363"/>
                <a:gd name="connsiteX5" fmla="*/ 1479787 w 1958695"/>
                <a:gd name="connsiteY5" fmla="*/ 62499 h 508363"/>
                <a:gd name="connsiteX6" fmla="*/ 1459153 w 1958695"/>
                <a:gd name="connsiteY6" fmla="*/ 83132 h 508363"/>
                <a:gd name="connsiteX7" fmla="*/ 1144566 w 1958695"/>
                <a:gd name="connsiteY7" fmla="*/ 83132 h 508363"/>
                <a:gd name="connsiteX8" fmla="*/ 1117503 w 1958695"/>
                <a:gd name="connsiteY8" fmla="*/ 56070 h 508363"/>
                <a:gd name="connsiteX9" fmla="*/ 1046481 w 1958695"/>
                <a:gd name="connsiteY9" fmla="*/ 56070 h 508363"/>
                <a:gd name="connsiteX10" fmla="*/ 990412 w 1958695"/>
                <a:gd name="connsiteY10" fmla="*/ 0 h 508363"/>
                <a:gd name="connsiteX11" fmla="*/ 594935 w 1958695"/>
                <a:gd name="connsiteY11" fmla="*/ 0 h 508363"/>
                <a:gd name="connsiteX12" fmla="*/ 292608 w 1958695"/>
                <a:gd name="connsiteY12" fmla="*/ 302327 h 508363"/>
                <a:gd name="connsiteX13" fmla="*/ 0 w 1958695"/>
                <a:gd name="connsiteY13" fmla="*/ 302327 h 508363"/>
                <a:gd name="connsiteX14" fmla="*/ 0 w 1958695"/>
                <a:gd name="connsiteY14" fmla="*/ 309803 h 508363"/>
                <a:gd name="connsiteX15" fmla="*/ 295748 w 1958695"/>
                <a:gd name="connsiteY15" fmla="*/ 309803 h 508363"/>
                <a:gd name="connsiteX16" fmla="*/ 598075 w 1958695"/>
                <a:gd name="connsiteY16" fmla="*/ 7476 h 508363"/>
                <a:gd name="connsiteX17" fmla="*/ 987272 w 1958695"/>
                <a:gd name="connsiteY17" fmla="*/ 7476 h 508363"/>
                <a:gd name="connsiteX18" fmla="*/ 1043342 w 1958695"/>
                <a:gd name="connsiteY18" fmla="*/ 63545 h 508363"/>
                <a:gd name="connsiteX19" fmla="*/ 1114363 w 1958695"/>
                <a:gd name="connsiteY19" fmla="*/ 63545 h 508363"/>
                <a:gd name="connsiteX20" fmla="*/ 1141426 w 1958695"/>
                <a:gd name="connsiteY20" fmla="*/ 90608 h 508363"/>
                <a:gd name="connsiteX21" fmla="*/ 1462293 w 1958695"/>
                <a:gd name="connsiteY21" fmla="*/ 90608 h 508363"/>
                <a:gd name="connsiteX22" fmla="*/ 1482927 w 1958695"/>
                <a:gd name="connsiteY22" fmla="*/ 69975 h 508363"/>
                <a:gd name="connsiteX23" fmla="*/ 1609569 w 1958695"/>
                <a:gd name="connsiteY23" fmla="*/ 69975 h 508363"/>
                <a:gd name="connsiteX24" fmla="*/ 1877058 w 1958695"/>
                <a:gd name="connsiteY24" fmla="*/ 337464 h 508363"/>
                <a:gd name="connsiteX25" fmla="*/ 1877058 w 1958695"/>
                <a:gd name="connsiteY25" fmla="*/ 437342 h 508363"/>
                <a:gd name="connsiteX26" fmla="*/ 1913092 w 1958695"/>
                <a:gd name="connsiteY26" fmla="*/ 473376 h 508363"/>
                <a:gd name="connsiteX27" fmla="*/ 1906812 w 1958695"/>
                <a:gd name="connsiteY27" fmla="*/ 490272 h 508363"/>
                <a:gd name="connsiteX28" fmla="*/ 1933127 w 1958695"/>
                <a:gd name="connsiteY28" fmla="*/ 516587 h 508363"/>
                <a:gd name="connsiteX29" fmla="*/ 1959443 w 1958695"/>
                <a:gd name="connsiteY29" fmla="*/ 490272 h 508363"/>
                <a:gd name="connsiteX30" fmla="*/ 1933277 w 1958695"/>
                <a:gd name="connsiteY30" fmla="*/ 464106 h 508363"/>
                <a:gd name="connsiteX31" fmla="*/ 1933277 w 1958695"/>
                <a:gd name="connsiteY31" fmla="*/ 509410 h 508363"/>
                <a:gd name="connsiteX32" fmla="*/ 1914437 w 1958695"/>
                <a:gd name="connsiteY32" fmla="*/ 490571 h 508363"/>
                <a:gd name="connsiteX33" fmla="*/ 1933277 w 1958695"/>
                <a:gd name="connsiteY33" fmla="*/ 471732 h 508363"/>
                <a:gd name="connsiteX34" fmla="*/ 1952116 w 1958695"/>
                <a:gd name="connsiteY34" fmla="*/ 490571 h 508363"/>
                <a:gd name="connsiteX35" fmla="*/ 1933277 w 1958695"/>
                <a:gd name="connsiteY35" fmla="*/ 509410 h 508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58695" h="508363">
                  <a:moveTo>
                    <a:pt x="1933277" y="464106"/>
                  </a:moveTo>
                  <a:cubicBezTo>
                    <a:pt x="1927894" y="464106"/>
                    <a:pt x="1922960" y="465751"/>
                    <a:pt x="1918774" y="468442"/>
                  </a:cubicBezTo>
                  <a:lnTo>
                    <a:pt x="1884683" y="434352"/>
                  </a:lnTo>
                  <a:lnTo>
                    <a:pt x="1884683" y="334473"/>
                  </a:lnTo>
                  <a:lnTo>
                    <a:pt x="1612709" y="62499"/>
                  </a:lnTo>
                  <a:lnTo>
                    <a:pt x="1479787" y="62499"/>
                  </a:lnTo>
                  <a:lnTo>
                    <a:pt x="1459153" y="83132"/>
                  </a:lnTo>
                  <a:lnTo>
                    <a:pt x="1144566" y="83132"/>
                  </a:lnTo>
                  <a:lnTo>
                    <a:pt x="1117503" y="56070"/>
                  </a:lnTo>
                  <a:lnTo>
                    <a:pt x="1046481" y="56070"/>
                  </a:lnTo>
                  <a:lnTo>
                    <a:pt x="990412" y="0"/>
                  </a:lnTo>
                  <a:lnTo>
                    <a:pt x="594935" y="0"/>
                  </a:lnTo>
                  <a:lnTo>
                    <a:pt x="292608" y="302327"/>
                  </a:lnTo>
                  <a:lnTo>
                    <a:pt x="0" y="302327"/>
                  </a:lnTo>
                  <a:lnTo>
                    <a:pt x="0" y="309803"/>
                  </a:lnTo>
                  <a:lnTo>
                    <a:pt x="295748" y="309803"/>
                  </a:lnTo>
                  <a:lnTo>
                    <a:pt x="598075" y="7476"/>
                  </a:lnTo>
                  <a:lnTo>
                    <a:pt x="987272" y="7476"/>
                  </a:lnTo>
                  <a:lnTo>
                    <a:pt x="1043342" y="63545"/>
                  </a:lnTo>
                  <a:lnTo>
                    <a:pt x="1114363" y="63545"/>
                  </a:lnTo>
                  <a:lnTo>
                    <a:pt x="1141426" y="90608"/>
                  </a:lnTo>
                  <a:lnTo>
                    <a:pt x="1462293" y="90608"/>
                  </a:lnTo>
                  <a:lnTo>
                    <a:pt x="1482927" y="69975"/>
                  </a:lnTo>
                  <a:lnTo>
                    <a:pt x="1609569" y="69975"/>
                  </a:lnTo>
                  <a:lnTo>
                    <a:pt x="1877058" y="337464"/>
                  </a:lnTo>
                  <a:lnTo>
                    <a:pt x="1877058" y="437342"/>
                  </a:lnTo>
                  <a:lnTo>
                    <a:pt x="1913092" y="473376"/>
                  </a:lnTo>
                  <a:cubicBezTo>
                    <a:pt x="1909204" y="478011"/>
                    <a:pt x="1906812" y="483842"/>
                    <a:pt x="1906812" y="490272"/>
                  </a:cubicBezTo>
                  <a:cubicBezTo>
                    <a:pt x="1906812" y="504775"/>
                    <a:pt x="1918624" y="516587"/>
                    <a:pt x="1933127" y="516587"/>
                  </a:cubicBezTo>
                  <a:cubicBezTo>
                    <a:pt x="1947631" y="516587"/>
                    <a:pt x="1959443" y="504775"/>
                    <a:pt x="1959443" y="490272"/>
                  </a:cubicBezTo>
                  <a:cubicBezTo>
                    <a:pt x="1959443" y="475769"/>
                    <a:pt x="1947780" y="464106"/>
                    <a:pt x="1933277" y="464106"/>
                  </a:cubicBezTo>
                  <a:close/>
                  <a:moveTo>
                    <a:pt x="1933277" y="509410"/>
                  </a:moveTo>
                  <a:cubicBezTo>
                    <a:pt x="1922811" y="509410"/>
                    <a:pt x="1914437" y="500888"/>
                    <a:pt x="1914437" y="490571"/>
                  </a:cubicBezTo>
                  <a:cubicBezTo>
                    <a:pt x="1914437" y="480254"/>
                    <a:pt x="1922960" y="471732"/>
                    <a:pt x="1933277" y="471732"/>
                  </a:cubicBezTo>
                  <a:cubicBezTo>
                    <a:pt x="1943743" y="471732"/>
                    <a:pt x="1952116" y="480254"/>
                    <a:pt x="1952116" y="490571"/>
                  </a:cubicBezTo>
                  <a:cubicBezTo>
                    <a:pt x="1952116" y="500888"/>
                    <a:pt x="1943743" y="509410"/>
                    <a:pt x="1933277" y="509410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3132380" y="-792464"/>
              <a:ext cx="1689561" cy="313989"/>
            </a:xfrm>
            <a:custGeom>
              <a:avLst/>
              <a:gdLst>
                <a:gd name="connsiteX0" fmla="*/ 1670423 w 1689561"/>
                <a:gd name="connsiteY0" fmla="*/ 274068 h 313989"/>
                <a:gd name="connsiteX1" fmla="*/ 1644407 w 1689561"/>
                <a:gd name="connsiteY1" fmla="*/ 296645 h 313989"/>
                <a:gd name="connsiteX2" fmla="*/ 1592225 w 1689561"/>
                <a:gd name="connsiteY2" fmla="*/ 296645 h 313989"/>
                <a:gd name="connsiteX3" fmla="*/ 1392019 w 1689561"/>
                <a:gd name="connsiteY3" fmla="*/ 96440 h 313989"/>
                <a:gd name="connsiteX4" fmla="*/ 1084758 w 1689561"/>
                <a:gd name="connsiteY4" fmla="*/ 96440 h 313989"/>
                <a:gd name="connsiteX5" fmla="*/ 1034969 w 1689561"/>
                <a:gd name="connsiteY5" fmla="*/ 46650 h 313989"/>
                <a:gd name="connsiteX6" fmla="*/ 994150 w 1689561"/>
                <a:gd name="connsiteY6" fmla="*/ 46650 h 313989"/>
                <a:gd name="connsiteX7" fmla="*/ 947500 w 1689561"/>
                <a:gd name="connsiteY7" fmla="*/ 0 h 313989"/>
                <a:gd name="connsiteX8" fmla="*/ 614821 w 1689561"/>
                <a:gd name="connsiteY8" fmla="*/ 0 h 313989"/>
                <a:gd name="connsiteX9" fmla="*/ 585366 w 1689561"/>
                <a:gd name="connsiteY9" fmla="*/ 29455 h 313989"/>
                <a:gd name="connsiteX10" fmla="*/ 585366 w 1689561"/>
                <a:gd name="connsiteY10" fmla="*/ 72965 h 313989"/>
                <a:gd name="connsiteX11" fmla="*/ 409980 w 1689561"/>
                <a:gd name="connsiteY11" fmla="*/ 248351 h 313989"/>
                <a:gd name="connsiteX12" fmla="*/ 361237 w 1689561"/>
                <a:gd name="connsiteY12" fmla="*/ 248351 h 313989"/>
                <a:gd name="connsiteX13" fmla="*/ 325054 w 1689561"/>
                <a:gd name="connsiteY13" fmla="*/ 284534 h 313989"/>
                <a:gd name="connsiteX14" fmla="*/ 0 w 1689561"/>
                <a:gd name="connsiteY14" fmla="*/ 284534 h 313989"/>
                <a:gd name="connsiteX15" fmla="*/ 0 w 1689561"/>
                <a:gd name="connsiteY15" fmla="*/ 292010 h 313989"/>
                <a:gd name="connsiteX16" fmla="*/ 328194 w 1689561"/>
                <a:gd name="connsiteY16" fmla="*/ 292010 h 313989"/>
                <a:gd name="connsiteX17" fmla="*/ 364377 w 1689561"/>
                <a:gd name="connsiteY17" fmla="*/ 255826 h 313989"/>
                <a:gd name="connsiteX18" fmla="*/ 413120 w 1689561"/>
                <a:gd name="connsiteY18" fmla="*/ 255826 h 313989"/>
                <a:gd name="connsiteX19" fmla="*/ 592842 w 1689561"/>
                <a:gd name="connsiteY19" fmla="*/ 76105 h 313989"/>
                <a:gd name="connsiteX20" fmla="*/ 592842 w 1689561"/>
                <a:gd name="connsiteY20" fmla="*/ 32595 h 313989"/>
                <a:gd name="connsiteX21" fmla="*/ 617961 w 1689561"/>
                <a:gd name="connsiteY21" fmla="*/ 7476 h 313989"/>
                <a:gd name="connsiteX22" fmla="*/ 944510 w 1689561"/>
                <a:gd name="connsiteY22" fmla="*/ 7476 h 313989"/>
                <a:gd name="connsiteX23" fmla="*/ 991160 w 1689561"/>
                <a:gd name="connsiteY23" fmla="*/ 54126 h 313989"/>
                <a:gd name="connsiteX24" fmla="*/ 1031978 w 1689561"/>
                <a:gd name="connsiteY24" fmla="*/ 54126 h 313989"/>
                <a:gd name="connsiteX25" fmla="*/ 1081768 w 1689561"/>
                <a:gd name="connsiteY25" fmla="*/ 103915 h 313989"/>
                <a:gd name="connsiteX26" fmla="*/ 1389029 w 1689561"/>
                <a:gd name="connsiteY26" fmla="*/ 103915 h 313989"/>
                <a:gd name="connsiteX27" fmla="*/ 1589234 w 1689561"/>
                <a:gd name="connsiteY27" fmla="*/ 304121 h 313989"/>
                <a:gd name="connsiteX28" fmla="*/ 1644556 w 1689561"/>
                <a:gd name="connsiteY28" fmla="*/ 304121 h 313989"/>
                <a:gd name="connsiteX29" fmla="*/ 1670573 w 1689561"/>
                <a:gd name="connsiteY29" fmla="*/ 326698 h 313989"/>
                <a:gd name="connsiteX30" fmla="*/ 1696888 w 1689561"/>
                <a:gd name="connsiteY30" fmla="*/ 300383 h 313989"/>
                <a:gd name="connsiteX31" fmla="*/ 1670423 w 1689561"/>
                <a:gd name="connsiteY31" fmla="*/ 274068 h 313989"/>
                <a:gd name="connsiteX32" fmla="*/ 1670423 w 1689561"/>
                <a:gd name="connsiteY32" fmla="*/ 319372 h 313989"/>
                <a:gd name="connsiteX33" fmla="*/ 1651584 w 1689561"/>
                <a:gd name="connsiteY33" fmla="*/ 300533 h 313989"/>
                <a:gd name="connsiteX34" fmla="*/ 1670423 w 1689561"/>
                <a:gd name="connsiteY34" fmla="*/ 281693 h 313989"/>
                <a:gd name="connsiteX35" fmla="*/ 1689262 w 1689561"/>
                <a:gd name="connsiteY35" fmla="*/ 300533 h 313989"/>
                <a:gd name="connsiteX36" fmla="*/ 1670423 w 1689561"/>
                <a:gd name="connsiteY36" fmla="*/ 319372 h 31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89561" h="313989">
                  <a:moveTo>
                    <a:pt x="1670423" y="274068"/>
                  </a:moveTo>
                  <a:cubicBezTo>
                    <a:pt x="1657116" y="274068"/>
                    <a:pt x="1646201" y="283936"/>
                    <a:pt x="1644407" y="296645"/>
                  </a:cubicBezTo>
                  <a:lnTo>
                    <a:pt x="1592225" y="296645"/>
                  </a:lnTo>
                  <a:lnTo>
                    <a:pt x="1392019" y="96440"/>
                  </a:lnTo>
                  <a:lnTo>
                    <a:pt x="1084758" y="96440"/>
                  </a:lnTo>
                  <a:lnTo>
                    <a:pt x="1034969" y="46650"/>
                  </a:lnTo>
                  <a:lnTo>
                    <a:pt x="994150" y="46650"/>
                  </a:lnTo>
                  <a:lnTo>
                    <a:pt x="947500" y="0"/>
                  </a:lnTo>
                  <a:lnTo>
                    <a:pt x="614821" y="0"/>
                  </a:lnTo>
                  <a:lnTo>
                    <a:pt x="585366" y="29455"/>
                  </a:lnTo>
                  <a:lnTo>
                    <a:pt x="585366" y="72965"/>
                  </a:lnTo>
                  <a:lnTo>
                    <a:pt x="409980" y="248351"/>
                  </a:lnTo>
                  <a:lnTo>
                    <a:pt x="361237" y="248351"/>
                  </a:lnTo>
                  <a:lnTo>
                    <a:pt x="325054" y="284534"/>
                  </a:lnTo>
                  <a:lnTo>
                    <a:pt x="0" y="284534"/>
                  </a:lnTo>
                  <a:lnTo>
                    <a:pt x="0" y="292010"/>
                  </a:lnTo>
                  <a:lnTo>
                    <a:pt x="328194" y="292010"/>
                  </a:lnTo>
                  <a:lnTo>
                    <a:pt x="364377" y="255826"/>
                  </a:lnTo>
                  <a:lnTo>
                    <a:pt x="413120" y="255826"/>
                  </a:lnTo>
                  <a:lnTo>
                    <a:pt x="592842" y="76105"/>
                  </a:lnTo>
                  <a:lnTo>
                    <a:pt x="592842" y="32595"/>
                  </a:lnTo>
                  <a:lnTo>
                    <a:pt x="617961" y="7476"/>
                  </a:lnTo>
                  <a:lnTo>
                    <a:pt x="944510" y="7476"/>
                  </a:lnTo>
                  <a:lnTo>
                    <a:pt x="991160" y="54126"/>
                  </a:lnTo>
                  <a:lnTo>
                    <a:pt x="1031978" y="54126"/>
                  </a:lnTo>
                  <a:lnTo>
                    <a:pt x="1081768" y="103915"/>
                  </a:lnTo>
                  <a:lnTo>
                    <a:pt x="1389029" y="103915"/>
                  </a:lnTo>
                  <a:lnTo>
                    <a:pt x="1589234" y="304121"/>
                  </a:lnTo>
                  <a:lnTo>
                    <a:pt x="1644556" y="304121"/>
                  </a:lnTo>
                  <a:cubicBezTo>
                    <a:pt x="1646351" y="316830"/>
                    <a:pt x="1657265" y="326698"/>
                    <a:pt x="1670573" y="326698"/>
                  </a:cubicBezTo>
                  <a:cubicBezTo>
                    <a:pt x="1685076" y="326698"/>
                    <a:pt x="1696888" y="314886"/>
                    <a:pt x="1696888" y="300383"/>
                  </a:cubicBezTo>
                  <a:cubicBezTo>
                    <a:pt x="1696888" y="285880"/>
                    <a:pt x="1685076" y="274068"/>
                    <a:pt x="1670423" y="274068"/>
                  </a:cubicBezTo>
                  <a:close/>
                  <a:moveTo>
                    <a:pt x="1670423" y="319372"/>
                  </a:moveTo>
                  <a:cubicBezTo>
                    <a:pt x="1659957" y="319372"/>
                    <a:pt x="1651584" y="310849"/>
                    <a:pt x="1651584" y="300533"/>
                  </a:cubicBezTo>
                  <a:cubicBezTo>
                    <a:pt x="1651584" y="290216"/>
                    <a:pt x="1660106" y="281693"/>
                    <a:pt x="1670423" y="281693"/>
                  </a:cubicBezTo>
                  <a:cubicBezTo>
                    <a:pt x="1680889" y="281693"/>
                    <a:pt x="1689262" y="290216"/>
                    <a:pt x="1689262" y="300533"/>
                  </a:cubicBezTo>
                  <a:cubicBezTo>
                    <a:pt x="1689262" y="310849"/>
                    <a:pt x="1680889" y="319372"/>
                    <a:pt x="1670423" y="319372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3132380" y="-869018"/>
              <a:ext cx="553219" cy="299037"/>
            </a:xfrm>
            <a:custGeom>
              <a:avLst/>
              <a:gdLst>
                <a:gd name="connsiteX0" fmla="*/ 80591 w 553219"/>
                <a:gd name="connsiteY0" fmla="*/ 310102 h 299037"/>
                <a:gd name="connsiteX1" fmla="*/ 272423 w 553219"/>
                <a:gd name="connsiteY1" fmla="*/ 310102 h 299037"/>
                <a:gd name="connsiteX2" fmla="*/ 438837 w 553219"/>
                <a:gd name="connsiteY2" fmla="*/ 143687 h 299037"/>
                <a:gd name="connsiteX3" fmla="*/ 438837 w 553219"/>
                <a:gd name="connsiteY3" fmla="*/ 117671 h 299037"/>
                <a:gd name="connsiteX4" fmla="*/ 511354 w 553219"/>
                <a:gd name="connsiteY4" fmla="*/ 45154 h 299037"/>
                <a:gd name="connsiteX5" fmla="*/ 529745 w 553219"/>
                <a:gd name="connsiteY5" fmla="*/ 52630 h 299037"/>
                <a:gd name="connsiteX6" fmla="*/ 556060 w 553219"/>
                <a:gd name="connsiteY6" fmla="*/ 26315 h 299037"/>
                <a:gd name="connsiteX7" fmla="*/ 529745 w 553219"/>
                <a:gd name="connsiteY7" fmla="*/ 0 h 299037"/>
                <a:gd name="connsiteX8" fmla="*/ 503429 w 553219"/>
                <a:gd name="connsiteY8" fmla="*/ 26315 h 299037"/>
                <a:gd name="connsiteX9" fmla="*/ 506868 w 553219"/>
                <a:gd name="connsiteY9" fmla="*/ 39174 h 299037"/>
                <a:gd name="connsiteX10" fmla="*/ 431361 w 553219"/>
                <a:gd name="connsiteY10" fmla="*/ 114681 h 299037"/>
                <a:gd name="connsiteX11" fmla="*/ 431361 w 553219"/>
                <a:gd name="connsiteY11" fmla="*/ 140697 h 299037"/>
                <a:gd name="connsiteX12" fmla="*/ 269283 w 553219"/>
                <a:gd name="connsiteY12" fmla="*/ 302775 h 299037"/>
                <a:gd name="connsiteX13" fmla="*/ 83730 w 553219"/>
                <a:gd name="connsiteY13" fmla="*/ 302775 h 299037"/>
                <a:gd name="connsiteX14" fmla="*/ 50986 w 553219"/>
                <a:gd name="connsiteY14" fmla="*/ 270031 h 299037"/>
                <a:gd name="connsiteX15" fmla="*/ 0 w 553219"/>
                <a:gd name="connsiteY15" fmla="*/ 270031 h 299037"/>
                <a:gd name="connsiteX16" fmla="*/ 0 w 553219"/>
                <a:gd name="connsiteY16" fmla="*/ 277507 h 299037"/>
                <a:gd name="connsiteX17" fmla="*/ 47846 w 553219"/>
                <a:gd name="connsiteY17" fmla="*/ 277507 h 299037"/>
                <a:gd name="connsiteX18" fmla="*/ 80591 w 553219"/>
                <a:gd name="connsiteY18" fmla="*/ 310102 h 299037"/>
                <a:gd name="connsiteX19" fmla="*/ 529745 w 553219"/>
                <a:gd name="connsiteY19" fmla="*/ 7177 h 299037"/>
                <a:gd name="connsiteX20" fmla="*/ 548584 w 553219"/>
                <a:gd name="connsiteY20" fmla="*/ 26016 h 299037"/>
                <a:gd name="connsiteX21" fmla="*/ 529745 w 553219"/>
                <a:gd name="connsiteY21" fmla="*/ 44856 h 299037"/>
                <a:gd name="connsiteX22" fmla="*/ 510905 w 553219"/>
                <a:gd name="connsiteY22" fmla="*/ 26016 h 299037"/>
                <a:gd name="connsiteX23" fmla="*/ 529745 w 553219"/>
                <a:gd name="connsiteY23" fmla="*/ 7177 h 29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3219" h="299037">
                  <a:moveTo>
                    <a:pt x="80591" y="310102"/>
                  </a:moveTo>
                  <a:lnTo>
                    <a:pt x="272423" y="310102"/>
                  </a:lnTo>
                  <a:lnTo>
                    <a:pt x="438837" y="143687"/>
                  </a:lnTo>
                  <a:lnTo>
                    <a:pt x="438837" y="117671"/>
                  </a:lnTo>
                  <a:lnTo>
                    <a:pt x="511354" y="45154"/>
                  </a:lnTo>
                  <a:cubicBezTo>
                    <a:pt x="516139" y="49790"/>
                    <a:pt x="522568" y="52630"/>
                    <a:pt x="529745" y="52630"/>
                  </a:cubicBezTo>
                  <a:cubicBezTo>
                    <a:pt x="544248" y="52630"/>
                    <a:pt x="556060" y="40819"/>
                    <a:pt x="556060" y="26315"/>
                  </a:cubicBezTo>
                  <a:cubicBezTo>
                    <a:pt x="556060" y="11812"/>
                    <a:pt x="544248" y="0"/>
                    <a:pt x="529745" y="0"/>
                  </a:cubicBezTo>
                  <a:cubicBezTo>
                    <a:pt x="515241" y="0"/>
                    <a:pt x="503429" y="11812"/>
                    <a:pt x="503429" y="26315"/>
                  </a:cubicBezTo>
                  <a:cubicBezTo>
                    <a:pt x="503429" y="30950"/>
                    <a:pt x="504775" y="35286"/>
                    <a:pt x="506868" y="39174"/>
                  </a:cubicBezTo>
                  <a:lnTo>
                    <a:pt x="431361" y="114681"/>
                  </a:lnTo>
                  <a:lnTo>
                    <a:pt x="431361" y="140697"/>
                  </a:lnTo>
                  <a:lnTo>
                    <a:pt x="269283" y="302775"/>
                  </a:lnTo>
                  <a:lnTo>
                    <a:pt x="83730" y="302775"/>
                  </a:lnTo>
                  <a:lnTo>
                    <a:pt x="50986" y="270031"/>
                  </a:lnTo>
                  <a:lnTo>
                    <a:pt x="0" y="270031"/>
                  </a:lnTo>
                  <a:lnTo>
                    <a:pt x="0" y="277507"/>
                  </a:lnTo>
                  <a:lnTo>
                    <a:pt x="47846" y="277507"/>
                  </a:lnTo>
                  <a:lnTo>
                    <a:pt x="80591" y="310102"/>
                  </a:lnTo>
                  <a:close/>
                  <a:moveTo>
                    <a:pt x="529745" y="7177"/>
                  </a:moveTo>
                  <a:cubicBezTo>
                    <a:pt x="540211" y="7177"/>
                    <a:pt x="548584" y="15700"/>
                    <a:pt x="548584" y="26016"/>
                  </a:cubicBezTo>
                  <a:cubicBezTo>
                    <a:pt x="548584" y="36483"/>
                    <a:pt x="540062" y="44856"/>
                    <a:pt x="529745" y="44856"/>
                  </a:cubicBezTo>
                  <a:cubicBezTo>
                    <a:pt x="519278" y="44856"/>
                    <a:pt x="510905" y="36333"/>
                    <a:pt x="510905" y="26016"/>
                  </a:cubicBezTo>
                  <a:cubicBezTo>
                    <a:pt x="510905" y="15700"/>
                    <a:pt x="519428" y="7177"/>
                    <a:pt x="529745" y="717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5479076" y="-1921480"/>
              <a:ext cx="2960470" cy="672834"/>
            </a:xfrm>
            <a:custGeom>
              <a:avLst/>
              <a:gdLst>
                <a:gd name="connsiteX0" fmla="*/ 2410242 w 2960470"/>
                <a:gd name="connsiteY0" fmla="*/ 644426 h 672834"/>
                <a:gd name="connsiteX1" fmla="*/ 2176095 w 2960470"/>
                <a:gd name="connsiteY1" fmla="*/ 644426 h 672834"/>
                <a:gd name="connsiteX2" fmla="*/ 2142304 w 2960470"/>
                <a:gd name="connsiteY2" fmla="*/ 678067 h 672834"/>
                <a:gd name="connsiteX3" fmla="*/ 1165199 w 2960470"/>
                <a:gd name="connsiteY3" fmla="*/ 678067 h 672834"/>
                <a:gd name="connsiteX4" fmla="*/ 1132156 w 2960470"/>
                <a:gd name="connsiteY4" fmla="*/ 645024 h 672834"/>
                <a:gd name="connsiteX5" fmla="*/ 1132156 w 2960470"/>
                <a:gd name="connsiteY5" fmla="*/ 580282 h 672834"/>
                <a:gd name="connsiteX6" fmla="*/ 1034371 w 2960470"/>
                <a:gd name="connsiteY6" fmla="*/ 482497 h 672834"/>
                <a:gd name="connsiteX7" fmla="*/ 982039 w 2960470"/>
                <a:gd name="connsiteY7" fmla="*/ 482497 h 672834"/>
                <a:gd name="connsiteX8" fmla="*/ 896066 w 2960470"/>
                <a:gd name="connsiteY8" fmla="*/ 396524 h 672834"/>
                <a:gd name="connsiteX9" fmla="*/ 648164 w 2960470"/>
                <a:gd name="connsiteY9" fmla="*/ 396524 h 672834"/>
                <a:gd name="connsiteX10" fmla="*/ 599420 w 2960470"/>
                <a:gd name="connsiteY10" fmla="*/ 347781 h 672834"/>
                <a:gd name="connsiteX11" fmla="*/ 599420 w 2960470"/>
                <a:gd name="connsiteY11" fmla="*/ 305616 h 672834"/>
                <a:gd name="connsiteX12" fmla="*/ 464106 w 2960470"/>
                <a:gd name="connsiteY12" fmla="*/ 170302 h 672834"/>
                <a:gd name="connsiteX13" fmla="*/ 409681 w 2960470"/>
                <a:gd name="connsiteY13" fmla="*/ 170302 h 672834"/>
                <a:gd name="connsiteX14" fmla="*/ 316980 w 2960470"/>
                <a:gd name="connsiteY14" fmla="*/ 77600 h 672834"/>
                <a:gd name="connsiteX15" fmla="*/ 156247 w 2960470"/>
                <a:gd name="connsiteY15" fmla="*/ 77600 h 672834"/>
                <a:gd name="connsiteX16" fmla="*/ 101822 w 2960470"/>
                <a:gd name="connsiteY16" fmla="*/ 23175 h 672834"/>
                <a:gd name="connsiteX17" fmla="*/ 52332 w 2960470"/>
                <a:gd name="connsiteY17" fmla="*/ 23175 h 672834"/>
                <a:gd name="connsiteX18" fmla="*/ 26315 w 2960470"/>
                <a:gd name="connsiteY18" fmla="*/ 0 h 672834"/>
                <a:gd name="connsiteX19" fmla="*/ 0 w 2960470"/>
                <a:gd name="connsiteY19" fmla="*/ 26315 h 672834"/>
                <a:gd name="connsiteX20" fmla="*/ 26315 w 2960470"/>
                <a:gd name="connsiteY20" fmla="*/ 52631 h 672834"/>
                <a:gd name="connsiteX21" fmla="*/ 52182 w 2960470"/>
                <a:gd name="connsiteY21" fmla="*/ 30502 h 672834"/>
                <a:gd name="connsiteX22" fmla="*/ 98682 w 2960470"/>
                <a:gd name="connsiteY22" fmla="*/ 30502 h 672834"/>
                <a:gd name="connsiteX23" fmla="*/ 153107 w 2960470"/>
                <a:gd name="connsiteY23" fmla="*/ 84927 h 672834"/>
                <a:gd name="connsiteX24" fmla="*/ 313989 w 2960470"/>
                <a:gd name="connsiteY24" fmla="*/ 84927 h 672834"/>
                <a:gd name="connsiteX25" fmla="*/ 406691 w 2960470"/>
                <a:gd name="connsiteY25" fmla="*/ 177628 h 672834"/>
                <a:gd name="connsiteX26" fmla="*/ 461116 w 2960470"/>
                <a:gd name="connsiteY26" fmla="*/ 177628 h 672834"/>
                <a:gd name="connsiteX27" fmla="*/ 592094 w 2960470"/>
                <a:gd name="connsiteY27" fmla="*/ 308607 h 672834"/>
                <a:gd name="connsiteX28" fmla="*/ 592094 w 2960470"/>
                <a:gd name="connsiteY28" fmla="*/ 350771 h 672834"/>
                <a:gd name="connsiteX29" fmla="*/ 645173 w 2960470"/>
                <a:gd name="connsiteY29" fmla="*/ 403850 h 672834"/>
                <a:gd name="connsiteX30" fmla="*/ 892926 w 2960470"/>
                <a:gd name="connsiteY30" fmla="*/ 403850 h 672834"/>
                <a:gd name="connsiteX31" fmla="*/ 978899 w 2960470"/>
                <a:gd name="connsiteY31" fmla="*/ 489823 h 672834"/>
                <a:gd name="connsiteX32" fmla="*/ 1031231 w 2960470"/>
                <a:gd name="connsiteY32" fmla="*/ 489823 h 672834"/>
                <a:gd name="connsiteX33" fmla="*/ 1124680 w 2960470"/>
                <a:gd name="connsiteY33" fmla="*/ 583272 h 672834"/>
                <a:gd name="connsiteX34" fmla="*/ 1124680 w 2960470"/>
                <a:gd name="connsiteY34" fmla="*/ 648014 h 672834"/>
                <a:gd name="connsiteX35" fmla="*/ 1162059 w 2960470"/>
                <a:gd name="connsiteY35" fmla="*/ 685394 h 672834"/>
                <a:gd name="connsiteX36" fmla="*/ 2145444 w 2960470"/>
                <a:gd name="connsiteY36" fmla="*/ 685394 h 672834"/>
                <a:gd name="connsiteX37" fmla="*/ 2179236 w 2960470"/>
                <a:gd name="connsiteY37" fmla="*/ 651752 h 672834"/>
                <a:gd name="connsiteX38" fmla="*/ 2407102 w 2960470"/>
                <a:gd name="connsiteY38" fmla="*/ 651752 h 672834"/>
                <a:gd name="connsiteX39" fmla="*/ 2440893 w 2960470"/>
                <a:gd name="connsiteY39" fmla="*/ 685394 h 672834"/>
                <a:gd name="connsiteX40" fmla="*/ 2971385 w 2960470"/>
                <a:gd name="connsiteY40" fmla="*/ 685394 h 672834"/>
                <a:gd name="connsiteX41" fmla="*/ 2971385 w 2960470"/>
                <a:gd name="connsiteY41" fmla="*/ 677918 h 672834"/>
                <a:gd name="connsiteX42" fmla="*/ 2443883 w 2960470"/>
                <a:gd name="connsiteY42" fmla="*/ 677918 h 672834"/>
                <a:gd name="connsiteX43" fmla="*/ 2410242 w 2960470"/>
                <a:gd name="connsiteY43" fmla="*/ 644426 h 672834"/>
                <a:gd name="connsiteX44" fmla="*/ 26166 w 2960470"/>
                <a:gd name="connsiteY44" fmla="*/ 45454 h 672834"/>
                <a:gd name="connsiteX45" fmla="*/ 7326 w 2960470"/>
                <a:gd name="connsiteY45" fmla="*/ 26614 h 672834"/>
                <a:gd name="connsiteX46" fmla="*/ 26166 w 2960470"/>
                <a:gd name="connsiteY46" fmla="*/ 7775 h 672834"/>
                <a:gd name="connsiteX47" fmla="*/ 45005 w 2960470"/>
                <a:gd name="connsiteY47" fmla="*/ 26614 h 672834"/>
                <a:gd name="connsiteX48" fmla="*/ 26166 w 2960470"/>
                <a:gd name="connsiteY48" fmla="*/ 45454 h 67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60470" h="672834">
                  <a:moveTo>
                    <a:pt x="2410242" y="644426"/>
                  </a:moveTo>
                  <a:lnTo>
                    <a:pt x="2176095" y="644426"/>
                  </a:lnTo>
                  <a:lnTo>
                    <a:pt x="2142304" y="678067"/>
                  </a:lnTo>
                  <a:lnTo>
                    <a:pt x="1165199" y="678067"/>
                  </a:lnTo>
                  <a:lnTo>
                    <a:pt x="1132156" y="645024"/>
                  </a:lnTo>
                  <a:lnTo>
                    <a:pt x="1132156" y="580282"/>
                  </a:lnTo>
                  <a:lnTo>
                    <a:pt x="1034371" y="482497"/>
                  </a:lnTo>
                  <a:lnTo>
                    <a:pt x="982039" y="482497"/>
                  </a:lnTo>
                  <a:lnTo>
                    <a:pt x="896066" y="396524"/>
                  </a:lnTo>
                  <a:lnTo>
                    <a:pt x="648164" y="396524"/>
                  </a:lnTo>
                  <a:lnTo>
                    <a:pt x="599420" y="347781"/>
                  </a:lnTo>
                  <a:lnTo>
                    <a:pt x="599420" y="305616"/>
                  </a:lnTo>
                  <a:lnTo>
                    <a:pt x="464106" y="170302"/>
                  </a:lnTo>
                  <a:lnTo>
                    <a:pt x="409681" y="170302"/>
                  </a:lnTo>
                  <a:lnTo>
                    <a:pt x="316980" y="77600"/>
                  </a:lnTo>
                  <a:lnTo>
                    <a:pt x="156247" y="77600"/>
                  </a:lnTo>
                  <a:lnTo>
                    <a:pt x="101822" y="23175"/>
                  </a:lnTo>
                  <a:lnTo>
                    <a:pt x="52332" y="23175"/>
                  </a:lnTo>
                  <a:cubicBezTo>
                    <a:pt x="50687" y="10167"/>
                    <a:pt x="39772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9473" y="52631"/>
                    <a:pt x="50238" y="43061"/>
                    <a:pt x="52182" y="30502"/>
                  </a:cubicBezTo>
                  <a:lnTo>
                    <a:pt x="98682" y="30502"/>
                  </a:lnTo>
                  <a:lnTo>
                    <a:pt x="153107" y="84927"/>
                  </a:lnTo>
                  <a:lnTo>
                    <a:pt x="313989" y="84927"/>
                  </a:lnTo>
                  <a:lnTo>
                    <a:pt x="406691" y="177628"/>
                  </a:lnTo>
                  <a:lnTo>
                    <a:pt x="461116" y="177628"/>
                  </a:lnTo>
                  <a:lnTo>
                    <a:pt x="592094" y="308607"/>
                  </a:lnTo>
                  <a:lnTo>
                    <a:pt x="592094" y="350771"/>
                  </a:lnTo>
                  <a:lnTo>
                    <a:pt x="645173" y="403850"/>
                  </a:lnTo>
                  <a:lnTo>
                    <a:pt x="892926" y="403850"/>
                  </a:lnTo>
                  <a:lnTo>
                    <a:pt x="978899" y="489823"/>
                  </a:lnTo>
                  <a:lnTo>
                    <a:pt x="1031231" y="489823"/>
                  </a:lnTo>
                  <a:lnTo>
                    <a:pt x="1124680" y="583272"/>
                  </a:lnTo>
                  <a:lnTo>
                    <a:pt x="1124680" y="648014"/>
                  </a:lnTo>
                  <a:lnTo>
                    <a:pt x="1162059" y="685394"/>
                  </a:lnTo>
                  <a:lnTo>
                    <a:pt x="2145444" y="685394"/>
                  </a:lnTo>
                  <a:lnTo>
                    <a:pt x="2179236" y="651752"/>
                  </a:lnTo>
                  <a:lnTo>
                    <a:pt x="2407102" y="651752"/>
                  </a:lnTo>
                  <a:lnTo>
                    <a:pt x="2440893" y="685394"/>
                  </a:lnTo>
                  <a:lnTo>
                    <a:pt x="2971385" y="685394"/>
                  </a:lnTo>
                  <a:lnTo>
                    <a:pt x="2971385" y="677918"/>
                  </a:lnTo>
                  <a:lnTo>
                    <a:pt x="2443883" y="677918"/>
                  </a:lnTo>
                  <a:lnTo>
                    <a:pt x="2410242" y="644426"/>
                  </a:lnTo>
                  <a:close/>
                  <a:moveTo>
                    <a:pt x="26166" y="45454"/>
                  </a:moveTo>
                  <a:cubicBezTo>
                    <a:pt x="15700" y="45454"/>
                    <a:pt x="7326" y="36931"/>
                    <a:pt x="7326" y="26614"/>
                  </a:cubicBezTo>
                  <a:cubicBezTo>
                    <a:pt x="7326" y="16148"/>
                    <a:pt x="15849" y="7775"/>
                    <a:pt x="26166" y="7775"/>
                  </a:cubicBezTo>
                  <a:cubicBezTo>
                    <a:pt x="36483" y="7775"/>
                    <a:pt x="45005" y="16298"/>
                    <a:pt x="45005" y="26614"/>
                  </a:cubicBezTo>
                  <a:cubicBezTo>
                    <a:pt x="45155" y="36931"/>
                    <a:pt x="36632" y="45454"/>
                    <a:pt x="26166" y="45454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5823567" y="-2049169"/>
              <a:ext cx="2616577" cy="777497"/>
            </a:xfrm>
            <a:custGeom>
              <a:avLst/>
              <a:gdLst>
                <a:gd name="connsiteX0" fmla="*/ 2072030 w 2616577"/>
                <a:gd name="connsiteY0" fmla="*/ 728455 h 777497"/>
                <a:gd name="connsiteX1" fmla="*/ 1566956 w 2616577"/>
                <a:gd name="connsiteY1" fmla="*/ 728455 h 777497"/>
                <a:gd name="connsiteX2" fmla="*/ 1521054 w 2616577"/>
                <a:gd name="connsiteY2" fmla="*/ 774357 h 777497"/>
                <a:gd name="connsiteX3" fmla="*/ 858237 w 2616577"/>
                <a:gd name="connsiteY3" fmla="*/ 774357 h 777497"/>
                <a:gd name="connsiteX4" fmla="*/ 832520 w 2616577"/>
                <a:gd name="connsiteY4" fmla="*/ 748640 h 777497"/>
                <a:gd name="connsiteX5" fmla="*/ 832520 w 2616577"/>
                <a:gd name="connsiteY5" fmla="*/ 690776 h 777497"/>
                <a:gd name="connsiteX6" fmla="*/ 719484 w 2616577"/>
                <a:gd name="connsiteY6" fmla="*/ 577740 h 777497"/>
                <a:gd name="connsiteX7" fmla="*/ 656088 w 2616577"/>
                <a:gd name="connsiteY7" fmla="*/ 577740 h 777497"/>
                <a:gd name="connsiteX8" fmla="*/ 562788 w 2616577"/>
                <a:gd name="connsiteY8" fmla="*/ 484441 h 777497"/>
                <a:gd name="connsiteX9" fmla="*/ 336417 w 2616577"/>
                <a:gd name="connsiteY9" fmla="*/ 484441 h 777497"/>
                <a:gd name="connsiteX10" fmla="*/ 93599 w 2616577"/>
                <a:gd name="connsiteY10" fmla="*/ 241622 h 777497"/>
                <a:gd name="connsiteX11" fmla="*/ 93599 w 2616577"/>
                <a:gd name="connsiteY11" fmla="*/ 88964 h 777497"/>
                <a:gd name="connsiteX12" fmla="*/ 47098 w 2616577"/>
                <a:gd name="connsiteY12" fmla="*/ 42463 h 777497"/>
                <a:gd name="connsiteX13" fmla="*/ 52630 w 2616577"/>
                <a:gd name="connsiteY13" fmla="*/ 26315 h 777497"/>
                <a:gd name="connsiteX14" fmla="*/ 26315 w 2616577"/>
                <a:gd name="connsiteY14" fmla="*/ 0 h 777497"/>
                <a:gd name="connsiteX15" fmla="*/ 0 w 2616577"/>
                <a:gd name="connsiteY15" fmla="*/ 26315 h 777497"/>
                <a:gd name="connsiteX16" fmla="*/ 26315 w 2616577"/>
                <a:gd name="connsiteY16" fmla="*/ 52631 h 777497"/>
                <a:gd name="connsiteX17" fmla="*/ 41716 w 2616577"/>
                <a:gd name="connsiteY17" fmla="*/ 47547 h 777497"/>
                <a:gd name="connsiteX18" fmla="*/ 85973 w 2616577"/>
                <a:gd name="connsiteY18" fmla="*/ 91805 h 777497"/>
                <a:gd name="connsiteX19" fmla="*/ 85973 w 2616577"/>
                <a:gd name="connsiteY19" fmla="*/ 244463 h 777497"/>
                <a:gd name="connsiteX20" fmla="*/ 333277 w 2616577"/>
                <a:gd name="connsiteY20" fmla="*/ 491767 h 777497"/>
                <a:gd name="connsiteX21" fmla="*/ 559648 w 2616577"/>
                <a:gd name="connsiteY21" fmla="*/ 491767 h 777497"/>
                <a:gd name="connsiteX22" fmla="*/ 652948 w 2616577"/>
                <a:gd name="connsiteY22" fmla="*/ 585067 h 777497"/>
                <a:gd name="connsiteX23" fmla="*/ 716344 w 2616577"/>
                <a:gd name="connsiteY23" fmla="*/ 585067 h 777497"/>
                <a:gd name="connsiteX24" fmla="*/ 825044 w 2616577"/>
                <a:gd name="connsiteY24" fmla="*/ 693767 h 777497"/>
                <a:gd name="connsiteX25" fmla="*/ 825044 w 2616577"/>
                <a:gd name="connsiteY25" fmla="*/ 751631 h 777497"/>
                <a:gd name="connsiteX26" fmla="*/ 855247 w 2616577"/>
                <a:gd name="connsiteY26" fmla="*/ 781833 h 777497"/>
                <a:gd name="connsiteX27" fmla="*/ 1524194 w 2616577"/>
                <a:gd name="connsiteY27" fmla="*/ 781833 h 777497"/>
                <a:gd name="connsiteX28" fmla="*/ 1570096 w 2616577"/>
                <a:gd name="connsiteY28" fmla="*/ 735931 h 777497"/>
                <a:gd name="connsiteX29" fmla="*/ 2069040 w 2616577"/>
                <a:gd name="connsiteY29" fmla="*/ 735931 h 777497"/>
                <a:gd name="connsiteX30" fmla="*/ 2118979 w 2616577"/>
                <a:gd name="connsiteY30" fmla="*/ 785870 h 777497"/>
                <a:gd name="connsiteX31" fmla="*/ 2627044 w 2616577"/>
                <a:gd name="connsiteY31" fmla="*/ 785870 h 777497"/>
                <a:gd name="connsiteX32" fmla="*/ 2627044 w 2616577"/>
                <a:gd name="connsiteY32" fmla="*/ 778394 h 777497"/>
                <a:gd name="connsiteX33" fmla="*/ 2122119 w 2616577"/>
                <a:gd name="connsiteY33" fmla="*/ 778394 h 777497"/>
                <a:gd name="connsiteX34" fmla="*/ 2072030 w 2616577"/>
                <a:gd name="connsiteY34" fmla="*/ 728455 h 777497"/>
                <a:gd name="connsiteX35" fmla="*/ 26166 w 2616577"/>
                <a:gd name="connsiteY35" fmla="*/ 45155 h 777497"/>
                <a:gd name="connsiteX36" fmla="*/ 7326 w 2616577"/>
                <a:gd name="connsiteY36" fmla="*/ 26315 h 777497"/>
                <a:gd name="connsiteX37" fmla="*/ 26166 w 2616577"/>
                <a:gd name="connsiteY37" fmla="*/ 7476 h 777497"/>
                <a:gd name="connsiteX38" fmla="*/ 45005 w 2616577"/>
                <a:gd name="connsiteY38" fmla="*/ 26315 h 777497"/>
                <a:gd name="connsiteX39" fmla="*/ 26166 w 2616577"/>
                <a:gd name="connsiteY39" fmla="*/ 45155 h 77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16577" h="777497">
                  <a:moveTo>
                    <a:pt x="2072030" y="728455"/>
                  </a:moveTo>
                  <a:lnTo>
                    <a:pt x="1566956" y="728455"/>
                  </a:lnTo>
                  <a:lnTo>
                    <a:pt x="1521054" y="774357"/>
                  </a:lnTo>
                  <a:lnTo>
                    <a:pt x="858237" y="774357"/>
                  </a:lnTo>
                  <a:lnTo>
                    <a:pt x="832520" y="748640"/>
                  </a:lnTo>
                  <a:lnTo>
                    <a:pt x="832520" y="690776"/>
                  </a:lnTo>
                  <a:lnTo>
                    <a:pt x="719484" y="577740"/>
                  </a:lnTo>
                  <a:lnTo>
                    <a:pt x="656088" y="577740"/>
                  </a:lnTo>
                  <a:lnTo>
                    <a:pt x="562788" y="484441"/>
                  </a:lnTo>
                  <a:lnTo>
                    <a:pt x="336417" y="484441"/>
                  </a:lnTo>
                  <a:lnTo>
                    <a:pt x="93599" y="241622"/>
                  </a:lnTo>
                  <a:lnTo>
                    <a:pt x="93599" y="88964"/>
                  </a:lnTo>
                  <a:lnTo>
                    <a:pt x="47098" y="42463"/>
                  </a:lnTo>
                  <a:cubicBezTo>
                    <a:pt x="50537" y="37978"/>
                    <a:pt x="52630" y="32446"/>
                    <a:pt x="52630" y="26315"/>
                  </a:cubicBezTo>
                  <a:cubicBezTo>
                    <a:pt x="52630" y="11812"/>
                    <a:pt x="40819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2146" y="52631"/>
                    <a:pt x="37380" y="50687"/>
                    <a:pt x="41716" y="47547"/>
                  </a:cubicBezTo>
                  <a:lnTo>
                    <a:pt x="85973" y="91805"/>
                  </a:lnTo>
                  <a:lnTo>
                    <a:pt x="85973" y="244463"/>
                  </a:lnTo>
                  <a:lnTo>
                    <a:pt x="333277" y="491767"/>
                  </a:lnTo>
                  <a:lnTo>
                    <a:pt x="559648" y="491767"/>
                  </a:lnTo>
                  <a:lnTo>
                    <a:pt x="652948" y="585067"/>
                  </a:lnTo>
                  <a:lnTo>
                    <a:pt x="716344" y="585067"/>
                  </a:lnTo>
                  <a:lnTo>
                    <a:pt x="825044" y="693767"/>
                  </a:lnTo>
                  <a:lnTo>
                    <a:pt x="825044" y="751631"/>
                  </a:lnTo>
                  <a:lnTo>
                    <a:pt x="855247" y="781833"/>
                  </a:lnTo>
                  <a:lnTo>
                    <a:pt x="1524194" y="781833"/>
                  </a:lnTo>
                  <a:lnTo>
                    <a:pt x="1570096" y="735931"/>
                  </a:lnTo>
                  <a:lnTo>
                    <a:pt x="2069040" y="735931"/>
                  </a:lnTo>
                  <a:lnTo>
                    <a:pt x="2118979" y="785870"/>
                  </a:lnTo>
                  <a:lnTo>
                    <a:pt x="2627044" y="785870"/>
                  </a:lnTo>
                  <a:lnTo>
                    <a:pt x="2627044" y="778394"/>
                  </a:lnTo>
                  <a:lnTo>
                    <a:pt x="2122119" y="778394"/>
                  </a:lnTo>
                  <a:lnTo>
                    <a:pt x="2072030" y="728455"/>
                  </a:lnTo>
                  <a:close/>
                  <a:moveTo>
                    <a:pt x="26166" y="45155"/>
                  </a:moveTo>
                  <a:cubicBezTo>
                    <a:pt x="15699" y="45155"/>
                    <a:pt x="7326" y="36632"/>
                    <a:pt x="7326" y="26315"/>
                  </a:cubicBezTo>
                  <a:cubicBezTo>
                    <a:pt x="7326" y="15849"/>
                    <a:pt x="15849" y="7476"/>
                    <a:pt x="26166" y="7476"/>
                  </a:cubicBezTo>
                  <a:cubicBezTo>
                    <a:pt x="36482" y="7476"/>
                    <a:pt x="45005" y="15999"/>
                    <a:pt x="45005" y="26315"/>
                  </a:cubicBezTo>
                  <a:cubicBezTo>
                    <a:pt x="45005" y="36632"/>
                    <a:pt x="36482" y="45155"/>
                    <a:pt x="26166" y="4515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6015699" y="-2039599"/>
              <a:ext cx="2422203" cy="732642"/>
            </a:xfrm>
            <a:custGeom>
              <a:avLst/>
              <a:gdLst>
                <a:gd name="connsiteX0" fmla="*/ 1901130 w 2422203"/>
                <a:gd name="connsiteY0" fmla="*/ 682702 h 732641"/>
                <a:gd name="connsiteX1" fmla="*/ 1362265 w 2422203"/>
                <a:gd name="connsiteY1" fmla="*/ 682702 h 732641"/>
                <a:gd name="connsiteX2" fmla="*/ 1305448 w 2422203"/>
                <a:gd name="connsiteY2" fmla="*/ 739519 h 732641"/>
                <a:gd name="connsiteX3" fmla="*/ 733539 w 2422203"/>
                <a:gd name="connsiteY3" fmla="*/ 739519 h 732641"/>
                <a:gd name="connsiteX4" fmla="*/ 428521 w 2422203"/>
                <a:gd name="connsiteY4" fmla="*/ 434501 h 732641"/>
                <a:gd name="connsiteX5" fmla="*/ 169106 w 2422203"/>
                <a:gd name="connsiteY5" fmla="*/ 434501 h 732641"/>
                <a:gd name="connsiteX6" fmla="*/ 7626 w 2422203"/>
                <a:gd name="connsiteY6" fmla="*/ 273021 h 732641"/>
                <a:gd name="connsiteX7" fmla="*/ 7626 w 2422203"/>
                <a:gd name="connsiteY7" fmla="*/ 146827 h 732641"/>
                <a:gd name="connsiteX8" fmla="*/ 124400 w 2422203"/>
                <a:gd name="connsiteY8" fmla="*/ 30053 h 732641"/>
                <a:gd name="connsiteX9" fmla="*/ 167311 w 2422203"/>
                <a:gd name="connsiteY9" fmla="*/ 30053 h 732641"/>
                <a:gd name="connsiteX10" fmla="*/ 193328 w 2422203"/>
                <a:gd name="connsiteY10" fmla="*/ 52631 h 732641"/>
                <a:gd name="connsiteX11" fmla="*/ 219643 w 2422203"/>
                <a:gd name="connsiteY11" fmla="*/ 26315 h 732641"/>
                <a:gd name="connsiteX12" fmla="*/ 193328 w 2422203"/>
                <a:gd name="connsiteY12" fmla="*/ 0 h 732641"/>
                <a:gd name="connsiteX13" fmla="*/ 167311 w 2422203"/>
                <a:gd name="connsiteY13" fmla="*/ 22577 h 732641"/>
                <a:gd name="connsiteX14" fmla="*/ 121260 w 2422203"/>
                <a:gd name="connsiteY14" fmla="*/ 22577 h 732641"/>
                <a:gd name="connsiteX15" fmla="*/ 0 w 2422203"/>
                <a:gd name="connsiteY15" fmla="*/ 143837 h 732641"/>
                <a:gd name="connsiteX16" fmla="*/ 0 w 2422203"/>
                <a:gd name="connsiteY16" fmla="*/ 276161 h 732641"/>
                <a:gd name="connsiteX17" fmla="*/ 165966 w 2422203"/>
                <a:gd name="connsiteY17" fmla="*/ 442127 h 732641"/>
                <a:gd name="connsiteX18" fmla="*/ 425381 w 2422203"/>
                <a:gd name="connsiteY18" fmla="*/ 442127 h 732641"/>
                <a:gd name="connsiteX19" fmla="*/ 730399 w 2422203"/>
                <a:gd name="connsiteY19" fmla="*/ 747145 h 732641"/>
                <a:gd name="connsiteX20" fmla="*/ 1308588 w 2422203"/>
                <a:gd name="connsiteY20" fmla="*/ 747145 h 732641"/>
                <a:gd name="connsiteX21" fmla="*/ 1365405 w 2422203"/>
                <a:gd name="connsiteY21" fmla="*/ 690328 h 732641"/>
                <a:gd name="connsiteX22" fmla="*/ 1897991 w 2422203"/>
                <a:gd name="connsiteY22" fmla="*/ 690328 h 732641"/>
                <a:gd name="connsiteX23" fmla="*/ 1954210 w 2422203"/>
                <a:gd name="connsiteY23" fmla="*/ 746547 h 732641"/>
                <a:gd name="connsiteX24" fmla="*/ 2434763 w 2422203"/>
                <a:gd name="connsiteY24" fmla="*/ 746547 h 732641"/>
                <a:gd name="connsiteX25" fmla="*/ 2434763 w 2422203"/>
                <a:gd name="connsiteY25" fmla="*/ 739071 h 732641"/>
                <a:gd name="connsiteX26" fmla="*/ 1957350 w 2422203"/>
                <a:gd name="connsiteY26" fmla="*/ 739071 h 732641"/>
                <a:gd name="connsiteX27" fmla="*/ 1901130 w 2422203"/>
                <a:gd name="connsiteY27" fmla="*/ 682702 h 732641"/>
                <a:gd name="connsiteX28" fmla="*/ 193178 w 2422203"/>
                <a:gd name="connsiteY28" fmla="*/ 7326 h 732641"/>
                <a:gd name="connsiteX29" fmla="*/ 212018 w 2422203"/>
                <a:gd name="connsiteY29" fmla="*/ 26166 h 732641"/>
                <a:gd name="connsiteX30" fmla="*/ 193178 w 2422203"/>
                <a:gd name="connsiteY30" fmla="*/ 45005 h 732641"/>
                <a:gd name="connsiteX31" fmla="*/ 174339 w 2422203"/>
                <a:gd name="connsiteY31" fmla="*/ 26166 h 732641"/>
                <a:gd name="connsiteX32" fmla="*/ 193178 w 2422203"/>
                <a:gd name="connsiteY32" fmla="*/ 7326 h 73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422203" h="732641">
                  <a:moveTo>
                    <a:pt x="1901130" y="682702"/>
                  </a:moveTo>
                  <a:lnTo>
                    <a:pt x="1362265" y="682702"/>
                  </a:lnTo>
                  <a:lnTo>
                    <a:pt x="1305448" y="739519"/>
                  </a:lnTo>
                  <a:lnTo>
                    <a:pt x="733539" y="739519"/>
                  </a:lnTo>
                  <a:lnTo>
                    <a:pt x="428521" y="434501"/>
                  </a:lnTo>
                  <a:lnTo>
                    <a:pt x="169106" y="434501"/>
                  </a:lnTo>
                  <a:lnTo>
                    <a:pt x="7626" y="273021"/>
                  </a:lnTo>
                  <a:lnTo>
                    <a:pt x="7626" y="146827"/>
                  </a:lnTo>
                  <a:lnTo>
                    <a:pt x="124400" y="30053"/>
                  </a:lnTo>
                  <a:lnTo>
                    <a:pt x="167311" y="30053"/>
                  </a:lnTo>
                  <a:cubicBezTo>
                    <a:pt x="169106" y="42762"/>
                    <a:pt x="180021" y="52631"/>
                    <a:pt x="193328" y="52631"/>
                  </a:cubicBezTo>
                  <a:cubicBezTo>
                    <a:pt x="207831" y="52631"/>
                    <a:pt x="219643" y="40819"/>
                    <a:pt x="219643" y="26315"/>
                  </a:cubicBezTo>
                  <a:cubicBezTo>
                    <a:pt x="219643" y="11812"/>
                    <a:pt x="207831" y="0"/>
                    <a:pt x="193328" y="0"/>
                  </a:cubicBezTo>
                  <a:cubicBezTo>
                    <a:pt x="180021" y="0"/>
                    <a:pt x="169106" y="9868"/>
                    <a:pt x="167311" y="22577"/>
                  </a:cubicBezTo>
                  <a:lnTo>
                    <a:pt x="121260" y="22577"/>
                  </a:lnTo>
                  <a:lnTo>
                    <a:pt x="0" y="143837"/>
                  </a:lnTo>
                  <a:lnTo>
                    <a:pt x="0" y="276161"/>
                  </a:lnTo>
                  <a:lnTo>
                    <a:pt x="165966" y="442127"/>
                  </a:lnTo>
                  <a:lnTo>
                    <a:pt x="425381" y="442127"/>
                  </a:lnTo>
                  <a:lnTo>
                    <a:pt x="730399" y="747145"/>
                  </a:lnTo>
                  <a:lnTo>
                    <a:pt x="1308588" y="747145"/>
                  </a:lnTo>
                  <a:lnTo>
                    <a:pt x="1365405" y="690328"/>
                  </a:lnTo>
                  <a:lnTo>
                    <a:pt x="1897991" y="690328"/>
                  </a:lnTo>
                  <a:lnTo>
                    <a:pt x="1954210" y="746547"/>
                  </a:lnTo>
                  <a:lnTo>
                    <a:pt x="2434763" y="746547"/>
                  </a:lnTo>
                  <a:lnTo>
                    <a:pt x="2434763" y="739071"/>
                  </a:lnTo>
                  <a:lnTo>
                    <a:pt x="1957350" y="739071"/>
                  </a:lnTo>
                  <a:lnTo>
                    <a:pt x="1901130" y="682702"/>
                  </a:lnTo>
                  <a:close/>
                  <a:moveTo>
                    <a:pt x="193178" y="7326"/>
                  </a:moveTo>
                  <a:cubicBezTo>
                    <a:pt x="203645" y="7326"/>
                    <a:pt x="212018" y="15849"/>
                    <a:pt x="212018" y="26166"/>
                  </a:cubicBezTo>
                  <a:cubicBezTo>
                    <a:pt x="212018" y="36632"/>
                    <a:pt x="203495" y="45005"/>
                    <a:pt x="193178" y="45005"/>
                  </a:cubicBezTo>
                  <a:cubicBezTo>
                    <a:pt x="182862" y="45005"/>
                    <a:pt x="174339" y="36482"/>
                    <a:pt x="174339" y="26166"/>
                  </a:cubicBezTo>
                  <a:cubicBezTo>
                    <a:pt x="174339" y="15699"/>
                    <a:pt x="182862" y="7326"/>
                    <a:pt x="193178" y="732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5818185" y="-1169999"/>
              <a:ext cx="2631529" cy="209326"/>
            </a:xfrm>
            <a:custGeom>
              <a:avLst/>
              <a:gdLst>
                <a:gd name="connsiteX0" fmla="*/ 2487543 w 2631529"/>
                <a:gd name="connsiteY0" fmla="*/ 42762 h 209326"/>
                <a:gd name="connsiteX1" fmla="*/ 2059919 w 2631529"/>
                <a:gd name="connsiteY1" fmla="*/ 42762 h 209326"/>
                <a:gd name="connsiteX2" fmla="*/ 2017157 w 2631529"/>
                <a:gd name="connsiteY2" fmla="*/ 0 h 209326"/>
                <a:gd name="connsiteX3" fmla="*/ 1762078 w 2631529"/>
                <a:gd name="connsiteY3" fmla="*/ 0 h 209326"/>
                <a:gd name="connsiteX4" fmla="*/ 1715727 w 2631529"/>
                <a:gd name="connsiteY4" fmla="*/ 46351 h 209326"/>
                <a:gd name="connsiteX5" fmla="*/ 1193309 w 2631529"/>
                <a:gd name="connsiteY5" fmla="*/ 46351 h 209326"/>
                <a:gd name="connsiteX6" fmla="*/ 1148902 w 2631529"/>
                <a:gd name="connsiteY6" fmla="*/ 1944 h 209326"/>
                <a:gd name="connsiteX7" fmla="*/ 754770 w 2631529"/>
                <a:gd name="connsiteY7" fmla="*/ 1944 h 209326"/>
                <a:gd name="connsiteX8" fmla="*/ 543949 w 2631529"/>
                <a:gd name="connsiteY8" fmla="*/ 212765 h 209326"/>
                <a:gd name="connsiteX9" fmla="*/ 292159 w 2631529"/>
                <a:gd name="connsiteY9" fmla="*/ 212765 h 209326"/>
                <a:gd name="connsiteX10" fmla="*/ 127091 w 2631529"/>
                <a:gd name="connsiteY10" fmla="*/ 47696 h 209326"/>
                <a:gd name="connsiteX11" fmla="*/ 52332 w 2631529"/>
                <a:gd name="connsiteY11" fmla="*/ 47696 h 209326"/>
                <a:gd name="connsiteX12" fmla="*/ 26315 w 2631529"/>
                <a:gd name="connsiteY12" fmla="*/ 25269 h 209326"/>
                <a:gd name="connsiteX13" fmla="*/ 0 w 2631529"/>
                <a:gd name="connsiteY13" fmla="*/ 51584 h 209326"/>
                <a:gd name="connsiteX14" fmla="*/ 26315 w 2631529"/>
                <a:gd name="connsiteY14" fmla="*/ 77899 h 209326"/>
                <a:gd name="connsiteX15" fmla="*/ 52332 w 2631529"/>
                <a:gd name="connsiteY15" fmla="*/ 55172 h 209326"/>
                <a:gd name="connsiteX16" fmla="*/ 123951 w 2631529"/>
                <a:gd name="connsiteY16" fmla="*/ 55172 h 209326"/>
                <a:gd name="connsiteX17" fmla="*/ 289020 w 2631529"/>
                <a:gd name="connsiteY17" fmla="*/ 220241 h 209326"/>
                <a:gd name="connsiteX18" fmla="*/ 547089 w 2631529"/>
                <a:gd name="connsiteY18" fmla="*/ 220241 h 209326"/>
                <a:gd name="connsiteX19" fmla="*/ 757910 w 2631529"/>
                <a:gd name="connsiteY19" fmla="*/ 9420 h 209326"/>
                <a:gd name="connsiteX20" fmla="*/ 1145762 w 2631529"/>
                <a:gd name="connsiteY20" fmla="*/ 9420 h 209326"/>
                <a:gd name="connsiteX21" fmla="*/ 1190169 w 2631529"/>
                <a:gd name="connsiteY21" fmla="*/ 53827 h 209326"/>
                <a:gd name="connsiteX22" fmla="*/ 1718867 w 2631529"/>
                <a:gd name="connsiteY22" fmla="*/ 53827 h 209326"/>
                <a:gd name="connsiteX23" fmla="*/ 1765218 w 2631529"/>
                <a:gd name="connsiteY23" fmla="*/ 7476 h 209326"/>
                <a:gd name="connsiteX24" fmla="*/ 2014017 w 2631529"/>
                <a:gd name="connsiteY24" fmla="*/ 7476 h 209326"/>
                <a:gd name="connsiteX25" fmla="*/ 2056779 w 2631529"/>
                <a:gd name="connsiteY25" fmla="*/ 50238 h 209326"/>
                <a:gd name="connsiteX26" fmla="*/ 2490683 w 2631529"/>
                <a:gd name="connsiteY26" fmla="*/ 50238 h 209326"/>
                <a:gd name="connsiteX27" fmla="*/ 2524324 w 2631529"/>
                <a:gd name="connsiteY27" fmla="*/ 16597 h 209326"/>
                <a:gd name="connsiteX28" fmla="*/ 2632128 w 2631529"/>
                <a:gd name="connsiteY28" fmla="*/ 16597 h 209326"/>
                <a:gd name="connsiteX29" fmla="*/ 2632128 w 2631529"/>
                <a:gd name="connsiteY29" fmla="*/ 9121 h 209326"/>
                <a:gd name="connsiteX30" fmla="*/ 2521185 w 2631529"/>
                <a:gd name="connsiteY30" fmla="*/ 9121 h 209326"/>
                <a:gd name="connsiteX31" fmla="*/ 2487543 w 2631529"/>
                <a:gd name="connsiteY31" fmla="*/ 42762 h 209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31529" h="209326">
                  <a:moveTo>
                    <a:pt x="2487543" y="42762"/>
                  </a:moveTo>
                  <a:lnTo>
                    <a:pt x="2059919" y="42762"/>
                  </a:lnTo>
                  <a:lnTo>
                    <a:pt x="2017157" y="0"/>
                  </a:lnTo>
                  <a:lnTo>
                    <a:pt x="1762078" y="0"/>
                  </a:lnTo>
                  <a:lnTo>
                    <a:pt x="1715727" y="46351"/>
                  </a:lnTo>
                  <a:lnTo>
                    <a:pt x="1193309" y="46351"/>
                  </a:lnTo>
                  <a:lnTo>
                    <a:pt x="1148902" y="1944"/>
                  </a:lnTo>
                  <a:lnTo>
                    <a:pt x="754770" y="1944"/>
                  </a:lnTo>
                  <a:lnTo>
                    <a:pt x="543949" y="212765"/>
                  </a:lnTo>
                  <a:lnTo>
                    <a:pt x="292159" y="212765"/>
                  </a:lnTo>
                  <a:lnTo>
                    <a:pt x="127091" y="47696"/>
                  </a:lnTo>
                  <a:lnTo>
                    <a:pt x="52332" y="47696"/>
                  </a:lnTo>
                  <a:cubicBezTo>
                    <a:pt x="50388" y="34987"/>
                    <a:pt x="39622" y="25269"/>
                    <a:pt x="26315" y="25269"/>
                  </a:cubicBezTo>
                  <a:cubicBezTo>
                    <a:pt x="11812" y="25269"/>
                    <a:pt x="0" y="37081"/>
                    <a:pt x="0" y="51584"/>
                  </a:cubicBezTo>
                  <a:cubicBezTo>
                    <a:pt x="0" y="66087"/>
                    <a:pt x="11812" y="77899"/>
                    <a:pt x="26315" y="77899"/>
                  </a:cubicBezTo>
                  <a:cubicBezTo>
                    <a:pt x="39622" y="77899"/>
                    <a:pt x="50537" y="68031"/>
                    <a:pt x="52332" y="55172"/>
                  </a:cubicBezTo>
                  <a:lnTo>
                    <a:pt x="123951" y="55172"/>
                  </a:lnTo>
                  <a:lnTo>
                    <a:pt x="289020" y="220241"/>
                  </a:lnTo>
                  <a:lnTo>
                    <a:pt x="547089" y="220241"/>
                  </a:lnTo>
                  <a:lnTo>
                    <a:pt x="757910" y="9420"/>
                  </a:lnTo>
                  <a:lnTo>
                    <a:pt x="1145762" y="9420"/>
                  </a:lnTo>
                  <a:lnTo>
                    <a:pt x="1190169" y="53827"/>
                  </a:lnTo>
                  <a:lnTo>
                    <a:pt x="1718867" y="53827"/>
                  </a:lnTo>
                  <a:lnTo>
                    <a:pt x="1765218" y="7476"/>
                  </a:lnTo>
                  <a:lnTo>
                    <a:pt x="2014017" y="7476"/>
                  </a:lnTo>
                  <a:lnTo>
                    <a:pt x="2056779" y="50238"/>
                  </a:lnTo>
                  <a:lnTo>
                    <a:pt x="2490683" y="50238"/>
                  </a:lnTo>
                  <a:lnTo>
                    <a:pt x="2524324" y="16597"/>
                  </a:lnTo>
                  <a:lnTo>
                    <a:pt x="2632128" y="16597"/>
                  </a:lnTo>
                  <a:lnTo>
                    <a:pt x="2632128" y="9121"/>
                  </a:lnTo>
                  <a:lnTo>
                    <a:pt x="2521185" y="9121"/>
                  </a:lnTo>
                  <a:lnTo>
                    <a:pt x="2487543" y="42762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5601233" y="-1145328"/>
              <a:ext cx="2840855" cy="403700"/>
            </a:xfrm>
            <a:custGeom>
              <a:avLst/>
              <a:gdLst>
                <a:gd name="connsiteX0" fmla="*/ 2712569 w 2840855"/>
                <a:gd name="connsiteY0" fmla="*/ 43809 h 403700"/>
                <a:gd name="connsiteX1" fmla="*/ 2540921 w 2840855"/>
                <a:gd name="connsiteY1" fmla="*/ 43809 h 403700"/>
                <a:gd name="connsiteX2" fmla="*/ 2525072 w 2840855"/>
                <a:gd name="connsiteY2" fmla="*/ 59658 h 403700"/>
                <a:gd name="connsiteX3" fmla="*/ 2279413 w 2840855"/>
                <a:gd name="connsiteY3" fmla="*/ 59658 h 403700"/>
                <a:gd name="connsiteX4" fmla="*/ 2222297 w 2840855"/>
                <a:gd name="connsiteY4" fmla="*/ 2542 h 403700"/>
                <a:gd name="connsiteX5" fmla="*/ 1990393 w 2840855"/>
                <a:gd name="connsiteY5" fmla="*/ 2542 h 403700"/>
                <a:gd name="connsiteX6" fmla="*/ 1951967 w 2840855"/>
                <a:gd name="connsiteY6" fmla="*/ 40968 h 403700"/>
                <a:gd name="connsiteX7" fmla="*/ 1396654 w 2840855"/>
                <a:gd name="connsiteY7" fmla="*/ 40968 h 403700"/>
                <a:gd name="connsiteX8" fmla="*/ 1355686 w 2840855"/>
                <a:gd name="connsiteY8" fmla="*/ 0 h 403700"/>
                <a:gd name="connsiteX9" fmla="*/ 995197 w 2840855"/>
                <a:gd name="connsiteY9" fmla="*/ 0 h 403700"/>
                <a:gd name="connsiteX10" fmla="*/ 784375 w 2840855"/>
                <a:gd name="connsiteY10" fmla="*/ 210821 h 403700"/>
                <a:gd name="connsiteX11" fmla="*/ 665508 w 2840855"/>
                <a:gd name="connsiteY11" fmla="*/ 210821 h 403700"/>
                <a:gd name="connsiteX12" fmla="*/ 632614 w 2840855"/>
                <a:gd name="connsiteY12" fmla="*/ 243716 h 403700"/>
                <a:gd name="connsiteX13" fmla="*/ 395776 w 2840855"/>
                <a:gd name="connsiteY13" fmla="*/ 243716 h 403700"/>
                <a:gd name="connsiteX14" fmla="*/ 301878 w 2840855"/>
                <a:gd name="connsiteY14" fmla="*/ 337613 h 403700"/>
                <a:gd name="connsiteX15" fmla="*/ 78647 w 2840855"/>
                <a:gd name="connsiteY15" fmla="*/ 337613 h 403700"/>
                <a:gd name="connsiteX16" fmla="*/ 43809 w 2840855"/>
                <a:gd name="connsiteY16" fmla="*/ 372451 h 403700"/>
                <a:gd name="connsiteX17" fmla="*/ 26315 w 2840855"/>
                <a:gd name="connsiteY17" fmla="*/ 365723 h 403700"/>
                <a:gd name="connsiteX18" fmla="*/ 0 w 2840855"/>
                <a:gd name="connsiteY18" fmla="*/ 392038 h 403700"/>
                <a:gd name="connsiteX19" fmla="*/ 26315 w 2840855"/>
                <a:gd name="connsiteY19" fmla="*/ 418353 h 403700"/>
                <a:gd name="connsiteX20" fmla="*/ 52631 w 2840855"/>
                <a:gd name="connsiteY20" fmla="*/ 392038 h 403700"/>
                <a:gd name="connsiteX21" fmla="*/ 48594 w 2840855"/>
                <a:gd name="connsiteY21" fmla="*/ 378133 h 403700"/>
                <a:gd name="connsiteX22" fmla="*/ 81787 w 2840855"/>
                <a:gd name="connsiteY22" fmla="*/ 344940 h 403700"/>
                <a:gd name="connsiteX23" fmla="*/ 305018 w 2840855"/>
                <a:gd name="connsiteY23" fmla="*/ 344940 h 403700"/>
                <a:gd name="connsiteX24" fmla="*/ 398916 w 2840855"/>
                <a:gd name="connsiteY24" fmla="*/ 251042 h 403700"/>
                <a:gd name="connsiteX25" fmla="*/ 635754 w 2840855"/>
                <a:gd name="connsiteY25" fmla="*/ 251042 h 403700"/>
                <a:gd name="connsiteX26" fmla="*/ 668648 w 2840855"/>
                <a:gd name="connsiteY26" fmla="*/ 218148 h 403700"/>
                <a:gd name="connsiteX27" fmla="*/ 787515 w 2840855"/>
                <a:gd name="connsiteY27" fmla="*/ 218148 h 403700"/>
                <a:gd name="connsiteX28" fmla="*/ 998337 w 2840855"/>
                <a:gd name="connsiteY28" fmla="*/ 7326 h 403700"/>
                <a:gd name="connsiteX29" fmla="*/ 1352696 w 2840855"/>
                <a:gd name="connsiteY29" fmla="*/ 7326 h 403700"/>
                <a:gd name="connsiteX30" fmla="*/ 1393664 w 2840855"/>
                <a:gd name="connsiteY30" fmla="*/ 48295 h 403700"/>
                <a:gd name="connsiteX31" fmla="*/ 1955256 w 2840855"/>
                <a:gd name="connsiteY31" fmla="*/ 48295 h 403700"/>
                <a:gd name="connsiteX32" fmla="*/ 1993682 w 2840855"/>
                <a:gd name="connsiteY32" fmla="*/ 9868 h 403700"/>
                <a:gd name="connsiteX33" fmla="*/ 2219306 w 2840855"/>
                <a:gd name="connsiteY33" fmla="*/ 9868 h 403700"/>
                <a:gd name="connsiteX34" fmla="*/ 2276422 w 2840855"/>
                <a:gd name="connsiteY34" fmla="*/ 66985 h 403700"/>
                <a:gd name="connsiteX35" fmla="*/ 2528362 w 2840855"/>
                <a:gd name="connsiteY35" fmla="*/ 66985 h 403700"/>
                <a:gd name="connsiteX36" fmla="*/ 2544211 w 2840855"/>
                <a:gd name="connsiteY36" fmla="*/ 51136 h 403700"/>
                <a:gd name="connsiteX37" fmla="*/ 2715858 w 2840855"/>
                <a:gd name="connsiteY37" fmla="*/ 51136 h 403700"/>
                <a:gd name="connsiteX38" fmla="*/ 2753985 w 2840855"/>
                <a:gd name="connsiteY38" fmla="*/ 13008 h 403700"/>
                <a:gd name="connsiteX39" fmla="*/ 2849229 w 2840855"/>
                <a:gd name="connsiteY39" fmla="*/ 13008 h 403700"/>
                <a:gd name="connsiteX40" fmla="*/ 2849229 w 2840855"/>
                <a:gd name="connsiteY40" fmla="*/ 5532 h 403700"/>
                <a:gd name="connsiteX41" fmla="*/ 2750845 w 2840855"/>
                <a:gd name="connsiteY41" fmla="*/ 5532 h 403700"/>
                <a:gd name="connsiteX42" fmla="*/ 2712569 w 2840855"/>
                <a:gd name="connsiteY42" fmla="*/ 43809 h 403700"/>
                <a:gd name="connsiteX43" fmla="*/ 26016 w 2840855"/>
                <a:gd name="connsiteY43" fmla="*/ 410878 h 403700"/>
                <a:gd name="connsiteX44" fmla="*/ 7177 w 2840855"/>
                <a:gd name="connsiteY44" fmla="*/ 392038 h 403700"/>
                <a:gd name="connsiteX45" fmla="*/ 26016 w 2840855"/>
                <a:gd name="connsiteY45" fmla="*/ 373199 h 403700"/>
                <a:gd name="connsiteX46" fmla="*/ 44856 w 2840855"/>
                <a:gd name="connsiteY46" fmla="*/ 392038 h 403700"/>
                <a:gd name="connsiteX47" fmla="*/ 26016 w 2840855"/>
                <a:gd name="connsiteY47" fmla="*/ 410878 h 40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840855" h="403700">
                  <a:moveTo>
                    <a:pt x="2712569" y="43809"/>
                  </a:moveTo>
                  <a:lnTo>
                    <a:pt x="2540921" y="43809"/>
                  </a:lnTo>
                  <a:lnTo>
                    <a:pt x="2525072" y="59658"/>
                  </a:lnTo>
                  <a:lnTo>
                    <a:pt x="2279413" y="59658"/>
                  </a:lnTo>
                  <a:lnTo>
                    <a:pt x="2222297" y="2542"/>
                  </a:lnTo>
                  <a:lnTo>
                    <a:pt x="1990393" y="2542"/>
                  </a:lnTo>
                  <a:lnTo>
                    <a:pt x="1951967" y="40968"/>
                  </a:lnTo>
                  <a:lnTo>
                    <a:pt x="1396654" y="40968"/>
                  </a:lnTo>
                  <a:lnTo>
                    <a:pt x="1355686" y="0"/>
                  </a:lnTo>
                  <a:lnTo>
                    <a:pt x="995197" y="0"/>
                  </a:lnTo>
                  <a:lnTo>
                    <a:pt x="784375" y="210821"/>
                  </a:lnTo>
                  <a:lnTo>
                    <a:pt x="665508" y="210821"/>
                  </a:lnTo>
                  <a:lnTo>
                    <a:pt x="632614" y="243716"/>
                  </a:lnTo>
                  <a:lnTo>
                    <a:pt x="395776" y="243716"/>
                  </a:lnTo>
                  <a:lnTo>
                    <a:pt x="301878" y="337613"/>
                  </a:lnTo>
                  <a:lnTo>
                    <a:pt x="78647" y="337613"/>
                  </a:lnTo>
                  <a:lnTo>
                    <a:pt x="43809" y="372451"/>
                  </a:lnTo>
                  <a:cubicBezTo>
                    <a:pt x="39174" y="368265"/>
                    <a:pt x="33044" y="365723"/>
                    <a:pt x="26315" y="365723"/>
                  </a:cubicBezTo>
                  <a:cubicBezTo>
                    <a:pt x="11812" y="365723"/>
                    <a:pt x="0" y="377535"/>
                    <a:pt x="0" y="392038"/>
                  </a:cubicBezTo>
                  <a:cubicBezTo>
                    <a:pt x="0" y="406541"/>
                    <a:pt x="11812" y="418353"/>
                    <a:pt x="26315" y="418353"/>
                  </a:cubicBezTo>
                  <a:cubicBezTo>
                    <a:pt x="40819" y="418353"/>
                    <a:pt x="52631" y="406541"/>
                    <a:pt x="52631" y="392038"/>
                  </a:cubicBezTo>
                  <a:cubicBezTo>
                    <a:pt x="52631" y="386954"/>
                    <a:pt x="51135" y="382170"/>
                    <a:pt x="48594" y="378133"/>
                  </a:cubicBezTo>
                  <a:lnTo>
                    <a:pt x="81787" y="344940"/>
                  </a:lnTo>
                  <a:lnTo>
                    <a:pt x="305018" y="344940"/>
                  </a:lnTo>
                  <a:lnTo>
                    <a:pt x="398916" y="251042"/>
                  </a:lnTo>
                  <a:lnTo>
                    <a:pt x="635754" y="251042"/>
                  </a:lnTo>
                  <a:lnTo>
                    <a:pt x="668648" y="218148"/>
                  </a:lnTo>
                  <a:lnTo>
                    <a:pt x="787515" y="218148"/>
                  </a:lnTo>
                  <a:lnTo>
                    <a:pt x="998337" y="7326"/>
                  </a:lnTo>
                  <a:lnTo>
                    <a:pt x="1352696" y="7326"/>
                  </a:lnTo>
                  <a:lnTo>
                    <a:pt x="1393664" y="48295"/>
                  </a:lnTo>
                  <a:lnTo>
                    <a:pt x="1955256" y="48295"/>
                  </a:lnTo>
                  <a:lnTo>
                    <a:pt x="1993682" y="9868"/>
                  </a:lnTo>
                  <a:lnTo>
                    <a:pt x="2219306" y="9868"/>
                  </a:lnTo>
                  <a:lnTo>
                    <a:pt x="2276422" y="66985"/>
                  </a:lnTo>
                  <a:lnTo>
                    <a:pt x="2528362" y="66985"/>
                  </a:lnTo>
                  <a:lnTo>
                    <a:pt x="2544211" y="51136"/>
                  </a:lnTo>
                  <a:lnTo>
                    <a:pt x="2715858" y="51136"/>
                  </a:lnTo>
                  <a:lnTo>
                    <a:pt x="2753985" y="13008"/>
                  </a:lnTo>
                  <a:lnTo>
                    <a:pt x="2849229" y="13008"/>
                  </a:lnTo>
                  <a:lnTo>
                    <a:pt x="2849229" y="5532"/>
                  </a:lnTo>
                  <a:lnTo>
                    <a:pt x="2750845" y="5532"/>
                  </a:lnTo>
                  <a:lnTo>
                    <a:pt x="2712569" y="43809"/>
                  </a:lnTo>
                  <a:close/>
                  <a:moveTo>
                    <a:pt x="26016" y="410878"/>
                  </a:moveTo>
                  <a:cubicBezTo>
                    <a:pt x="15550" y="410878"/>
                    <a:pt x="7177" y="402355"/>
                    <a:pt x="7177" y="392038"/>
                  </a:cubicBezTo>
                  <a:cubicBezTo>
                    <a:pt x="7177" y="381572"/>
                    <a:pt x="15700" y="373199"/>
                    <a:pt x="26016" y="373199"/>
                  </a:cubicBezTo>
                  <a:cubicBezTo>
                    <a:pt x="36483" y="373199"/>
                    <a:pt x="44856" y="381721"/>
                    <a:pt x="44856" y="392038"/>
                  </a:cubicBezTo>
                  <a:cubicBezTo>
                    <a:pt x="44856" y="402505"/>
                    <a:pt x="36333" y="410878"/>
                    <a:pt x="26016" y="410878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7311578" y="-1025265"/>
              <a:ext cx="1136342" cy="104663"/>
            </a:xfrm>
            <a:custGeom>
              <a:avLst/>
              <a:gdLst>
                <a:gd name="connsiteX0" fmla="*/ 791104 w 1136342"/>
                <a:gd name="connsiteY0" fmla="*/ 61602 h 104663"/>
                <a:gd name="connsiteX1" fmla="*/ 618260 w 1136342"/>
                <a:gd name="connsiteY1" fmla="*/ 61602 h 104663"/>
                <a:gd name="connsiteX2" fmla="*/ 571610 w 1136342"/>
                <a:gd name="connsiteY2" fmla="*/ 108251 h 104663"/>
                <a:gd name="connsiteX3" fmla="*/ 111989 w 1136342"/>
                <a:gd name="connsiteY3" fmla="*/ 108251 h 104663"/>
                <a:gd name="connsiteX4" fmla="*/ 46650 w 1136342"/>
                <a:gd name="connsiteY4" fmla="*/ 42912 h 104663"/>
                <a:gd name="connsiteX5" fmla="*/ 52630 w 1136342"/>
                <a:gd name="connsiteY5" fmla="*/ 26315 h 104663"/>
                <a:gd name="connsiteX6" fmla="*/ 26315 w 1136342"/>
                <a:gd name="connsiteY6" fmla="*/ 0 h 104663"/>
                <a:gd name="connsiteX7" fmla="*/ 0 w 1136342"/>
                <a:gd name="connsiteY7" fmla="*/ 26315 h 104663"/>
                <a:gd name="connsiteX8" fmla="*/ 26315 w 1136342"/>
                <a:gd name="connsiteY8" fmla="*/ 52630 h 104663"/>
                <a:gd name="connsiteX9" fmla="*/ 41267 w 1136342"/>
                <a:gd name="connsiteY9" fmla="*/ 47995 h 104663"/>
                <a:gd name="connsiteX10" fmla="*/ 108999 w 1136342"/>
                <a:gd name="connsiteY10" fmla="*/ 115727 h 104663"/>
                <a:gd name="connsiteX11" fmla="*/ 574899 w 1136342"/>
                <a:gd name="connsiteY11" fmla="*/ 115727 h 104663"/>
                <a:gd name="connsiteX12" fmla="*/ 621549 w 1136342"/>
                <a:gd name="connsiteY12" fmla="*/ 69078 h 104663"/>
                <a:gd name="connsiteX13" fmla="*/ 788113 w 1136342"/>
                <a:gd name="connsiteY13" fmla="*/ 69078 h 104663"/>
                <a:gd name="connsiteX14" fmla="*/ 838202 w 1136342"/>
                <a:gd name="connsiteY14" fmla="*/ 119166 h 104663"/>
                <a:gd name="connsiteX15" fmla="*/ 1138884 w 1136342"/>
                <a:gd name="connsiteY15" fmla="*/ 119166 h 104663"/>
                <a:gd name="connsiteX16" fmla="*/ 1138884 w 1136342"/>
                <a:gd name="connsiteY16" fmla="*/ 111690 h 104663"/>
                <a:gd name="connsiteX17" fmla="*/ 841342 w 1136342"/>
                <a:gd name="connsiteY17" fmla="*/ 111690 h 104663"/>
                <a:gd name="connsiteX18" fmla="*/ 791104 w 1136342"/>
                <a:gd name="connsiteY18" fmla="*/ 61602 h 104663"/>
                <a:gd name="connsiteX19" fmla="*/ 26166 w 1136342"/>
                <a:gd name="connsiteY19" fmla="*/ 45154 h 104663"/>
                <a:gd name="connsiteX20" fmla="*/ 7326 w 1136342"/>
                <a:gd name="connsiteY20" fmla="*/ 26315 h 104663"/>
                <a:gd name="connsiteX21" fmla="*/ 26166 w 1136342"/>
                <a:gd name="connsiteY21" fmla="*/ 7476 h 104663"/>
                <a:gd name="connsiteX22" fmla="*/ 45005 w 1136342"/>
                <a:gd name="connsiteY22" fmla="*/ 26315 h 104663"/>
                <a:gd name="connsiteX23" fmla="*/ 26166 w 1136342"/>
                <a:gd name="connsiteY23" fmla="*/ 45154 h 104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36342" h="104663">
                  <a:moveTo>
                    <a:pt x="791104" y="61602"/>
                  </a:moveTo>
                  <a:lnTo>
                    <a:pt x="618260" y="61602"/>
                  </a:lnTo>
                  <a:lnTo>
                    <a:pt x="571610" y="108251"/>
                  </a:lnTo>
                  <a:lnTo>
                    <a:pt x="111989" y="108251"/>
                  </a:lnTo>
                  <a:lnTo>
                    <a:pt x="46650" y="42912"/>
                  </a:lnTo>
                  <a:cubicBezTo>
                    <a:pt x="50388" y="38426"/>
                    <a:pt x="52630" y="32595"/>
                    <a:pt x="52630" y="26315"/>
                  </a:cubicBezTo>
                  <a:cubicBezTo>
                    <a:pt x="52630" y="11812"/>
                    <a:pt x="40818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0"/>
                    <a:pt x="26315" y="52630"/>
                  </a:cubicBezTo>
                  <a:cubicBezTo>
                    <a:pt x="31848" y="52630"/>
                    <a:pt x="36931" y="50836"/>
                    <a:pt x="41267" y="47995"/>
                  </a:cubicBezTo>
                  <a:lnTo>
                    <a:pt x="108999" y="115727"/>
                  </a:lnTo>
                  <a:lnTo>
                    <a:pt x="574899" y="115727"/>
                  </a:lnTo>
                  <a:lnTo>
                    <a:pt x="621549" y="69078"/>
                  </a:lnTo>
                  <a:lnTo>
                    <a:pt x="788113" y="69078"/>
                  </a:lnTo>
                  <a:lnTo>
                    <a:pt x="838202" y="119166"/>
                  </a:lnTo>
                  <a:lnTo>
                    <a:pt x="1138884" y="119166"/>
                  </a:lnTo>
                  <a:lnTo>
                    <a:pt x="1138884" y="111690"/>
                  </a:lnTo>
                  <a:lnTo>
                    <a:pt x="841342" y="111690"/>
                  </a:lnTo>
                  <a:lnTo>
                    <a:pt x="791104" y="61602"/>
                  </a:lnTo>
                  <a:close/>
                  <a:moveTo>
                    <a:pt x="26166" y="45154"/>
                  </a:moveTo>
                  <a:cubicBezTo>
                    <a:pt x="15699" y="45154"/>
                    <a:pt x="7326" y="36632"/>
                    <a:pt x="7326" y="26315"/>
                  </a:cubicBezTo>
                  <a:cubicBezTo>
                    <a:pt x="7326" y="15849"/>
                    <a:pt x="15849" y="7476"/>
                    <a:pt x="26166" y="7476"/>
                  </a:cubicBezTo>
                  <a:cubicBezTo>
                    <a:pt x="36632" y="7476"/>
                    <a:pt x="45005" y="15998"/>
                    <a:pt x="45005" y="26315"/>
                  </a:cubicBezTo>
                  <a:cubicBezTo>
                    <a:pt x="45005" y="36632"/>
                    <a:pt x="36632" y="45154"/>
                    <a:pt x="26166" y="45154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6186150" y="-1010612"/>
              <a:ext cx="2257732" cy="493412"/>
            </a:xfrm>
            <a:custGeom>
              <a:avLst/>
              <a:gdLst>
                <a:gd name="connsiteX0" fmla="*/ 1684029 w 2257732"/>
                <a:gd name="connsiteY0" fmla="*/ 210522 h 493411"/>
                <a:gd name="connsiteX1" fmla="*/ 1450481 w 2257732"/>
                <a:gd name="connsiteY1" fmla="*/ 210522 h 493411"/>
                <a:gd name="connsiteX2" fmla="*/ 1422371 w 2257732"/>
                <a:gd name="connsiteY2" fmla="*/ 182413 h 493411"/>
                <a:gd name="connsiteX3" fmla="*/ 1123782 w 2257732"/>
                <a:gd name="connsiteY3" fmla="*/ 182413 h 493411"/>
                <a:gd name="connsiteX4" fmla="*/ 941370 w 2257732"/>
                <a:gd name="connsiteY4" fmla="*/ 0 h 493411"/>
                <a:gd name="connsiteX5" fmla="*/ 899654 w 2257732"/>
                <a:gd name="connsiteY5" fmla="*/ 0 h 493411"/>
                <a:gd name="connsiteX6" fmla="*/ 792449 w 2257732"/>
                <a:gd name="connsiteY6" fmla="*/ 107205 h 493411"/>
                <a:gd name="connsiteX7" fmla="*/ 302626 w 2257732"/>
                <a:gd name="connsiteY7" fmla="*/ 107205 h 493411"/>
                <a:gd name="connsiteX8" fmla="*/ 59508 w 2257732"/>
                <a:gd name="connsiteY8" fmla="*/ 350322 h 493411"/>
                <a:gd name="connsiteX9" fmla="*/ 59508 w 2257732"/>
                <a:gd name="connsiteY9" fmla="*/ 436295 h 493411"/>
                <a:gd name="connsiteX10" fmla="*/ 42463 w 2257732"/>
                <a:gd name="connsiteY10" fmla="*/ 453341 h 493411"/>
                <a:gd name="connsiteX11" fmla="*/ 26315 w 2257732"/>
                <a:gd name="connsiteY11" fmla="*/ 447659 h 493411"/>
                <a:gd name="connsiteX12" fmla="*/ 0 w 2257732"/>
                <a:gd name="connsiteY12" fmla="*/ 473974 h 493411"/>
                <a:gd name="connsiteX13" fmla="*/ 26315 w 2257732"/>
                <a:gd name="connsiteY13" fmla="*/ 500289 h 493411"/>
                <a:gd name="connsiteX14" fmla="*/ 52630 w 2257732"/>
                <a:gd name="connsiteY14" fmla="*/ 473974 h 493411"/>
                <a:gd name="connsiteX15" fmla="*/ 47696 w 2257732"/>
                <a:gd name="connsiteY15" fmla="*/ 458723 h 493411"/>
                <a:gd name="connsiteX16" fmla="*/ 66984 w 2257732"/>
                <a:gd name="connsiteY16" fmla="*/ 439435 h 493411"/>
                <a:gd name="connsiteX17" fmla="*/ 66984 w 2257732"/>
                <a:gd name="connsiteY17" fmla="*/ 353462 h 493411"/>
                <a:gd name="connsiteX18" fmla="*/ 305616 w 2257732"/>
                <a:gd name="connsiteY18" fmla="*/ 114830 h 493411"/>
                <a:gd name="connsiteX19" fmla="*/ 795440 w 2257732"/>
                <a:gd name="connsiteY19" fmla="*/ 114830 h 493411"/>
                <a:gd name="connsiteX20" fmla="*/ 902644 w 2257732"/>
                <a:gd name="connsiteY20" fmla="*/ 7625 h 493411"/>
                <a:gd name="connsiteX21" fmla="*/ 938230 w 2257732"/>
                <a:gd name="connsiteY21" fmla="*/ 7625 h 493411"/>
                <a:gd name="connsiteX22" fmla="*/ 1120643 w 2257732"/>
                <a:gd name="connsiteY22" fmla="*/ 190038 h 493411"/>
                <a:gd name="connsiteX23" fmla="*/ 1419381 w 2257732"/>
                <a:gd name="connsiteY23" fmla="*/ 190038 h 493411"/>
                <a:gd name="connsiteX24" fmla="*/ 1447490 w 2257732"/>
                <a:gd name="connsiteY24" fmla="*/ 218148 h 493411"/>
                <a:gd name="connsiteX25" fmla="*/ 1687319 w 2257732"/>
                <a:gd name="connsiteY25" fmla="*/ 218148 h 493411"/>
                <a:gd name="connsiteX26" fmla="*/ 1717521 w 2257732"/>
                <a:gd name="connsiteY26" fmla="*/ 187945 h 493411"/>
                <a:gd name="connsiteX27" fmla="*/ 2264311 w 2257732"/>
                <a:gd name="connsiteY27" fmla="*/ 187945 h 493411"/>
                <a:gd name="connsiteX28" fmla="*/ 2264311 w 2257732"/>
                <a:gd name="connsiteY28" fmla="*/ 180469 h 493411"/>
                <a:gd name="connsiteX29" fmla="*/ 1714381 w 2257732"/>
                <a:gd name="connsiteY29" fmla="*/ 180469 h 493411"/>
                <a:gd name="connsiteX30" fmla="*/ 1684029 w 2257732"/>
                <a:gd name="connsiteY30" fmla="*/ 210522 h 493411"/>
                <a:gd name="connsiteX31" fmla="*/ 26465 w 2257732"/>
                <a:gd name="connsiteY31" fmla="*/ 492813 h 493411"/>
                <a:gd name="connsiteX32" fmla="*/ 7625 w 2257732"/>
                <a:gd name="connsiteY32" fmla="*/ 473974 h 493411"/>
                <a:gd name="connsiteX33" fmla="*/ 26465 w 2257732"/>
                <a:gd name="connsiteY33" fmla="*/ 455135 h 493411"/>
                <a:gd name="connsiteX34" fmla="*/ 45304 w 2257732"/>
                <a:gd name="connsiteY34" fmla="*/ 473974 h 493411"/>
                <a:gd name="connsiteX35" fmla="*/ 26465 w 2257732"/>
                <a:gd name="connsiteY35" fmla="*/ 492813 h 49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57732" h="493411">
                  <a:moveTo>
                    <a:pt x="1684029" y="210522"/>
                  </a:moveTo>
                  <a:lnTo>
                    <a:pt x="1450481" y="210522"/>
                  </a:lnTo>
                  <a:lnTo>
                    <a:pt x="1422371" y="182413"/>
                  </a:lnTo>
                  <a:lnTo>
                    <a:pt x="1123782" y="182413"/>
                  </a:lnTo>
                  <a:lnTo>
                    <a:pt x="941370" y="0"/>
                  </a:lnTo>
                  <a:lnTo>
                    <a:pt x="899654" y="0"/>
                  </a:lnTo>
                  <a:lnTo>
                    <a:pt x="792449" y="107205"/>
                  </a:lnTo>
                  <a:lnTo>
                    <a:pt x="302626" y="107205"/>
                  </a:lnTo>
                  <a:lnTo>
                    <a:pt x="59508" y="350322"/>
                  </a:lnTo>
                  <a:lnTo>
                    <a:pt x="59508" y="436295"/>
                  </a:lnTo>
                  <a:lnTo>
                    <a:pt x="42463" y="453341"/>
                  </a:lnTo>
                  <a:cubicBezTo>
                    <a:pt x="37978" y="449902"/>
                    <a:pt x="32446" y="447659"/>
                    <a:pt x="26315" y="447659"/>
                  </a:cubicBezTo>
                  <a:cubicBezTo>
                    <a:pt x="11812" y="447659"/>
                    <a:pt x="0" y="459471"/>
                    <a:pt x="0" y="473974"/>
                  </a:cubicBezTo>
                  <a:cubicBezTo>
                    <a:pt x="0" y="488478"/>
                    <a:pt x="11812" y="500289"/>
                    <a:pt x="26315" y="500289"/>
                  </a:cubicBezTo>
                  <a:cubicBezTo>
                    <a:pt x="40819" y="500289"/>
                    <a:pt x="52630" y="488478"/>
                    <a:pt x="52630" y="473974"/>
                  </a:cubicBezTo>
                  <a:cubicBezTo>
                    <a:pt x="52630" y="468292"/>
                    <a:pt x="50687" y="463059"/>
                    <a:pt x="47696" y="458723"/>
                  </a:cubicBezTo>
                  <a:lnTo>
                    <a:pt x="66984" y="439435"/>
                  </a:lnTo>
                  <a:lnTo>
                    <a:pt x="66984" y="353462"/>
                  </a:lnTo>
                  <a:lnTo>
                    <a:pt x="305616" y="114830"/>
                  </a:lnTo>
                  <a:lnTo>
                    <a:pt x="795440" y="114830"/>
                  </a:lnTo>
                  <a:lnTo>
                    <a:pt x="902644" y="7625"/>
                  </a:lnTo>
                  <a:lnTo>
                    <a:pt x="938230" y="7625"/>
                  </a:lnTo>
                  <a:lnTo>
                    <a:pt x="1120643" y="190038"/>
                  </a:lnTo>
                  <a:lnTo>
                    <a:pt x="1419381" y="190038"/>
                  </a:lnTo>
                  <a:lnTo>
                    <a:pt x="1447490" y="218148"/>
                  </a:lnTo>
                  <a:lnTo>
                    <a:pt x="1687319" y="218148"/>
                  </a:lnTo>
                  <a:lnTo>
                    <a:pt x="1717521" y="187945"/>
                  </a:lnTo>
                  <a:lnTo>
                    <a:pt x="2264311" y="187945"/>
                  </a:lnTo>
                  <a:lnTo>
                    <a:pt x="2264311" y="180469"/>
                  </a:lnTo>
                  <a:lnTo>
                    <a:pt x="1714381" y="180469"/>
                  </a:lnTo>
                  <a:lnTo>
                    <a:pt x="1684029" y="210522"/>
                  </a:lnTo>
                  <a:close/>
                  <a:moveTo>
                    <a:pt x="26465" y="492813"/>
                  </a:moveTo>
                  <a:cubicBezTo>
                    <a:pt x="15998" y="492813"/>
                    <a:pt x="7625" y="484291"/>
                    <a:pt x="7625" y="473974"/>
                  </a:cubicBezTo>
                  <a:cubicBezTo>
                    <a:pt x="7625" y="463508"/>
                    <a:pt x="16148" y="455135"/>
                    <a:pt x="26465" y="455135"/>
                  </a:cubicBezTo>
                  <a:cubicBezTo>
                    <a:pt x="36931" y="455135"/>
                    <a:pt x="45304" y="463657"/>
                    <a:pt x="45304" y="473974"/>
                  </a:cubicBezTo>
                  <a:cubicBezTo>
                    <a:pt x="45304" y="484440"/>
                    <a:pt x="36931" y="492813"/>
                    <a:pt x="26465" y="492813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6113783" y="-798893"/>
              <a:ext cx="2332492" cy="478460"/>
            </a:xfrm>
            <a:custGeom>
              <a:avLst/>
              <a:gdLst>
                <a:gd name="connsiteX0" fmla="*/ 1912195 w 2332491"/>
                <a:gd name="connsiteY0" fmla="*/ 3289 h 478459"/>
                <a:gd name="connsiteX1" fmla="*/ 1807681 w 2332491"/>
                <a:gd name="connsiteY1" fmla="*/ 3289 h 478459"/>
                <a:gd name="connsiteX2" fmla="*/ 1780918 w 2332491"/>
                <a:gd name="connsiteY2" fmla="*/ 30053 h 478459"/>
                <a:gd name="connsiteX3" fmla="*/ 1509392 w 2332491"/>
                <a:gd name="connsiteY3" fmla="*/ 30053 h 478459"/>
                <a:gd name="connsiteX4" fmla="*/ 1479338 w 2332491"/>
                <a:gd name="connsiteY4" fmla="*/ 0 h 478459"/>
                <a:gd name="connsiteX5" fmla="*/ 302477 w 2332491"/>
                <a:gd name="connsiteY5" fmla="*/ 0 h 478459"/>
                <a:gd name="connsiteX6" fmla="*/ 156247 w 2332491"/>
                <a:gd name="connsiteY6" fmla="*/ 146229 h 478459"/>
                <a:gd name="connsiteX7" fmla="*/ 156247 w 2332491"/>
                <a:gd name="connsiteY7" fmla="*/ 182413 h 478459"/>
                <a:gd name="connsiteX8" fmla="*/ 219344 w 2332491"/>
                <a:gd name="connsiteY8" fmla="*/ 245510 h 478459"/>
                <a:gd name="connsiteX9" fmla="*/ 219344 w 2332491"/>
                <a:gd name="connsiteY9" fmla="*/ 322063 h 478459"/>
                <a:gd name="connsiteX10" fmla="*/ 83880 w 2332491"/>
                <a:gd name="connsiteY10" fmla="*/ 457527 h 478459"/>
                <a:gd name="connsiteX11" fmla="*/ 52332 w 2332491"/>
                <a:gd name="connsiteY11" fmla="*/ 457527 h 478459"/>
                <a:gd name="connsiteX12" fmla="*/ 26315 w 2332491"/>
                <a:gd name="connsiteY12" fmla="*/ 434950 h 478459"/>
                <a:gd name="connsiteX13" fmla="*/ 0 w 2332491"/>
                <a:gd name="connsiteY13" fmla="*/ 461265 h 478459"/>
                <a:gd name="connsiteX14" fmla="*/ 26315 w 2332491"/>
                <a:gd name="connsiteY14" fmla="*/ 487580 h 478459"/>
                <a:gd name="connsiteX15" fmla="*/ 52332 w 2332491"/>
                <a:gd name="connsiteY15" fmla="*/ 465003 h 478459"/>
                <a:gd name="connsiteX16" fmla="*/ 87020 w 2332491"/>
                <a:gd name="connsiteY16" fmla="*/ 465003 h 478459"/>
                <a:gd name="connsiteX17" fmla="*/ 226970 w 2332491"/>
                <a:gd name="connsiteY17" fmla="*/ 325053 h 478459"/>
                <a:gd name="connsiteX18" fmla="*/ 226970 w 2332491"/>
                <a:gd name="connsiteY18" fmla="*/ 242519 h 478459"/>
                <a:gd name="connsiteX19" fmla="*/ 163873 w 2332491"/>
                <a:gd name="connsiteY19" fmla="*/ 179422 h 478459"/>
                <a:gd name="connsiteX20" fmla="*/ 163873 w 2332491"/>
                <a:gd name="connsiteY20" fmla="*/ 149369 h 478459"/>
                <a:gd name="connsiteX21" fmla="*/ 305766 w 2332491"/>
                <a:gd name="connsiteY21" fmla="*/ 7476 h 478459"/>
                <a:gd name="connsiteX22" fmla="*/ 1476348 w 2332491"/>
                <a:gd name="connsiteY22" fmla="*/ 7476 h 478459"/>
                <a:gd name="connsiteX23" fmla="*/ 1506401 w 2332491"/>
                <a:gd name="connsiteY23" fmla="*/ 37529 h 478459"/>
                <a:gd name="connsiteX24" fmla="*/ 1784057 w 2332491"/>
                <a:gd name="connsiteY24" fmla="*/ 37529 h 478459"/>
                <a:gd name="connsiteX25" fmla="*/ 1810821 w 2332491"/>
                <a:gd name="connsiteY25" fmla="*/ 10765 h 478459"/>
                <a:gd name="connsiteX26" fmla="*/ 1909055 w 2332491"/>
                <a:gd name="connsiteY26" fmla="*/ 10765 h 478459"/>
                <a:gd name="connsiteX27" fmla="*/ 2225586 w 2332491"/>
                <a:gd name="connsiteY27" fmla="*/ 327296 h 478459"/>
                <a:gd name="connsiteX28" fmla="*/ 2336529 w 2332491"/>
                <a:gd name="connsiteY28" fmla="*/ 327296 h 478459"/>
                <a:gd name="connsiteX29" fmla="*/ 2336529 w 2332491"/>
                <a:gd name="connsiteY29" fmla="*/ 319820 h 478459"/>
                <a:gd name="connsiteX30" fmla="*/ 2228726 w 2332491"/>
                <a:gd name="connsiteY30" fmla="*/ 319820 h 478459"/>
                <a:gd name="connsiteX31" fmla="*/ 1912195 w 2332491"/>
                <a:gd name="connsiteY31" fmla="*/ 3289 h 478459"/>
                <a:gd name="connsiteX32" fmla="*/ 26465 w 2332491"/>
                <a:gd name="connsiteY32" fmla="*/ 480105 h 478459"/>
                <a:gd name="connsiteX33" fmla="*/ 7626 w 2332491"/>
                <a:gd name="connsiteY33" fmla="*/ 461265 h 478459"/>
                <a:gd name="connsiteX34" fmla="*/ 26465 w 2332491"/>
                <a:gd name="connsiteY34" fmla="*/ 442426 h 478459"/>
                <a:gd name="connsiteX35" fmla="*/ 45304 w 2332491"/>
                <a:gd name="connsiteY35" fmla="*/ 461265 h 478459"/>
                <a:gd name="connsiteX36" fmla="*/ 26465 w 2332491"/>
                <a:gd name="connsiteY36" fmla="*/ 480105 h 478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332491" h="478459">
                  <a:moveTo>
                    <a:pt x="1912195" y="3289"/>
                  </a:moveTo>
                  <a:lnTo>
                    <a:pt x="1807681" y="3289"/>
                  </a:lnTo>
                  <a:lnTo>
                    <a:pt x="1780918" y="30053"/>
                  </a:lnTo>
                  <a:lnTo>
                    <a:pt x="1509392" y="30053"/>
                  </a:lnTo>
                  <a:lnTo>
                    <a:pt x="1479338" y="0"/>
                  </a:lnTo>
                  <a:lnTo>
                    <a:pt x="302477" y="0"/>
                  </a:lnTo>
                  <a:lnTo>
                    <a:pt x="156247" y="146229"/>
                  </a:lnTo>
                  <a:lnTo>
                    <a:pt x="156247" y="182413"/>
                  </a:lnTo>
                  <a:lnTo>
                    <a:pt x="219344" y="245510"/>
                  </a:lnTo>
                  <a:lnTo>
                    <a:pt x="219344" y="322063"/>
                  </a:lnTo>
                  <a:lnTo>
                    <a:pt x="83880" y="457527"/>
                  </a:lnTo>
                  <a:lnTo>
                    <a:pt x="52332" y="457527"/>
                  </a:lnTo>
                  <a:cubicBezTo>
                    <a:pt x="50537" y="444818"/>
                    <a:pt x="39623" y="434950"/>
                    <a:pt x="26315" y="434950"/>
                  </a:cubicBezTo>
                  <a:cubicBezTo>
                    <a:pt x="11812" y="434950"/>
                    <a:pt x="0" y="446762"/>
                    <a:pt x="0" y="461265"/>
                  </a:cubicBezTo>
                  <a:cubicBezTo>
                    <a:pt x="0" y="475768"/>
                    <a:pt x="11812" y="487580"/>
                    <a:pt x="26315" y="487580"/>
                  </a:cubicBezTo>
                  <a:cubicBezTo>
                    <a:pt x="39623" y="487580"/>
                    <a:pt x="50537" y="477712"/>
                    <a:pt x="52332" y="465003"/>
                  </a:cubicBezTo>
                  <a:lnTo>
                    <a:pt x="87020" y="465003"/>
                  </a:lnTo>
                  <a:lnTo>
                    <a:pt x="226970" y="325053"/>
                  </a:lnTo>
                  <a:lnTo>
                    <a:pt x="226970" y="242519"/>
                  </a:lnTo>
                  <a:lnTo>
                    <a:pt x="163873" y="179422"/>
                  </a:lnTo>
                  <a:lnTo>
                    <a:pt x="163873" y="149369"/>
                  </a:lnTo>
                  <a:lnTo>
                    <a:pt x="305766" y="7476"/>
                  </a:lnTo>
                  <a:lnTo>
                    <a:pt x="1476348" y="7476"/>
                  </a:lnTo>
                  <a:lnTo>
                    <a:pt x="1506401" y="37529"/>
                  </a:lnTo>
                  <a:lnTo>
                    <a:pt x="1784057" y="37529"/>
                  </a:lnTo>
                  <a:lnTo>
                    <a:pt x="1810821" y="10765"/>
                  </a:lnTo>
                  <a:lnTo>
                    <a:pt x="1909055" y="10765"/>
                  </a:lnTo>
                  <a:lnTo>
                    <a:pt x="2225586" y="327296"/>
                  </a:lnTo>
                  <a:lnTo>
                    <a:pt x="2336529" y="327296"/>
                  </a:lnTo>
                  <a:lnTo>
                    <a:pt x="2336529" y="319820"/>
                  </a:lnTo>
                  <a:lnTo>
                    <a:pt x="2228726" y="319820"/>
                  </a:lnTo>
                  <a:lnTo>
                    <a:pt x="1912195" y="3289"/>
                  </a:lnTo>
                  <a:close/>
                  <a:moveTo>
                    <a:pt x="26465" y="480105"/>
                  </a:moveTo>
                  <a:cubicBezTo>
                    <a:pt x="15999" y="480105"/>
                    <a:pt x="7626" y="471582"/>
                    <a:pt x="7626" y="461265"/>
                  </a:cubicBezTo>
                  <a:cubicBezTo>
                    <a:pt x="7626" y="450948"/>
                    <a:pt x="16148" y="442426"/>
                    <a:pt x="26465" y="442426"/>
                  </a:cubicBezTo>
                  <a:cubicBezTo>
                    <a:pt x="36782" y="442426"/>
                    <a:pt x="45304" y="450948"/>
                    <a:pt x="45304" y="461265"/>
                  </a:cubicBezTo>
                  <a:cubicBezTo>
                    <a:pt x="45304" y="471582"/>
                    <a:pt x="36931" y="480105"/>
                    <a:pt x="26465" y="48010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6316231" y="-773475"/>
              <a:ext cx="2123166" cy="403700"/>
            </a:xfrm>
            <a:custGeom>
              <a:avLst/>
              <a:gdLst>
                <a:gd name="connsiteX0" fmla="*/ 1695094 w 2123165"/>
                <a:gd name="connsiteY0" fmla="*/ 2990 h 403700"/>
                <a:gd name="connsiteX1" fmla="*/ 1615400 w 2123165"/>
                <a:gd name="connsiteY1" fmla="*/ 2990 h 403700"/>
                <a:gd name="connsiteX2" fmla="*/ 1581459 w 2123165"/>
                <a:gd name="connsiteY2" fmla="*/ 36931 h 403700"/>
                <a:gd name="connsiteX3" fmla="*/ 1297225 w 2123165"/>
                <a:gd name="connsiteY3" fmla="*/ 36931 h 403700"/>
                <a:gd name="connsiteX4" fmla="*/ 1260293 w 2123165"/>
                <a:gd name="connsiteY4" fmla="*/ 0 h 403700"/>
                <a:gd name="connsiteX5" fmla="*/ 839249 w 2123165"/>
                <a:gd name="connsiteY5" fmla="*/ 0 h 403700"/>
                <a:gd name="connsiteX6" fmla="*/ 794692 w 2123165"/>
                <a:gd name="connsiteY6" fmla="*/ 44557 h 403700"/>
                <a:gd name="connsiteX7" fmla="*/ 510606 w 2123165"/>
                <a:gd name="connsiteY7" fmla="*/ 44557 h 403700"/>
                <a:gd name="connsiteX8" fmla="*/ 466498 w 2123165"/>
                <a:gd name="connsiteY8" fmla="*/ 449 h 403700"/>
                <a:gd name="connsiteX9" fmla="*/ 117821 w 2123165"/>
                <a:gd name="connsiteY9" fmla="*/ 449 h 403700"/>
                <a:gd name="connsiteX10" fmla="*/ 0 w 2123165"/>
                <a:gd name="connsiteY10" fmla="*/ 118269 h 403700"/>
                <a:gd name="connsiteX11" fmla="*/ 0 w 2123165"/>
                <a:gd name="connsiteY11" fmla="*/ 156845 h 403700"/>
                <a:gd name="connsiteX12" fmla="*/ 57714 w 2123165"/>
                <a:gd name="connsiteY12" fmla="*/ 214559 h 403700"/>
                <a:gd name="connsiteX13" fmla="*/ 57714 w 2123165"/>
                <a:gd name="connsiteY13" fmla="*/ 337015 h 403700"/>
                <a:gd name="connsiteX14" fmla="*/ 83132 w 2123165"/>
                <a:gd name="connsiteY14" fmla="*/ 362433 h 403700"/>
                <a:gd name="connsiteX15" fmla="*/ 77750 w 2123165"/>
                <a:gd name="connsiteY15" fmla="*/ 378282 h 403700"/>
                <a:gd name="connsiteX16" fmla="*/ 104065 w 2123165"/>
                <a:gd name="connsiteY16" fmla="*/ 404598 h 403700"/>
                <a:gd name="connsiteX17" fmla="*/ 130380 w 2123165"/>
                <a:gd name="connsiteY17" fmla="*/ 378282 h 403700"/>
                <a:gd name="connsiteX18" fmla="*/ 104065 w 2123165"/>
                <a:gd name="connsiteY18" fmla="*/ 351967 h 403700"/>
                <a:gd name="connsiteX19" fmla="*/ 88366 w 2123165"/>
                <a:gd name="connsiteY19" fmla="*/ 357200 h 403700"/>
                <a:gd name="connsiteX20" fmla="*/ 65041 w 2123165"/>
                <a:gd name="connsiteY20" fmla="*/ 333875 h 403700"/>
                <a:gd name="connsiteX21" fmla="*/ 65041 w 2123165"/>
                <a:gd name="connsiteY21" fmla="*/ 211419 h 403700"/>
                <a:gd name="connsiteX22" fmla="*/ 7326 w 2123165"/>
                <a:gd name="connsiteY22" fmla="*/ 153705 h 403700"/>
                <a:gd name="connsiteX23" fmla="*/ 7326 w 2123165"/>
                <a:gd name="connsiteY23" fmla="*/ 121260 h 403700"/>
                <a:gd name="connsiteX24" fmla="*/ 120811 w 2123165"/>
                <a:gd name="connsiteY24" fmla="*/ 7775 h 403700"/>
                <a:gd name="connsiteX25" fmla="*/ 463209 w 2123165"/>
                <a:gd name="connsiteY25" fmla="*/ 7775 h 403700"/>
                <a:gd name="connsiteX26" fmla="*/ 507317 w 2123165"/>
                <a:gd name="connsiteY26" fmla="*/ 51883 h 403700"/>
                <a:gd name="connsiteX27" fmla="*/ 797682 w 2123165"/>
                <a:gd name="connsiteY27" fmla="*/ 51883 h 403700"/>
                <a:gd name="connsiteX28" fmla="*/ 842239 w 2123165"/>
                <a:gd name="connsiteY28" fmla="*/ 7326 h 403700"/>
                <a:gd name="connsiteX29" fmla="*/ 1257004 w 2123165"/>
                <a:gd name="connsiteY29" fmla="*/ 7326 h 403700"/>
                <a:gd name="connsiteX30" fmla="*/ 1293935 w 2123165"/>
                <a:gd name="connsiteY30" fmla="*/ 44257 h 403700"/>
                <a:gd name="connsiteX31" fmla="*/ 1584450 w 2123165"/>
                <a:gd name="connsiteY31" fmla="*/ 44257 h 403700"/>
                <a:gd name="connsiteX32" fmla="*/ 1618390 w 2123165"/>
                <a:gd name="connsiteY32" fmla="*/ 10317 h 403700"/>
                <a:gd name="connsiteX33" fmla="*/ 1691954 w 2123165"/>
                <a:gd name="connsiteY33" fmla="*/ 10317 h 403700"/>
                <a:gd name="connsiteX34" fmla="*/ 2004896 w 2123165"/>
                <a:gd name="connsiteY34" fmla="*/ 323259 h 403700"/>
                <a:gd name="connsiteX35" fmla="*/ 2134081 w 2123165"/>
                <a:gd name="connsiteY35" fmla="*/ 323259 h 403700"/>
                <a:gd name="connsiteX36" fmla="*/ 2134081 w 2123165"/>
                <a:gd name="connsiteY36" fmla="*/ 315783 h 403700"/>
                <a:gd name="connsiteX37" fmla="*/ 2008036 w 2123165"/>
                <a:gd name="connsiteY37" fmla="*/ 315783 h 403700"/>
                <a:gd name="connsiteX38" fmla="*/ 1695094 w 2123165"/>
                <a:gd name="connsiteY38" fmla="*/ 2990 h 40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23165" h="403700">
                  <a:moveTo>
                    <a:pt x="1695094" y="2990"/>
                  </a:moveTo>
                  <a:lnTo>
                    <a:pt x="1615400" y="2990"/>
                  </a:lnTo>
                  <a:lnTo>
                    <a:pt x="1581459" y="36931"/>
                  </a:lnTo>
                  <a:lnTo>
                    <a:pt x="1297225" y="36931"/>
                  </a:lnTo>
                  <a:lnTo>
                    <a:pt x="1260293" y="0"/>
                  </a:lnTo>
                  <a:lnTo>
                    <a:pt x="839249" y="0"/>
                  </a:lnTo>
                  <a:lnTo>
                    <a:pt x="794692" y="44557"/>
                  </a:lnTo>
                  <a:lnTo>
                    <a:pt x="510606" y="44557"/>
                  </a:lnTo>
                  <a:lnTo>
                    <a:pt x="466498" y="449"/>
                  </a:lnTo>
                  <a:lnTo>
                    <a:pt x="117821" y="449"/>
                  </a:lnTo>
                  <a:lnTo>
                    <a:pt x="0" y="118269"/>
                  </a:lnTo>
                  <a:lnTo>
                    <a:pt x="0" y="156845"/>
                  </a:lnTo>
                  <a:lnTo>
                    <a:pt x="57714" y="214559"/>
                  </a:lnTo>
                  <a:lnTo>
                    <a:pt x="57714" y="337015"/>
                  </a:lnTo>
                  <a:lnTo>
                    <a:pt x="83132" y="362433"/>
                  </a:lnTo>
                  <a:cubicBezTo>
                    <a:pt x="79843" y="366919"/>
                    <a:pt x="77750" y="372301"/>
                    <a:pt x="77750" y="378282"/>
                  </a:cubicBezTo>
                  <a:cubicBezTo>
                    <a:pt x="77750" y="392785"/>
                    <a:pt x="89562" y="404598"/>
                    <a:pt x="104065" y="404598"/>
                  </a:cubicBezTo>
                  <a:cubicBezTo>
                    <a:pt x="118568" y="404598"/>
                    <a:pt x="130380" y="392785"/>
                    <a:pt x="130380" y="378282"/>
                  </a:cubicBezTo>
                  <a:cubicBezTo>
                    <a:pt x="130380" y="363779"/>
                    <a:pt x="118568" y="351967"/>
                    <a:pt x="104065" y="351967"/>
                  </a:cubicBezTo>
                  <a:cubicBezTo>
                    <a:pt x="98084" y="351967"/>
                    <a:pt x="92702" y="353911"/>
                    <a:pt x="88366" y="357200"/>
                  </a:cubicBezTo>
                  <a:lnTo>
                    <a:pt x="65041" y="333875"/>
                  </a:lnTo>
                  <a:lnTo>
                    <a:pt x="65041" y="211419"/>
                  </a:lnTo>
                  <a:lnTo>
                    <a:pt x="7326" y="153705"/>
                  </a:lnTo>
                  <a:lnTo>
                    <a:pt x="7326" y="121260"/>
                  </a:lnTo>
                  <a:lnTo>
                    <a:pt x="120811" y="7775"/>
                  </a:lnTo>
                  <a:lnTo>
                    <a:pt x="463209" y="7775"/>
                  </a:lnTo>
                  <a:lnTo>
                    <a:pt x="507317" y="51883"/>
                  </a:lnTo>
                  <a:lnTo>
                    <a:pt x="797682" y="51883"/>
                  </a:lnTo>
                  <a:lnTo>
                    <a:pt x="842239" y="7326"/>
                  </a:lnTo>
                  <a:lnTo>
                    <a:pt x="1257004" y="7326"/>
                  </a:lnTo>
                  <a:lnTo>
                    <a:pt x="1293935" y="44257"/>
                  </a:lnTo>
                  <a:lnTo>
                    <a:pt x="1584450" y="44257"/>
                  </a:lnTo>
                  <a:lnTo>
                    <a:pt x="1618390" y="10317"/>
                  </a:lnTo>
                  <a:lnTo>
                    <a:pt x="1691954" y="10317"/>
                  </a:lnTo>
                  <a:lnTo>
                    <a:pt x="2004896" y="323259"/>
                  </a:lnTo>
                  <a:lnTo>
                    <a:pt x="2134081" y="323259"/>
                  </a:lnTo>
                  <a:lnTo>
                    <a:pt x="2134081" y="315783"/>
                  </a:lnTo>
                  <a:lnTo>
                    <a:pt x="2008036" y="315783"/>
                  </a:lnTo>
                  <a:lnTo>
                    <a:pt x="1695094" y="2990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6192430" y="-1791548"/>
              <a:ext cx="2257732" cy="463508"/>
            </a:xfrm>
            <a:custGeom>
              <a:avLst/>
              <a:gdLst>
                <a:gd name="connsiteX0" fmla="*/ 2063807 w 2257732"/>
                <a:gd name="connsiteY0" fmla="*/ 465003 h 463507"/>
                <a:gd name="connsiteX1" fmla="*/ 1797215 w 2257732"/>
                <a:gd name="connsiteY1" fmla="*/ 465003 h 463507"/>
                <a:gd name="connsiteX2" fmla="*/ 1731427 w 2257732"/>
                <a:gd name="connsiteY2" fmla="*/ 399215 h 463507"/>
                <a:gd name="connsiteX3" fmla="*/ 1610765 w 2257732"/>
                <a:gd name="connsiteY3" fmla="*/ 399215 h 463507"/>
                <a:gd name="connsiteX4" fmla="*/ 1574133 w 2257732"/>
                <a:gd name="connsiteY4" fmla="*/ 362583 h 463507"/>
                <a:gd name="connsiteX5" fmla="*/ 1210503 w 2257732"/>
                <a:gd name="connsiteY5" fmla="*/ 362583 h 463507"/>
                <a:gd name="connsiteX6" fmla="*/ 1110475 w 2257732"/>
                <a:gd name="connsiteY6" fmla="*/ 462611 h 463507"/>
                <a:gd name="connsiteX7" fmla="*/ 585067 w 2257732"/>
                <a:gd name="connsiteY7" fmla="*/ 462611 h 463507"/>
                <a:gd name="connsiteX8" fmla="*/ 560097 w 2257732"/>
                <a:gd name="connsiteY8" fmla="*/ 437641 h 463507"/>
                <a:gd name="connsiteX9" fmla="*/ 560097 w 2257732"/>
                <a:gd name="connsiteY9" fmla="*/ 393085 h 463507"/>
                <a:gd name="connsiteX10" fmla="*/ 405345 w 2257732"/>
                <a:gd name="connsiteY10" fmla="*/ 238333 h 463507"/>
                <a:gd name="connsiteX11" fmla="*/ 355256 w 2257732"/>
                <a:gd name="connsiteY11" fmla="*/ 238333 h 463507"/>
                <a:gd name="connsiteX12" fmla="*/ 268535 w 2257732"/>
                <a:gd name="connsiteY12" fmla="*/ 151612 h 463507"/>
                <a:gd name="connsiteX13" fmla="*/ 156845 w 2257732"/>
                <a:gd name="connsiteY13" fmla="*/ 151612 h 463507"/>
                <a:gd name="connsiteX14" fmla="*/ 47248 w 2257732"/>
                <a:gd name="connsiteY14" fmla="*/ 42015 h 463507"/>
                <a:gd name="connsiteX15" fmla="*/ 52630 w 2257732"/>
                <a:gd name="connsiteY15" fmla="*/ 26315 h 463507"/>
                <a:gd name="connsiteX16" fmla="*/ 26315 w 2257732"/>
                <a:gd name="connsiteY16" fmla="*/ 0 h 463507"/>
                <a:gd name="connsiteX17" fmla="*/ 0 w 2257732"/>
                <a:gd name="connsiteY17" fmla="*/ 26315 h 463507"/>
                <a:gd name="connsiteX18" fmla="*/ 26315 w 2257732"/>
                <a:gd name="connsiteY18" fmla="*/ 52631 h 463507"/>
                <a:gd name="connsiteX19" fmla="*/ 42015 w 2257732"/>
                <a:gd name="connsiteY19" fmla="*/ 47248 h 463507"/>
                <a:gd name="connsiteX20" fmla="*/ 153705 w 2257732"/>
                <a:gd name="connsiteY20" fmla="*/ 158938 h 463507"/>
                <a:gd name="connsiteX21" fmla="*/ 265396 w 2257732"/>
                <a:gd name="connsiteY21" fmla="*/ 158938 h 463507"/>
                <a:gd name="connsiteX22" fmla="*/ 352117 w 2257732"/>
                <a:gd name="connsiteY22" fmla="*/ 245659 h 463507"/>
                <a:gd name="connsiteX23" fmla="*/ 402205 w 2257732"/>
                <a:gd name="connsiteY23" fmla="*/ 245659 h 463507"/>
                <a:gd name="connsiteX24" fmla="*/ 552472 w 2257732"/>
                <a:gd name="connsiteY24" fmla="*/ 395926 h 463507"/>
                <a:gd name="connsiteX25" fmla="*/ 552472 w 2257732"/>
                <a:gd name="connsiteY25" fmla="*/ 440482 h 463507"/>
                <a:gd name="connsiteX26" fmla="*/ 581777 w 2257732"/>
                <a:gd name="connsiteY26" fmla="*/ 469788 h 463507"/>
                <a:gd name="connsiteX27" fmla="*/ 1113316 w 2257732"/>
                <a:gd name="connsiteY27" fmla="*/ 469788 h 463507"/>
                <a:gd name="connsiteX28" fmla="*/ 1213344 w 2257732"/>
                <a:gd name="connsiteY28" fmla="*/ 369760 h 463507"/>
                <a:gd name="connsiteX29" fmla="*/ 1570694 w 2257732"/>
                <a:gd name="connsiteY29" fmla="*/ 369760 h 463507"/>
                <a:gd name="connsiteX30" fmla="*/ 1607326 w 2257732"/>
                <a:gd name="connsiteY30" fmla="*/ 406392 h 463507"/>
                <a:gd name="connsiteX31" fmla="*/ 1727988 w 2257732"/>
                <a:gd name="connsiteY31" fmla="*/ 406392 h 463507"/>
                <a:gd name="connsiteX32" fmla="*/ 1793776 w 2257732"/>
                <a:gd name="connsiteY32" fmla="*/ 472180 h 463507"/>
                <a:gd name="connsiteX33" fmla="*/ 2066648 w 2257732"/>
                <a:gd name="connsiteY33" fmla="*/ 472180 h 463507"/>
                <a:gd name="connsiteX34" fmla="*/ 2214821 w 2257732"/>
                <a:gd name="connsiteY34" fmla="*/ 324007 h 463507"/>
                <a:gd name="connsiteX35" fmla="*/ 2257733 w 2257732"/>
                <a:gd name="connsiteY35" fmla="*/ 324007 h 463507"/>
                <a:gd name="connsiteX36" fmla="*/ 2257733 w 2257732"/>
                <a:gd name="connsiteY36" fmla="*/ 316531 h 463507"/>
                <a:gd name="connsiteX37" fmla="*/ 2211830 w 2257732"/>
                <a:gd name="connsiteY37" fmla="*/ 316531 h 463507"/>
                <a:gd name="connsiteX38" fmla="*/ 2063807 w 2257732"/>
                <a:gd name="connsiteY38" fmla="*/ 465003 h 46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57732" h="463507">
                  <a:moveTo>
                    <a:pt x="2063807" y="465003"/>
                  </a:moveTo>
                  <a:lnTo>
                    <a:pt x="1797215" y="465003"/>
                  </a:lnTo>
                  <a:lnTo>
                    <a:pt x="1731427" y="399215"/>
                  </a:lnTo>
                  <a:lnTo>
                    <a:pt x="1610765" y="399215"/>
                  </a:lnTo>
                  <a:lnTo>
                    <a:pt x="1574133" y="362583"/>
                  </a:lnTo>
                  <a:lnTo>
                    <a:pt x="1210503" y="362583"/>
                  </a:lnTo>
                  <a:lnTo>
                    <a:pt x="1110475" y="462611"/>
                  </a:lnTo>
                  <a:lnTo>
                    <a:pt x="585067" y="462611"/>
                  </a:lnTo>
                  <a:lnTo>
                    <a:pt x="560097" y="437641"/>
                  </a:lnTo>
                  <a:lnTo>
                    <a:pt x="560097" y="393085"/>
                  </a:lnTo>
                  <a:lnTo>
                    <a:pt x="405345" y="238333"/>
                  </a:lnTo>
                  <a:lnTo>
                    <a:pt x="355256" y="238333"/>
                  </a:lnTo>
                  <a:lnTo>
                    <a:pt x="268535" y="151612"/>
                  </a:lnTo>
                  <a:lnTo>
                    <a:pt x="156845" y="151612"/>
                  </a:lnTo>
                  <a:lnTo>
                    <a:pt x="47248" y="42015"/>
                  </a:lnTo>
                  <a:cubicBezTo>
                    <a:pt x="50537" y="37679"/>
                    <a:pt x="52630" y="32147"/>
                    <a:pt x="52630" y="26315"/>
                  </a:cubicBezTo>
                  <a:cubicBezTo>
                    <a:pt x="52630" y="11812"/>
                    <a:pt x="40819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2296" y="52631"/>
                    <a:pt x="37679" y="50537"/>
                    <a:pt x="42015" y="47248"/>
                  </a:cubicBezTo>
                  <a:lnTo>
                    <a:pt x="153705" y="158938"/>
                  </a:lnTo>
                  <a:lnTo>
                    <a:pt x="265396" y="158938"/>
                  </a:lnTo>
                  <a:lnTo>
                    <a:pt x="352117" y="245659"/>
                  </a:lnTo>
                  <a:lnTo>
                    <a:pt x="402205" y="245659"/>
                  </a:lnTo>
                  <a:lnTo>
                    <a:pt x="552472" y="395926"/>
                  </a:lnTo>
                  <a:lnTo>
                    <a:pt x="552472" y="440482"/>
                  </a:lnTo>
                  <a:lnTo>
                    <a:pt x="581777" y="469788"/>
                  </a:lnTo>
                  <a:lnTo>
                    <a:pt x="1113316" y="469788"/>
                  </a:lnTo>
                  <a:lnTo>
                    <a:pt x="1213344" y="369760"/>
                  </a:lnTo>
                  <a:lnTo>
                    <a:pt x="1570694" y="369760"/>
                  </a:lnTo>
                  <a:lnTo>
                    <a:pt x="1607326" y="406392"/>
                  </a:lnTo>
                  <a:lnTo>
                    <a:pt x="1727988" y="406392"/>
                  </a:lnTo>
                  <a:lnTo>
                    <a:pt x="1793776" y="472180"/>
                  </a:lnTo>
                  <a:lnTo>
                    <a:pt x="2066648" y="472180"/>
                  </a:lnTo>
                  <a:lnTo>
                    <a:pt x="2214821" y="324007"/>
                  </a:lnTo>
                  <a:lnTo>
                    <a:pt x="2257733" y="324007"/>
                  </a:lnTo>
                  <a:lnTo>
                    <a:pt x="2257733" y="316531"/>
                  </a:lnTo>
                  <a:lnTo>
                    <a:pt x="2211830" y="316531"/>
                  </a:lnTo>
                  <a:lnTo>
                    <a:pt x="2063807" y="465003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6730697" y="-750898"/>
              <a:ext cx="1719465" cy="313989"/>
            </a:xfrm>
            <a:custGeom>
              <a:avLst/>
              <a:gdLst>
                <a:gd name="connsiteX0" fmla="*/ 1518213 w 1719465"/>
                <a:gd name="connsiteY0" fmla="*/ 262555 h 313989"/>
                <a:gd name="connsiteX1" fmla="*/ 1486366 w 1719465"/>
                <a:gd name="connsiteY1" fmla="*/ 262555 h 313989"/>
                <a:gd name="connsiteX2" fmla="*/ 1313073 w 1719465"/>
                <a:gd name="connsiteY2" fmla="*/ 89263 h 313989"/>
                <a:gd name="connsiteX3" fmla="*/ 1313073 w 1719465"/>
                <a:gd name="connsiteY3" fmla="*/ 56817 h 313989"/>
                <a:gd name="connsiteX4" fmla="*/ 1269713 w 1719465"/>
                <a:gd name="connsiteY4" fmla="*/ 13457 h 313989"/>
                <a:gd name="connsiteX5" fmla="*/ 1214241 w 1719465"/>
                <a:gd name="connsiteY5" fmla="*/ 13457 h 313989"/>
                <a:gd name="connsiteX6" fmla="*/ 1184188 w 1719465"/>
                <a:gd name="connsiteY6" fmla="*/ 43510 h 313989"/>
                <a:gd name="connsiteX7" fmla="*/ 866311 w 1719465"/>
                <a:gd name="connsiteY7" fmla="*/ 43510 h 313989"/>
                <a:gd name="connsiteX8" fmla="*/ 822801 w 1719465"/>
                <a:gd name="connsiteY8" fmla="*/ 0 h 313989"/>
                <a:gd name="connsiteX9" fmla="*/ 476068 w 1719465"/>
                <a:gd name="connsiteY9" fmla="*/ 0 h 313989"/>
                <a:gd name="connsiteX10" fmla="*/ 428072 w 1719465"/>
                <a:gd name="connsiteY10" fmla="*/ 47996 h 313989"/>
                <a:gd name="connsiteX11" fmla="*/ 345089 w 1719465"/>
                <a:gd name="connsiteY11" fmla="*/ 47996 h 313989"/>
                <a:gd name="connsiteX12" fmla="*/ 112139 w 1719465"/>
                <a:gd name="connsiteY12" fmla="*/ 280946 h 313989"/>
                <a:gd name="connsiteX13" fmla="*/ 52182 w 1719465"/>
                <a:gd name="connsiteY13" fmla="*/ 280946 h 313989"/>
                <a:gd name="connsiteX14" fmla="*/ 26315 w 1719465"/>
                <a:gd name="connsiteY14" fmla="*/ 259415 h 313989"/>
                <a:gd name="connsiteX15" fmla="*/ 0 w 1719465"/>
                <a:gd name="connsiteY15" fmla="*/ 285730 h 313989"/>
                <a:gd name="connsiteX16" fmla="*/ 26315 w 1719465"/>
                <a:gd name="connsiteY16" fmla="*/ 312045 h 313989"/>
                <a:gd name="connsiteX17" fmla="*/ 52481 w 1719465"/>
                <a:gd name="connsiteY17" fmla="*/ 288422 h 313989"/>
                <a:gd name="connsiteX18" fmla="*/ 115279 w 1719465"/>
                <a:gd name="connsiteY18" fmla="*/ 288422 h 313989"/>
                <a:gd name="connsiteX19" fmla="*/ 348229 w 1719465"/>
                <a:gd name="connsiteY19" fmla="*/ 55472 h 313989"/>
                <a:gd name="connsiteX20" fmla="*/ 431212 w 1719465"/>
                <a:gd name="connsiteY20" fmla="*/ 55472 h 313989"/>
                <a:gd name="connsiteX21" fmla="*/ 479207 w 1719465"/>
                <a:gd name="connsiteY21" fmla="*/ 7476 h 313989"/>
                <a:gd name="connsiteX22" fmla="*/ 819662 w 1719465"/>
                <a:gd name="connsiteY22" fmla="*/ 7476 h 313989"/>
                <a:gd name="connsiteX23" fmla="*/ 863172 w 1719465"/>
                <a:gd name="connsiteY23" fmla="*/ 50986 h 313989"/>
                <a:gd name="connsiteX24" fmla="*/ 1187328 w 1719465"/>
                <a:gd name="connsiteY24" fmla="*/ 50986 h 313989"/>
                <a:gd name="connsiteX25" fmla="*/ 1217381 w 1719465"/>
                <a:gd name="connsiteY25" fmla="*/ 20933 h 313989"/>
                <a:gd name="connsiteX26" fmla="*/ 1266723 w 1719465"/>
                <a:gd name="connsiteY26" fmla="*/ 20933 h 313989"/>
                <a:gd name="connsiteX27" fmla="*/ 1305598 w 1719465"/>
                <a:gd name="connsiteY27" fmla="*/ 59807 h 313989"/>
                <a:gd name="connsiteX28" fmla="*/ 1305598 w 1719465"/>
                <a:gd name="connsiteY28" fmla="*/ 92253 h 313989"/>
                <a:gd name="connsiteX29" fmla="*/ 1483225 w 1719465"/>
                <a:gd name="connsiteY29" fmla="*/ 269881 h 313989"/>
                <a:gd name="connsiteX30" fmla="*/ 1515073 w 1719465"/>
                <a:gd name="connsiteY30" fmla="*/ 269881 h 313989"/>
                <a:gd name="connsiteX31" fmla="*/ 1570993 w 1719465"/>
                <a:gd name="connsiteY31" fmla="*/ 325801 h 313989"/>
                <a:gd name="connsiteX32" fmla="*/ 1719615 w 1719465"/>
                <a:gd name="connsiteY32" fmla="*/ 325801 h 313989"/>
                <a:gd name="connsiteX33" fmla="*/ 1719615 w 1719465"/>
                <a:gd name="connsiteY33" fmla="*/ 318325 h 313989"/>
                <a:gd name="connsiteX34" fmla="*/ 1573983 w 1719465"/>
                <a:gd name="connsiteY34" fmla="*/ 318325 h 313989"/>
                <a:gd name="connsiteX35" fmla="*/ 1518213 w 1719465"/>
                <a:gd name="connsiteY35" fmla="*/ 262555 h 313989"/>
                <a:gd name="connsiteX36" fmla="*/ 26166 w 1719465"/>
                <a:gd name="connsiteY36" fmla="*/ 304569 h 313989"/>
                <a:gd name="connsiteX37" fmla="*/ 7326 w 1719465"/>
                <a:gd name="connsiteY37" fmla="*/ 285730 h 313989"/>
                <a:gd name="connsiteX38" fmla="*/ 26166 w 1719465"/>
                <a:gd name="connsiteY38" fmla="*/ 266891 h 313989"/>
                <a:gd name="connsiteX39" fmla="*/ 45005 w 1719465"/>
                <a:gd name="connsiteY39" fmla="*/ 285730 h 313989"/>
                <a:gd name="connsiteX40" fmla="*/ 26166 w 1719465"/>
                <a:gd name="connsiteY40" fmla="*/ 304569 h 31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9465" h="313989">
                  <a:moveTo>
                    <a:pt x="1518213" y="262555"/>
                  </a:moveTo>
                  <a:lnTo>
                    <a:pt x="1486366" y="262555"/>
                  </a:lnTo>
                  <a:lnTo>
                    <a:pt x="1313073" y="89263"/>
                  </a:lnTo>
                  <a:lnTo>
                    <a:pt x="1313073" y="56817"/>
                  </a:lnTo>
                  <a:lnTo>
                    <a:pt x="1269713" y="13457"/>
                  </a:lnTo>
                  <a:lnTo>
                    <a:pt x="1214241" y="13457"/>
                  </a:lnTo>
                  <a:lnTo>
                    <a:pt x="1184188" y="43510"/>
                  </a:lnTo>
                  <a:lnTo>
                    <a:pt x="866311" y="43510"/>
                  </a:lnTo>
                  <a:lnTo>
                    <a:pt x="822801" y="0"/>
                  </a:lnTo>
                  <a:lnTo>
                    <a:pt x="476068" y="0"/>
                  </a:lnTo>
                  <a:lnTo>
                    <a:pt x="428072" y="47996"/>
                  </a:lnTo>
                  <a:lnTo>
                    <a:pt x="345089" y="47996"/>
                  </a:lnTo>
                  <a:lnTo>
                    <a:pt x="112139" y="280946"/>
                  </a:lnTo>
                  <a:lnTo>
                    <a:pt x="52182" y="280946"/>
                  </a:lnTo>
                  <a:cubicBezTo>
                    <a:pt x="49939" y="268685"/>
                    <a:pt x="39174" y="259415"/>
                    <a:pt x="26315" y="259415"/>
                  </a:cubicBezTo>
                  <a:cubicBezTo>
                    <a:pt x="11812" y="259415"/>
                    <a:pt x="0" y="271227"/>
                    <a:pt x="0" y="285730"/>
                  </a:cubicBezTo>
                  <a:cubicBezTo>
                    <a:pt x="0" y="300234"/>
                    <a:pt x="11812" y="312045"/>
                    <a:pt x="26315" y="312045"/>
                  </a:cubicBezTo>
                  <a:cubicBezTo>
                    <a:pt x="39921" y="312045"/>
                    <a:pt x="50986" y="301579"/>
                    <a:pt x="52481" y="288422"/>
                  </a:cubicBezTo>
                  <a:lnTo>
                    <a:pt x="115279" y="288422"/>
                  </a:lnTo>
                  <a:lnTo>
                    <a:pt x="348229" y="55472"/>
                  </a:lnTo>
                  <a:lnTo>
                    <a:pt x="431212" y="55472"/>
                  </a:lnTo>
                  <a:lnTo>
                    <a:pt x="479207" y="7476"/>
                  </a:lnTo>
                  <a:lnTo>
                    <a:pt x="819662" y="7476"/>
                  </a:lnTo>
                  <a:lnTo>
                    <a:pt x="863172" y="50986"/>
                  </a:lnTo>
                  <a:lnTo>
                    <a:pt x="1187328" y="50986"/>
                  </a:lnTo>
                  <a:lnTo>
                    <a:pt x="1217381" y="20933"/>
                  </a:lnTo>
                  <a:lnTo>
                    <a:pt x="1266723" y="20933"/>
                  </a:lnTo>
                  <a:lnTo>
                    <a:pt x="1305598" y="59807"/>
                  </a:lnTo>
                  <a:lnTo>
                    <a:pt x="1305598" y="92253"/>
                  </a:lnTo>
                  <a:lnTo>
                    <a:pt x="1483225" y="269881"/>
                  </a:lnTo>
                  <a:lnTo>
                    <a:pt x="1515073" y="269881"/>
                  </a:lnTo>
                  <a:lnTo>
                    <a:pt x="1570993" y="325801"/>
                  </a:lnTo>
                  <a:lnTo>
                    <a:pt x="1719615" y="325801"/>
                  </a:lnTo>
                  <a:lnTo>
                    <a:pt x="1719615" y="318325"/>
                  </a:lnTo>
                  <a:lnTo>
                    <a:pt x="1573983" y="318325"/>
                  </a:lnTo>
                  <a:lnTo>
                    <a:pt x="1518213" y="262555"/>
                  </a:lnTo>
                  <a:close/>
                  <a:moveTo>
                    <a:pt x="26166" y="304569"/>
                  </a:moveTo>
                  <a:cubicBezTo>
                    <a:pt x="15700" y="304569"/>
                    <a:pt x="7326" y="296047"/>
                    <a:pt x="7326" y="285730"/>
                  </a:cubicBezTo>
                  <a:cubicBezTo>
                    <a:pt x="7326" y="275264"/>
                    <a:pt x="15849" y="266891"/>
                    <a:pt x="26166" y="266891"/>
                  </a:cubicBezTo>
                  <a:cubicBezTo>
                    <a:pt x="36483" y="266891"/>
                    <a:pt x="45005" y="275413"/>
                    <a:pt x="45005" y="285730"/>
                  </a:cubicBezTo>
                  <a:cubicBezTo>
                    <a:pt x="45005" y="296196"/>
                    <a:pt x="36632" y="304569"/>
                    <a:pt x="26166" y="304569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6275861" y="-1933142"/>
              <a:ext cx="2168021" cy="568171"/>
            </a:xfrm>
            <a:custGeom>
              <a:avLst/>
              <a:gdLst>
                <a:gd name="connsiteX0" fmla="*/ 1970357 w 2168021"/>
                <a:gd name="connsiteY0" fmla="*/ 574899 h 568170"/>
                <a:gd name="connsiteX1" fmla="*/ 1738753 w 2168021"/>
                <a:gd name="connsiteY1" fmla="*/ 574899 h 568170"/>
                <a:gd name="connsiteX2" fmla="*/ 1674609 w 2168021"/>
                <a:gd name="connsiteY2" fmla="*/ 510756 h 568170"/>
                <a:gd name="connsiteX3" fmla="*/ 1547220 w 2168021"/>
                <a:gd name="connsiteY3" fmla="*/ 510756 h 568170"/>
                <a:gd name="connsiteX4" fmla="*/ 1498476 w 2168021"/>
                <a:gd name="connsiteY4" fmla="*/ 462013 h 568170"/>
                <a:gd name="connsiteX5" fmla="*/ 1116008 w 2168021"/>
                <a:gd name="connsiteY5" fmla="*/ 462013 h 568170"/>
                <a:gd name="connsiteX6" fmla="*/ 1081618 w 2168021"/>
                <a:gd name="connsiteY6" fmla="*/ 427623 h 568170"/>
                <a:gd name="connsiteX7" fmla="*/ 587608 w 2168021"/>
                <a:gd name="connsiteY7" fmla="*/ 427623 h 568170"/>
                <a:gd name="connsiteX8" fmla="*/ 556509 w 2168021"/>
                <a:gd name="connsiteY8" fmla="*/ 458723 h 568170"/>
                <a:gd name="connsiteX9" fmla="*/ 450799 w 2168021"/>
                <a:gd name="connsiteY9" fmla="*/ 458723 h 568170"/>
                <a:gd name="connsiteX10" fmla="*/ 348080 w 2168021"/>
                <a:gd name="connsiteY10" fmla="*/ 356004 h 568170"/>
                <a:gd name="connsiteX11" fmla="*/ 300234 w 2168021"/>
                <a:gd name="connsiteY11" fmla="*/ 356004 h 568170"/>
                <a:gd name="connsiteX12" fmla="*/ 206485 w 2168021"/>
                <a:gd name="connsiteY12" fmla="*/ 262256 h 568170"/>
                <a:gd name="connsiteX13" fmla="*/ 103766 w 2168021"/>
                <a:gd name="connsiteY13" fmla="*/ 262256 h 568170"/>
                <a:gd name="connsiteX14" fmla="*/ 74012 w 2168021"/>
                <a:gd name="connsiteY14" fmla="*/ 232501 h 568170"/>
                <a:gd name="connsiteX15" fmla="*/ 74012 w 2168021"/>
                <a:gd name="connsiteY15" fmla="*/ 69227 h 568170"/>
                <a:gd name="connsiteX16" fmla="*/ 47098 w 2168021"/>
                <a:gd name="connsiteY16" fmla="*/ 42314 h 568170"/>
                <a:gd name="connsiteX17" fmla="*/ 52630 w 2168021"/>
                <a:gd name="connsiteY17" fmla="*/ 26315 h 568170"/>
                <a:gd name="connsiteX18" fmla="*/ 26315 w 2168021"/>
                <a:gd name="connsiteY18" fmla="*/ 0 h 568170"/>
                <a:gd name="connsiteX19" fmla="*/ 0 w 2168021"/>
                <a:gd name="connsiteY19" fmla="*/ 26315 h 568170"/>
                <a:gd name="connsiteX20" fmla="*/ 26315 w 2168021"/>
                <a:gd name="connsiteY20" fmla="*/ 52631 h 568170"/>
                <a:gd name="connsiteX21" fmla="*/ 41865 w 2168021"/>
                <a:gd name="connsiteY21" fmla="*/ 47397 h 568170"/>
                <a:gd name="connsiteX22" fmla="*/ 66536 w 2168021"/>
                <a:gd name="connsiteY22" fmla="*/ 72068 h 568170"/>
                <a:gd name="connsiteX23" fmla="*/ 66536 w 2168021"/>
                <a:gd name="connsiteY23" fmla="*/ 235342 h 568170"/>
                <a:gd name="connsiteX24" fmla="*/ 100775 w 2168021"/>
                <a:gd name="connsiteY24" fmla="*/ 269582 h 568170"/>
                <a:gd name="connsiteX25" fmla="*/ 203495 w 2168021"/>
                <a:gd name="connsiteY25" fmla="*/ 269582 h 568170"/>
                <a:gd name="connsiteX26" fmla="*/ 297243 w 2168021"/>
                <a:gd name="connsiteY26" fmla="*/ 363330 h 568170"/>
                <a:gd name="connsiteX27" fmla="*/ 345089 w 2168021"/>
                <a:gd name="connsiteY27" fmla="*/ 363330 h 568170"/>
                <a:gd name="connsiteX28" fmla="*/ 447809 w 2168021"/>
                <a:gd name="connsiteY28" fmla="*/ 466050 h 568170"/>
                <a:gd name="connsiteX29" fmla="*/ 559648 w 2168021"/>
                <a:gd name="connsiteY29" fmla="*/ 466050 h 568170"/>
                <a:gd name="connsiteX30" fmla="*/ 590748 w 2168021"/>
                <a:gd name="connsiteY30" fmla="*/ 434950 h 568170"/>
                <a:gd name="connsiteX31" fmla="*/ 1078628 w 2168021"/>
                <a:gd name="connsiteY31" fmla="*/ 434950 h 568170"/>
                <a:gd name="connsiteX32" fmla="*/ 1113017 w 2168021"/>
                <a:gd name="connsiteY32" fmla="*/ 469339 h 568170"/>
                <a:gd name="connsiteX33" fmla="*/ 1495486 w 2168021"/>
                <a:gd name="connsiteY33" fmla="*/ 469339 h 568170"/>
                <a:gd name="connsiteX34" fmla="*/ 1544229 w 2168021"/>
                <a:gd name="connsiteY34" fmla="*/ 518082 h 568170"/>
                <a:gd name="connsiteX35" fmla="*/ 1671619 w 2168021"/>
                <a:gd name="connsiteY35" fmla="*/ 518082 h 568170"/>
                <a:gd name="connsiteX36" fmla="*/ 1735762 w 2168021"/>
                <a:gd name="connsiteY36" fmla="*/ 582226 h 568170"/>
                <a:gd name="connsiteX37" fmla="*/ 1973647 w 2168021"/>
                <a:gd name="connsiteY37" fmla="*/ 582226 h 568170"/>
                <a:gd name="connsiteX38" fmla="*/ 2118531 w 2168021"/>
                <a:gd name="connsiteY38" fmla="*/ 437342 h 568170"/>
                <a:gd name="connsiteX39" fmla="*/ 2174750 w 2168021"/>
                <a:gd name="connsiteY39" fmla="*/ 437342 h 568170"/>
                <a:gd name="connsiteX40" fmla="*/ 2174750 w 2168021"/>
                <a:gd name="connsiteY40" fmla="*/ 429866 h 568170"/>
                <a:gd name="connsiteX41" fmla="*/ 2115540 w 2168021"/>
                <a:gd name="connsiteY41" fmla="*/ 429866 h 568170"/>
                <a:gd name="connsiteX42" fmla="*/ 1970357 w 2168021"/>
                <a:gd name="connsiteY42" fmla="*/ 574899 h 568170"/>
                <a:gd name="connsiteX43" fmla="*/ 26016 w 2168021"/>
                <a:gd name="connsiteY43" fmla="*/ 45304 h 568170"/>
                <a:gd name="connsiteX44" fmla="*/ 7177 w 2168021"/>
                <a:gd name="connsiteY44" fmla="*/ 26465 h 568170"/>
                <a:gd name="connsiteX45" fmla="*/ 26016 w 2168021"/>
                <a:gd name="connsiteY45" fmla="*/ 7625 h 568170"/>
                <a:gd name="connsiteX46" fmla="*/ 44856 w 2168021"/>
                <a:gd name="connsiteY46" fmla="*/ 26465 h 568170"/>
                <a:gd name="connsiteX47" fmla="*/ 26016 w 2168021"/>
                <a:gd name="connsiteY47" fmla="*/ 45304 h 568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168021" h="568170">
                  <a:moveTo>
                    <a:pt x="1970357" y="574899"/>
                  </a:moveTo>
                  <a:lnTo>
                    <a:pt x="1738753" y="574899"/>
                  </a:lnTo>
                  <a:lnTo>
                    <a:pt x="1674609" y="510756"/>
                  </a:lnTo>
                  <a:lnTo>
                    <a:pt x="1547220" y="510756"/>
                  </a:lnTo>
                  <a:lnTo>
                    <a:pt x="1498476" y="462013"/>
                  </a:lnTo>
                  <a:lnTo>
                    <a:pt x="1116008" y="462013"/>
                  </a:lnTo>
                  <a:lnTo>
                    <a:pt x="1081618" y="427623"/>
                  </a:lnTo>
                  <a:lnTo>
                    <a:pt x="587608" y="427623"/>
                  </a:lnTo>
                  <a:lnTo>
                    <a:pt x="556509" y="458723"/>
                  </a:lnTo>
                  <a:lnTo>
                    <a:pt x="450799" y="458723"/>
                  </a:lnTo>
                  <a:lnTo>
                    <a:pt x="348080" y="356004"/>
                  </a:lnTo>
                  <a:lnTo>
                    <a:pt x="300234" y="356004"/>
                  </a:lnTo>
                  <a:lnTo>
                    <a:pt x="206485" y="262256"/>
                  </a:lnTo>
                  <a:lnTo>
                    <a:pt x="103766" y="262256"/>
                  </a:lnTo>
                  <a:lnTo>
                    <a:pt x="74012" y="232501"/>
                  </a:lnTo>
                  <a:lnTo>
                    <a:pt x="74012" y="69227"/>
                  </a:lnTo>
                  <a:lnTo>
                    <a:pt x="47098" y="42314"/>
                  </a:lnTo>
                  <a:cubicBezTo>
                    <a:pt x="50537" y="37828"/>
                    <a:pt x="52630" y="32446"/>
                    <a:pt x="52630" y="26315"/>
                  </a:cubicBezTo>
                  <a:cubicBezTo>
                    <a:pt x="52630" y="11812"/>
                    <a:pt x="40819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2146" y="52631"/>
                    <a:pt x="37529" y="50687"/>
                    <a:pt x="41865" y="47397"/>
                  </a:cubicBezTo>
                  <a:lnTo>
                    <a:pt x="66536" y="72068"/>
                  </a:lnTo>
                  <a:lnTo>
                    <a:pt x="66536" y="235342"/>
                  </a:lnTo>
                  <a:lnTo>
                    <a:pt x="100775" y="269582"/>
                  </a:lnTo>
                  <a:lnTo>
                    <a:pt x="203495" y="269582"/>
                  </a:lnTo>
                  <a:lnTo>
                    <a:pt x="297243" y="363330"/>
                  </a:lnTo>
                  <a:lnTo>
                    <a:pt x="345089" y="363330"/>
                  </a:lnTo>
                  <a:lnTo>
                    <a:pt x="447809" y="466050"/>
                  </a:lnTo>
                  <a:lnTo>
                    <a:pt x="559648" y="466050"/>
                  </a:lnTo>
                  <a:lnTo>
                    <a:pt x="590748" y="434950"/>
                  </a:lnTo>
                  <a:lnTo>
                    <a:pt x="1078628" y="434950"/>
                  </a:lnTo>
                  <a:lnTo>
                    <a:pt x="1113017" y="469339"/>
                  </a:lnTo>
                  <a:lnTo>
                    <a:pt x="1495486" y="469339"/>
                  </a:lnTo>
                  <a:lnTo>
                    <a:pt x="1544229" y="518082"/>
                  </a:lnTo>
                  <a:lnTo>
                    <a:pt x="1671619" y="518082"/>
                  </a:lnTo>
                  <a:lnTo>
                    <a:pt x="1735762" y="582226"/>
                  </a:lnTo>
                  <a:lnTo>
                    <a:pt x="1973647" y="582226"/>
                  </a:lnTo>
                  <a:lnTo>
                    <a:pt x="2118531" y="437342"/>
                  </a:lnTo>
                  <a:lnTo>
                    <a:pt x="2174750" y="437342"/>
                  </a:lnTo>
                  <a:lnTo>
                    <a:pt x="2174750" y="429866"/>
                  </a:lnTo>
                  <a:lnTo>
                    <a:pt x="2115540" y="429866"/>
                  </a:lnTo>
                  <a:lnTo>
                    <a:pt x="1970357" y="574899"/>
                  </a:lnTo>
                  <a:close/>
                  <a:moveTo>
                    <a:pt x="26016" y="45304"/>
                  </a:moveTo>
                  <a:cubicBezTo>
                    <a:pt x="15550" y="45304"/>
                    <a:pt x="7177" y="36782"/>
                    <a:pt x="7177" y="26465"/>
                  </a:cubicBezTo>
                  <a:cubicBezTo>
                    <a:pt x="7177" y="16148"/>
                    <a:pt x="15699" y="7625"/>
                    <a:pt x="26016" y="7625"/>
                  </a:cubicBezTo>
                  <a:cubicBezTo>
                    <a:pt x="36482" y="7625"/>
                    <a:pt x="44856" y="16148"/>
                    <a:pt x="44856" y="26465"/>
                  </a:cubicBezTo>
                  <a:cubicBezTo>
                    <a:pt x="44856" y="36782"/>
                    <a:pt x="36482" y="45304"/>
                    <a:pt x="26016" y="45304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6423885" y="-1782278"/>
              <a:ext cx="2018503" cy="388749"/>
            </a:xfrm>
            <a:custGeom>
              <a:avLst/>
              <a:gdLst>
                <a:gd name="connsiteX0" fmla="*/ 1795421 w 2018502"/>
                <a:gd name="connsiteY0" fmla="*/ 385459 h 388748"/>
                <a:gd name="connsiteX1" fmla="*/ 1608971 w 2018502"/>
                <a:gd name="connsiteY1" fmla="*/ 385459 h 388748"/>
                <a:gd name="connsiteX2" fmla="*/ 1542585 w 2018502"/>
                <a:gd name="connsiteY2" fmla="*/ 319073 h 388748"/>
                <a:gd name="connsiteX3" fmla="*/ 1419232 w 2018502"/>
                <a:gd name="connsiteY3" fmla="*/ 319073 h 388748"/>
                <a:gd name="connsiteX4" fmla="*/ 1380058 w 2018502"/>
                <a:gd name="connsiteY4" fmla="*/ 279899 h 388748"/>
                <a:gd name="connsiteX5" fmla="*/ 1006261 w 2018502"/>
                <a:gd name="connsiteY5" fmla="*/ 279899 h 388748"/>
                <a:gd name="connsiteX6" fmla="*/ 961256 w 2018502"/>
                <a:gd name="connsiteY6" fmla="*/ 234894 h 388748"/>
                <a:gd name="connsiteX7" fmla="*/ 411476 w 2018502"/>
                <a:gd name="connsiteY7" fmla="*/ 234894 h 388748"/>
                <a:gd name="connsiteX8" fmla="*/ 176582 w 2018502"/>
                <a:gd name="connsiteY8" fmla="*/ 0 h 388748"/>
                <a:gd name="connsiteX9" fmla="*/ 120662 w 2018502"/>
                <a:gd name="connsiteY9" fmla="*/ 0 h 388748"/>
                <a:gd name="connsiteX10" fmla="*/ 82684 w 2018502"/>
                <a:gd name="connsiteY10" fmla="*/ 37978 h 388748"/>
                <a:gd name="connsiteX11" fmla="*/ 52481 w 2018502"/>
                <a:gd name="connsiteY11" fmla="*/ 37978 h 388748"/>
                <a:gd name="connsiteX12" fmla="*/ 26315 w 2018502"/>
                <a:gd name="connsiteY12" fmla="*/ 14354 h 388748"/>
                <a:gd name="connsiteX13" fmla="*/ 0 w 2018502"/>
                <a:gd name="connsiteY13" fmla="*/ 40669 h 388748"/>
                <a:gd name="connsiteX14" fmla="*/ 26315 w 2018502"/>
                <a:gd name="connsiteY14" fmla="*/ 66984 h 388748"/>
                <a:gd name="connsiteX15" fmla="*/ 52182 w 2018502"/>
                <a:gd name="connsiteY15" fmla="*/ 45454 h 388748"/>
                <a:gd name="connsiteX16" fmla="*/ 85674 w 2018502"/>
                <a:gd name="connsiteY16" fmla="*/ 45454 h 388748"/>
                <a:gd name="connsiteX17" fmla="*/ 123652 w 2018502"/>
                <a:gd name="connsiteY17" fmla="*/ 7476 h 388748"/>
                <a:gd name="connsiteX18" fmla="*/ 173292 w 2018502"/>
                <a:gd name="connsiteY18" fmla="*/ 7476 h 388748"/>
                <a:gd name="connsiteX19" fmla="*/ 408186 w 2018502"/>
                <a:gd name="connsiteY19" fmla="*/ 242370 h 388748"/>
                <a:gd name="connsiteX20" fmla="*/ 957966 w 2018502"/>
                <a:gd name="connsiteY20" fmla="*/ 242370 h 388748"/>
                <a:gd name="connsiteX21" fmla="*/ 1002972 w 2018502"/>
                <a:gd name="connsiteY21" fmla="*/ 287375 h 388748"/>
                <a:gd name="connsiteX22" fmla="*/ 1376768 w 2018502"/>
                <a:gd name="connsiteY22" fmla="*/ 287375 h 388748"/>
                <a:gd name="connsiteX23" fmla="*/ 1415942 w 2018502"/>
                <a:gd name="connsiteY23" fmla="*/ 326549 h 388748"/>
                <a:gd name="connsiteX24" fmla="*/ 1539295 w 2018502"/>
                <a:gd name="connsiteY24" fmla="*/ 326549 h 388748"/>
                <a:gd name="connsiteX25" fmla="*/ 1605681 w 2018502"/>
                <a:gd name="connsiteY25" fmla="*/ 392935 h 388748"/>
                <a:gd name="connsiteX26" fmla="*/ 1798262 w 2018502"/>
                <a:gd name="connsiteY26" fmla="*/ 392935 h 388748"/>
                <a:gd name="connsiteX27" fmla="*/ 1993832 w 2018502"/>
                <a:gd name="connsiteY27" fmla="*/ 197365 h 388748"/>
                <a:gd name="connsiteX28" fmla="*/ 2026128 w 2018502"/>
                <a:gd name="connsiteY28" fmla="*/ 197365 h 388748"/>
                <a:gd name="connsiteX29" fmla="*/ 2026128 w 2018502"/>
                <a:gd name="connsiteY29" fmla="*/ 189889 h 388748"/>
                <a:gd name="connsiteX30" fmla="*/ 1990692 w 2018502"/>
                <a:gd name="connsiteY30" fmla="*/ 189889 h 388748"/>
                <a:gd name="connsiteX31" fmla="*/ 1795421 w 2018502"/>
                <a:gd name="connsiteY31" fmla="*/ 385459 h 388748"/>
                <a:gd name="connsiteX32" fmla="*/ 26465 w 2018502"/>
                <a:gd name="connsiteY32" fmla="*/ 59658 h 388748"/>
                <a:gd name="connsiteX33" fmla="*/ 7625 w 2018502"/>
                <a:gd name="connsiteY33" fmla="*/ 40819 h 388748"/>
                <a:gd name="connsiteX34" fmla="*/ 26465 w 2018502"/>
                <a:gd name="connsiteY34" fmla="*/ 21979 h 388748"/>
                <a:gd name="connsiteX35" fmla="*/ 45304 w 2018502"/>
                <a:gd name="connsiteY35" fmla="*/ 40819 h 388748"/>
                <a:gd name="connsiteX36" fmla="*/ 26465 w 2018502"/>
                <a:gd name="connsiteY36" fmla="*/ 59658 h 38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018502" h="388748">
                  <a:moveTo>
                    <a:pt x="1795421" y="385459"/>
                  </a:moveTo>
                  <a:lnTo>
                    <a:pt x="1608971" y="385459"/>
                  </a:lnTo>
                  <a:lnTo>
                    <a:pt x="1542585" y="319073"/>
                  </a:lnTo>
                  <a:lnTo>
                    <a:pt x="1419232" y="319073"/>
                  </a:lnTo>
                  <a:lnTo>
                    <a:pt x="1380058" y="279899"/>
                  </a:lnTo>
                  <a:lnTo>
                    <a:pt x="1006261" y="279899"/>
                  </a:lnTo>
                  <a:lnTo>
                    <a:pt x="961256" y="234894"/>
                  </a:lnTo>
                  <a:lnTo>
                    <a:pt x="411476" y="234894"/>
                  </a:lnTo>
                  <a:lnTo>
                    <a:pt x="176582" y="0"/>
                  </a:lnTo>
                  <a:lnTo>
                    <a:pt x="120662" y="0"/>
                  </a:lnTo>
                  <a:lnTo>
                    <a:pt x="82684" y="37978"/>
                  </a:lnTo>
                  <a:lnTo>
                    <a:pt x="52481" y="37978"/>
                  </a:lnTo>
                  <a:cubicBezTo>
                    <a:pt x="51135" y="24670"/>
                    <a:pt x="40071" y="14354"/>
                    <a:pt x="26315" y="14354"/>
                  </a:cubicBezTo>
                  <a:cubicBezTo>
                    <a:pt x="11812" y="14354"/>
                    <a:pt x="0" y="26166"/>
                    <a:pt x="0" y="40669"/>
                  </a:cubicBezTo>
                  <a:cubicBezTo>
                    <a:pt x="0" y="55172"/>
                    <a:pt x="11812" y="66984"/>
                    <a:pt x="26315" y="66984"/>
                  </a:cubicBezTo>
                  <a:cubicBezTo>
                    <a:pt x="39174" y="66984"/>
                    <a:pt x="49939" y="57714"/>
                    <a:pt x="52182" y="45454"/>
                  </a:cubicBezTo>
                  <a:lnTo>
                    <a:pt x="85674" y="45454"/>
                  </a:lnTo>
                  <a:lnTo>
                    <a:pt x="123652" y="7476"/>
                  </a:lnTo>
                  <a:lnTo>
                    <a:pt x="173292" y="7476"/>
                  </a:lnTo>
                  <a:lnTo>
                    <a:pt x="408186" y="242370"/>
                  </a:lnTo>
                  <a:lnTo>
                    <a:pt x="957966" y="242370"/>
                  </a:lnTo>
                  <a:lnTo>
                    <a:pt x="1002972" y="287375"/>
                  </a:lnTo>
                  <a:lnTo>
                    <a:pt x="1376768" y="287375"/>
                  </a:lnTo>
                  <a:lnTo>
                    <a:pt x="1415942" y="326549"/>
                  </a:lnTo>
                  <a:lnTo>
                    <a:pt x="1539295" y="326549"/>
                  </a:lnTo>
                  <a:lnTo>
                    <a:pt x="1605681" y="392935"/>
                  </a:lnTo>
                  <a:lnTo>
                    <a:pt x="1798262" y="392935"/>
                  </a:lnTo>
                  <a:lnTo>
                    <a:pt x="1993832" y="197365"/>
                  </a:lnTo>
                  <a:lnTo>
                    <a:pt x="2026128" y="197365"/>
                  </a:lnTo>
                  <a:lnTo>
                    <a:pt x="2026128" y="189889"/>
                  </a:lnTo>
                  <a:lnTo>
                    <a:pt x="1990692" y="189889"/>
                  </a:lnTo>
                  <a:lnTo>
                    <a:pt x="1795421" y="385459"/>
                  </a:lnTo>
                  <a:close/>
                  <a:moveTo>
                    <a:pt x="26465" y="59658"/>
                  </a:moveTo>
                  <a:cubicBezTo>
                    <a:pt x="15999" y="59658"/>
                    <a:pt x="7625" y="51135"/>
                    <a:pt x="7625" y="40819"/>
                  </a:cubicBezTo>
                  <a:cubicBezTo>
                    <a:pt x="7625" y="30502"/>
                    <a:pt x="16148" y="21979"/>
                    <a:pt x="26465" y="21979"/>
                  </a:cubicBezTo>
                  <a:cubicBezTo>
                    <a:pt x="36931" y="21979"/>
                    <a:pt x="45304" y="30502"/>
                    <a:pt x="45304" y="40819"/>
                  </a:cubicBezTo>
                  <a:cubicBezTo>
                    <a:pt x="45304" y="51135"/>
                    <a:pt x="36782" y="59658"/>
                    <a:pt x="26465" y="59658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6491019" y="-2039450"/>
              <a:ext cx="1958695" cy="508364"/>
            </a:xfrm>
            <a:custGeom>
              <a:avLst/>
              <a:gdLst>
                <a:gd name="connsiteX0" fmla="*/ 1361368 w 1958695"/>
                <a:gd name="connsiteY0" fmla="*/ 509111 h 508363"/>
                <a:gd name="connsiteX1" fmla="*/ 972171 w 1958695"/>
                <a:gd name="connsiteY1" fmla="*/ 509111 h 508363"/>
                <a:gd name="connsiteX2" fmla="*/ 916101 w 1958695"/>
                <a:gd name="connsiteY2" fmla="*/ 453042 h 508363"/>
                <a:gd name="connsiteX3" fmla="*/ 845080 w 1958695"/>
                <a:gd name="connsiteY3" fmla="*/ 453042 h 508363"/>
                <a:gd name="connsiteX4" fmla="*/ 818017 w 1958695"/>
                <a:gd name="connsiteY4" fmla="*/ 425979 h 508363"/>
                <a:gd name="connsiteX5" fmla="*/ 497150 w 1958695"/>
                <a:gd name="connsiteY5" fmla="*/ 425979 h 508363"/>
                <a:gd name="connsiteX6" fmla="*/ 476516 w 1958695"/>
                <a:gd name="connsiteY6" fmla="*/ 446612 h 508363"/>
                <a:gd name="connsiteX7" fmla="*/ 349874 w 1958695"/>
                <a:gd name="connsiteY7" fmla="*/ 446612 h 508363"/>
                <a:gd name="connsiteX8" fmla="*/ 82385 w 1958695"/>
                <a:gd name="connsiteY8" fmla="*/ 179123 h 508363"/>
                <a:gd name="connsiteX9" fmla="*/ 82385 w 1958695"/>
                <a:gd name="connsiteY9" fmla="*/ 79245 h 508363"/>
                <a:gd name="connsiteX10" fmla="*/ 46351 w 1958695"/>
                <a:gd name="connsiteY10" fmla="*/ 43211 h 508363"/>
                <a:gd name="connsiteX11" fmla="*/ 52630 w 1958695"/>
                <a:gd name="connsiteY11" fmla="*/ 26315 h 508363"/>
                <a:gd name="connsiteX12" fmla="*/ 26315 w 1958695"/>
                <a:gd name="connsiteY12" fmla="*/ 0 h 508363"/>
                <a:gd name="connsiteX13" fmla="*/ 0 w 1958695"/>
                <a:gd name="connsiteY13" fmla="*/ 26315 h 508363"/>
                <a:gd name="connsiteX14" fmla="*/ 26315 w 1958695"/>
                <a:gd name="connsiteY14" fmla="*/ 52631 h 508363"/>
                <a:gd name="connsiteX15" fmla="*/ 40819 w 1958695"/>
                <a:gd name="connsiteY15" fmla="*/ 48295 h 508363"/>
                <a:gd name="connsiteX16" fmla="*/ 74909 w 1958695"/>
                <a:gd name="connsiteY16" fmla="*/ 82385 h 508363"/>
                <a:gd name="connsiteX17" fmla="*/ 74909 w 1958695"/>
                <a:gd name="connsiteY17" fmla="*/ 182263 h 508363"/>
                <a:gd name="connsiteX18" fmla="*/ 346883 w 1958695"/>
                <a:gd name="connsiteY18" fmla="*/ 454238 h 508363"/>
                <a:gd name="connsiteX19" fmla="*/ 479805 w 1958695"/>
                <a:gd name="connsiteY19" fmla="*/ 454238 h 508363"/>
                <a:gd name="connsiteX20" fmla="*/ 500439 w 1958695"/>
                <a:gd name="connsiteY20" fmla="*/ 433604 h 508363"/>
                <a:gd name="connsiteX21" fmla="*/ 815176 w 1958695"/>
                <a:gd name="connsiteY21" fmla="*/ 433604 h 508363"/>
                <a:gd name="connsiteX22" fmla="*/ 842239 w 1958695"/>
                <a:gd name="connsiteY22" fmla="*/ 460667 h 508363"/>
                <a:gd name="connsiteX23" fmla="*/ 913260 w 1958695"/>
                <a:gd name="connsiteY23" fmla="*/ 460667 h 508363"/>
                <a:gd name="connsiteX24" fmla="*/ 969330 w 1958695"/>
                <a:gd name="connsiteY24" fmla="*/ 516737 h 508363"/>
                <a:gd name="connsiteX25" fmla="*/ 1364657 w 1958695"/>
                <a:gd name="connsiteY25" fmla="*/ 516737 h 508363"/>
                <a:gd name="connsiteX26" fmla="*/ 1666984 w 1958695"/>
                <a:gd name="connsiteY26" fmla="*/ 214410 h 508363"/>
                <a:gd name="connsiteX27" fmla="*/ 1959592 w 1958695"/>
                <a:gd name="connsiteY27" fmla="*/ 214410 h 508363"/>
                <a:gd name="connsiteX28" fmla="*/ 1959592 w 1958695"/>
                <a:gd name="connsiteY28" fmla="*/ 206934 h 508363"/>
                <a:gd name="connsiteX29" fmla="*/ 1663695 w 1958695"/>
                <a:gd name="connsiteY29" fmla="*/ 206934 h 508363"/>
                <a:gd name="connsiteX30" fmla="*/ 1361368 w 1958695"/>
                <a:gd name="connsiteY30" fmla="*/ 509111 h 508363"/>
                <a:gd name="connsiteX31" fmla="*/ 26016 w 1958695"/>
                <a:gd name="connsiteY31" fmla="*/ 44856 h 508363"/>
                <a:gd name="connsiteX32" fmla="*/ 7177 w 1958695"/>
                <a:gd name="connsiteY32" fmla="*/ 26016 h 508363"/>
                <a:gd name="connsiteX33" fmla="*/ 26016 w 1958695"/>
                <a:gd name="connsiteY33" fmla="*/ 7177 h 508363"/>
                <a:gd name="connsiteX34" fmla="*/ 44856 w 1958695"/>
                <a:gd name="connsiteY34" fmla="*/ 26016 h 508363"/>
                <a:gd name="connsiteX35" fmla="*/ 26016 w 1958695"/>
                <a:gd name="connsiteY35" fmla="*/ 44856 h 508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58695" h="508363">
                  <a:moveTo>
                    <a:pt x="1361368" y="509111"/>
                  </a:moveTo>
                  <a:lnTo>
                    <a:pt x="972171" y="509111"/>
                  </a:lnTo>
                  <a:lnTo>
                    <a:pt x="916101" y="453042"/>
                  </a:lnTo>
                  <a:lnTo>
                    <a:pt x="845080" y="453042"/>
                  </a:lnTo>
                  <a:lnTo>
                    <a:pt x="818017" y="425979"/>
                  </a:lnTo>
                  <a:lnTo>
                    <a:pt x="497150" y="425979"/>
                  </a:lnTo>
                  <a:lnTo>
                    <a:pt x="476516" y="446612"/>
                  </a:lnTo>
                  <a:lnTo>
                    <a:pt x="349874" y="446612"/>
                  </a:lnTo>
                  <a:lnTo>
                    <a:pt x="82385" y="179123"/>
                  </a:lnTo>
                  <a:lnTo>
                    <a:pt x="82385" y="79245"/>
                  </a:lnTo>
                  <a:lnTo>
                    <a:pt x="46351" y="43211"/>
                  </a:lnTo>
                  <a:cubicBezTo>
                    <a:pt x="50238" y="38576"/>
                    <a:pt x="52630" y="32745"/>
                    <a:pt x="52630" y="26315"/>
                  </a:cubicBezTo>
                  <a:cubicBezTo>
                    <a:pt x="52630" y="11812"/>
                    <a:pt x="40819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1698" y="52631"/>
                    <a:pt x="36632" y="50986"/>
                    <a:pt x="40819" y="48295"/>
                  </a:cubicBezTo>
                  <a:lnTo>
                    <a:pt x="74909" y="82385"/>
                  </a:lnTo>
                  <a:lnTo>
                    <a:pt x="74909" y="182263"/>
                  </a:lnTo>
                  <a:lnTo>
                    <a:pt x="346883" y="454238"/>
                  </a:lnTo>
                  <a:lnTo>
                    <a:pt x="479805" y="454238"/>
                  </a:lnTo>
                  <a:lnTo>
                    <a:pt x="500439" y="433604"/>
                  </a:lnTo>
                  <a:lnTo>
                    <a:pt x="815176" y="433604"/>
                  </a:lnTo>
                  <a:lnTo>
                    <a:pt x="842239" y="460667"/>
                  </a:lnTo>
                  <a:lnTo>
                    <a:pt x="913260" y="460667"/>
                  </a:lnTo>
                  <a:lnTo>
                    <a:pt x="969330" y="516737"/>
                  </a:lnTo>
                  <a:lnTo>
                    <a:pt x="1364657" y="516737"/>
                  </a:lnTo>
                  <a:lnTo>
                    <a:pt x="1666984" y="214410"/>
                  </a:lnTo>
                  <a:lnTo>
                    <a:pt x="1959592" y="214410"/>
                  </a:lnTo>
                  <a:lnTo>
                    <a:pt x="1959592" y="206934"/>
                  </a:lnTo>
                  <a:lnTo>
                    <a:pt x="1663695" y="206934"/>
                  </a:lnTo>
                  <a:lnTo>
                    <a:pt x="1361368" y="509111"/>
                  </a:lnTo>
                  <a:close/>
                  <a:moveTo>
                    <a:pt x="26016" y="44856"/>
                  </a:moveTo>
                  <a:cubicBezTo>
                    <a:pt x="15550" y="44856"/>
                    <a:pt x="7177" y="36333"/>
                    <a:pt x="7177" y="26016"/>
                  </a:cubicBezTo>
                  <a:cubicBezTo>
                    <a:pt x="7177" y="15550"/>
                    <a:pt x="15699" y="7177"/>
                    <a:pt x="26016" y="7177"/>
                  </a:cubicBezTo>
                  <a:cubicBezTo>
                    <a:pt x="36483" y="7177"/>
                    <a:pt x="44856" y="15700"/>
                    <a:pt x="44856" y="26016"/>
                  </a:cubicBezTo>
                  <a:cubicBezTo>
                    <a:pt x="45005" y="36483"/>
                    <a:pt x="36483" y="44856"/>
                    <a:pt x="26016" y="4485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6753424" y="-1894865"/>
              <a:ext cx="1689561" cy="313989"/>
            </a:xfrm>
            <a:custGeom>
              <a:avLst/>
              <a:gdLst>
                <a:gd name="connsiteX0" fmla="*/ 1368844 w 1689561"/>
                <a:gd name="connsiteY0" fmla="*/ 34688 h 313989"/>
                <a:gd name="connsiteX1" fmla="*/ 1332660 w 1689561"/>
                <a:gd name="connsiteY1" fmla="*/ 70872 h 313989"/>
                <a:gd name="connsiteX2" fmla="*/ 1283917 w 1689561"/>
                <a:gd name="connsiteY2" fmla="*/ 70872 h 313989"/>
                <a:gd name="connsiteX3" fmla="*/ 1104196 w 1689561"/>
                <a:gd name="connsiteY3" fmla="*/ 250593 h 313989"/>
                <a:gd name="connsiteX4" fmla="*/ 1104196 w 1689561"/>
                <a:gd name="connsiteY4" fmla="*/ 294103 h 313989"/>
                <a:gd name="connsiteX5" fmla="*/ 1079077 w 1689561"/>
                <a:gd name="connsiteY5" fmla="*/ 319222 h 313989"/>
                <a:gd name="connsiteX6" fmla="*/ 752528 w 1689561"/>
                <a:gd name="connsiteY6" fmla="*/ 319222 h 313989"/>
                <a:gd name="connsiteX7" fmla="*/ 705878 w 1689561"/>
                <a:gd name="connsiteY7" fmla="*/ 272573 h 313989"/>
                <a:gd name="connsiteX8" fmla="*/ 665059 w 1689561"/>
                <a:gd name="connsiteY8" fmla="*/ 272573 h 313989"/>
                <a:gd name="connsiteX9" fmla="*/ 615269 w 1689561"/>
                <a:gd name="connsiteY9" fmla="*/ 222783 h 313989"/>
                <a:gd name="connsiteX10" fmla="*/ 307859 w 1689561"/>
                <a:gd name="connsiteY10" fmla="*/ 222783 h 313989"/>
                <a:gd name="connsiteX11" fmla="*/ 107654 w 1689561"/>
                <a:gd name="connsiteY11" fmla="*/ 22577 h 313989"/>
                <a:gd name="connsiteX12" fmla="*/ 52332 w 1689561"/>
                <a:gd name="connsiteY12" fmla="*/ 22577 h 313989"/>
                <a:gd name="connsiteX13" fmla="*/ 26315 w 1689561"/>
                <a:gd name="connsiteY13" fmla="*/ 0 h 313989"/>
                <a:gd name="connsiteX14" fmla="*/ 0 w 1689561"/>
                <a:gd name="connsiteY14" fmla="*/ 26315 h 313989"/>
                <a:gd name="connsiteX15" fmla="*/ 26315 w 1689561"/>
                <a:gd name="connsiteY15" fmla="*/ 52631 h 313989"/>
                <a:gd name="connsiteX16" fmla="*/ 52332 w 1689561"/>
                <a:gd name="connsiteY16" fmla="*/ 30053 h 313989"/>
                <a:gd name="connsiteX17" fmla="*/ 104514 w 1689561"/>
                <a:gd name="connsiteY17" fmla="*/ 30053 h 313989"/>
                <a:gd name="connsiteX18" fmla="*/ 304719 w 1689561"/>
                <a:gd name="connsiteY18" fmla="*/ 230259 h 313989"/>
                <a:gd name="connsiteX19" fmla="*/ 612130 w 1689561"/>
                <a:gd name="connsiteY19" fmla="*/ 230259 h 313989"/>
                <a:gd name="connsiteX20" fmla="*/ 661920 w 1689561"/>
                <a:gd name="connsiteY20" fmla="*/ 280048 h 313989"/>
                <a:gd name="connsiteX21" fmla="*/ 702738 w 1689561"/>
                <a:gd name="connsiteY21" fmla="*/ 280048 h 313989"/>
                <a:gd name="connsiteX22" fmla="*/ 749388 w 1689561"/>
                <a:gd name="connsiteY22" fmla="*/ 326698 h 313989"/>
                <a:gd name="connsiteX23" fmla="*/ 1082217 w 1689561"/>
                <a:gd name="connsiteY23" fmla="*/ 326698 h 313989"/>
                <a:gd name="connsiteX24" fmla="*/ 1111672 w 1689561"/>
                <a:gd name="connsiteY24" fmla="*/ 297243 h 313989"/>
                <a:gd name="connsiteX25" fmla="*/ 1111672 w 1689561"/>
                <a:gd name="connsiteY25" fmla="*/ 253733 h 313989"/>
                <a:gd name="connsiteX26" fmla="*/ 1287057 w 1689561"/>
                <a:gd name="connsiteY26" fmla="*/ 78348 h 313989"/>
                <a:gd name="connsiteX27" fmla="*/ 1335800 w 1689561"/>
                <a:gd name="connsiteY27" fmla="*/ 78348 h 313989"/>
                <a:gd name="connsiteX28" fmla="*/ 1371984 w 1689561"/>
                <a:gd name="connsiteY28" fmla="*/ 42164 h 313989"/>
                <a:gd name="connsiteX29" fmla="*/ 1697037 w 1689561"/>
                <a:gd name="connsiteY29" fmla="*/ 42164 h 313989"/>
                <a:gd name="connsiteX30" fmla="*/ 1697037 w 1689561"/>
                <a:gd name="connsiteY30" fmla="*/ 34688 h 313989"/>
                <a:gd name="connsiteX31" fmla="*/ 1368844 w 1689561"/>
                <a:gd name="connsiteY31" fmla="*/ 34688 h 313989"/>
                <a:gd name="connsiteX32" fmla="*/ 26465 w 1689561"/>
                <a:gd name="connsiteY32" fmla="*/ 45155 h 313989"/>
                <a:gd name="connsiteX33" fmla="*/ 7626 w 1689561"/>
                <a:gd name="connsiteY33" fmla="*/ 26315 h 313989"/>
                <a:gd name="connsiteX34" fmla="*/ 26465 w 1689561"/>
                <a:gd name="connsiteY34" fmla="*/ 7476 h 313989"/>
                <a:gd name="connsiteX35" fmla="*/ 45304 w 1689561"/>
                <a:gd name="connsiteY35" fmla="*/ 26315 h 313989"/>
                <a:gd name="connsiteX36" fmla="*/ 26465 w 1689561"/>
                <a:gd name="connsiteY36" fmla="*/ 45155 h 31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89561" h="313989">
                  <a:moveTo>
                    <a:pt x="1368844" y="34688"/>
                  </a:moveTo>
                  <a:lnTo>
                    <a:pt x="1332660" y="70872"/>
                  </a:lnTo>
                  <a:lnTo>
                    <a:pt x="1283917" y="70872"/>
                  </a:lnTo>
                  <a:lnTo>
                    <a:pt x="1104196" y="250593"/>
                  </a:lnTo>
                  <a:lnTo>
                    <a:pt x="1104196" y="294103"/>
                  </a:lnTo>
                  <a:lnTo>
                    <a:pt x="1079077" y="319222"/>
                  </a:lnTo>
                  <a:lnTo>
                    <a:pt x="752528" y="319222"/>
                  </a:lnTo>
                  <a:lnTo>
                    <a:pt x="705878" y="272573"/>
                  </a:lnTo>
                  <a:lnTo>
                    <a:pt x="665059" y="272573"/>
                  </a:lnTo>
                  <a:lnTo>
                    <a:pt x="615269" y="222783"/>
                  </a:lnTo>
                  <a:lnTo>
                    <a:pt x="307859" y="222783"/>
                  </a:lnTo>
                  <a:lnTo>
                    <a:pt x="107654" y="22577"/>
                  </a:lnTo>
                  <a:lnTo>
                    <a:pt x="52332" y="22577"/>
                  </a:lnTo>
                  <a:cubicBezTo>
                    <a:pt x="50537" y="9868"/>
                    <a:pt x="39623" y="0"/>
                    <a:pt x="26315" y="0"/>
                  </a:cubicBezTo>
                  <a:cubicBezTo>
                    <a:pt x="11812" y="0"/>
                    <a:pt x="0" y="11812"/>
                    <a:pt x="0" y="26315"/>
                  </a:cubicBezTo>
                  <a:cubicBezTo>
                    <a:pt x="0" y="40819"/>
                    <a:pt x="11812" y="52631"/>
                    <a:pt x="26315" y="52631"/>
                  </a:cubicBezTo>
                  <a:cubicBezTo>
                    <a:pt x="39623" y="52631"/>
                    <a:pt x="50537" y="42762"/>
                    <a:pt x="52332" y="30053"/>
                  </a:cubicBezTo>
                  <a:lnTo>
                    <a:pt x="104514" y="30053"/>
                  </a:lnTo>
                  <a:lnTo>
                    <a:pt x="304719" y="230259"/>
                  </a:lnTo>
                  <a:lnTo>
                    <a:pt x="612130" y="230259"/>
                  </a:lnTo>
                  <a:lnTo>
                    <a:pt x="661920" y="280048"/>
                  </a:lnTo>
                  <a:lnTo>
                    <a:pt x="702738" y="280048"/>
                  </a:lnTo>
                  <a:lnTo>
                    <a:pt x="749388" y="326698"/>
                  </a:lnTo>
                  <a:lnTo>
                    <a:pt x="1082217" y="326698"/>
                  </a:lnTo>
                  <a:lnTo>
                    <a:pt x="1111672" y="297243"/>
                  </a:lnTo>
                  <a:lnTo>
                    <a:pt x="1111672" y="253733"/>
                  </a:lnTo>
                  <a:lnTo>
                    <a:pt x="1287057" y="78348"/>
                  </a:lnTo>
                  <a:lnTo>
                    <a:pt x="1335800" y="78348"/>
                  </a:lnTo>
                  <a:lnTo>
                    <a:pt x="1371984" y="42164"/>
                  </a:lnTo>
                  <a:lnTo>
                    <a:pt x="1697037" y="42164"/>
                  </a:lnTo>
                  <a:lnTo>
                    <a:pt x="1697037" y="34688"/>
                  </a:lnTo>
                  <a:lnTo>
                    <a:pt x="1368844" y="34688"/>
                  </a:lnTo>
                  <a:close/>
                  <a:moveTo>
                    <a:pt x="26465" y="45155"/>
                  </a:moveTo>
                  <a:cubicBezTo>
                    <a:pt x="15999" y="45155"/>
                    <a:pt x="7626" y="36632"/>
                    <a:pt x="7626" y="26315"/>
                  </a:cubicBezTo>
                  <a:cubicBezTo>
                    <a:pt x="7626" y="15849"/>
                    <a:pt x="16148" y="7476"/>
                    <a:pt x="26465" y="7476"/>
                  </a:cubicBezTo>
                  <a:cubicBezTo>
                    <a:pt x="36931" y="7476"/>
                    <a:pt x="45304" y="15998"/>
                    <a:pt x="45304" y="26315"/>
                  </a:cubicBezTo>
                  <a:cubicBezTo>
                    <a:pt x="45304" y="36782"/>
                    <a:pt x="36931" y="45155"/>
                    <a:pt x="26465" y="4515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7894252" y="-1801566"/>
              <a:ext cx="553219" cy="299037"/>
            </a:xfrm>
            <a:custGeom>
              <a:avLst/>
              <a:gdLst>
                <a:gd name="connsiteX0" fmla="*/ 475469 w 553219"/>
                <a:gd name="connsiteY0" fmla="*/ 0 h 299037"/>
                <a:gd name="connsiteX1" fmla="*/ 283637 w 553219"/>
                <a:gd name="connsiteY1" fmla="*/ 0 h 299037"/>
                <a:gd name="connsiteX2" fmla="*/ 117223 w 553219"/>
                <a:gd name="connsiteY2" fmla="*/ 166414 h 299037"/>
                <a:gd name="connsiteX3" fmla="*/ 117223 w 553219"/>
                <a:gd name="connsiteY3" fmla="*/ 192431 h 299037"/>
                <a:gd name="connsiteX4" fmla="*/ 44706 w 553219"/>
                <a:gd name="connsiteY4" fmla="*/ 264947 h 299037"/>
                <a:gd name="connsiteX5" fmla="*/ 26315 w 553219"/>
                <a:gd name="connsiteY5" fmla="*/ 257471 h 299037"/>
                <a:gd name="connsiteX6" fmla="*/ 0 w 553219"/>
                <a:gd name="connsiteY6" fmla="*/ 283787 h 299037"/>
                <a:gd name="connsiteX7" fmla="*/ 26315 w 553219"/>
                <a:gd name="connsiteY7" fmla="*/ 310102 h 299037"/>
                <a:gd name="connsiteX8" fmla="*/ 52630 w 553219"/>
                <a:gd name="connsiteY8" fmla="*/ 283787 h 299037"/>
                <a:gd name="connsiteX9" fmla="*/ 49191 w 553219"/>
                <a:gd name="connsiteY9" fmla="*/ 270928 h 299037"/>
                <a:gd name="connsiteX10" fmla="*/ 124699 w 553219"/>
                <a:gd name="connsiteY10" fmla="*/ 195421 h 299037"/>
                <a:gd name="connsiteX11" fmla="*/ 124699 w 553219"/>
                <a:gd name="connsiteY11" fmla="*/ 169405 h 299037"/>
                <a:gd name="connsiteX12" fmla="*/ 286777 w 553219"/>
                <a:gd name="connsiteY12" fmla="*/ 7326 h 299037"/>
                <a:gd name="connsiteX13" fmla="*/ 472330 w 553219"/>
                <a:gd name="connsiteY13" fmla="*/ 7326 h 299037"/>
                <a:gd name="connsiteX14" fmla="*/ 505074 w 553219"/>
                <a:gd name="connsiteY14" fmla="*/ 40071 h 299037"/>
                <a:gd name="connsiteX15" fmla="*/ 556060 w 553219"/>
                <a:gd name="connsiteY15" fmla="*/ 40071 h 299037"/>
                <a:gd name="connsiteX16" fmla="*/ 556060 w 553219"/>
                <a:gd name="connsiteY16" fmla="*/ 32595 h 299037"/>
                <a:gd name="connsiteX17" fmla="*/ 508214 w 553219"/>
                <a:gd name="connsiteY17" fmla="*/ 32595 h 299037"/>
                <a:gd name="connsiteX18" fmla="*/ 475469 w 553219"/>
                <a:gd name="connsiteY18" fmla="*/ 0 h 299037"/>
                <a:gd name="connsiteX19" fmla="*/ 26315 w 553219"/>
                <a:gd name="connsiteY19" fmla="*/ 302775 h 299037"/>
                <a:gd name="connsiteX20" fmla="*/ 7476 w 553219"/>
                <a:gd name="connsiteY20" fmla="*/ 283936 h 299037"/>
                <a:gd name="connsiteX21" fmla="*/ 26315 w 553219"/>
                <a:gd name="connsiteY21" fmla="*/ 265097 h 299037"/>
                <a:gd name="connsiteX22" fmla="*/ 45154 w 553219"/>
                <a:gd name="connsiteY22" fmla="*/ 283936 h 299037"/>
                <a:gd name="connsiteX23" fmla="*/ 26315 w 553219"/>
                <a:gd name="connsiteY23" fmla="*/ 302775 h 29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3219" h="299037">
                  <a:moveTo>
                    <a:pt x="475469" y="0"/>
                  </a:moveTo>
                  <a:lnTo>
                    <a:pt x="283637" y="0"/>
                  </a:lnTo>
                  <a:lnTo>
                    <a:pt x="117223" y="166414"/>
                  </a:lnTo>
                  <a:lnTo>
                    <a:pt x="117223" y="192431"/>
                  </a:lnTo>
                  <a:lnTo>
                    <a:pt x="44706" y="264947"/>
                  </a:lnTo>
                  <a:cubicBezTo>
                    <a:pt x="39921" y="260312"/>
                    <a:pt x="33492" y="257471"/>
                    <a:pt x="26315" y="257471"/>
                  </a:cubicBezTo>
                  <a:cubicBezTo>
                    <a:pt x="11812" y="257471"/>
                    <a:pt x="0" y="269283"/>
                    <a:pt x="0" y="283787"/>
                  </a:cubicBezTo>
                  <a:cubicBezTo>
                    <a:pt x="0" y="298290"/>
                    <a:pt x="11812" y="310102"/>
                    <a:pt x="26315" y="310102"/>
                  </a:cubicBezTo>
                  <a:cubicBezTo>
                    <a:pt x="40818" y="310102"/>
                    <a:pt x="52630" y="298290"/>
                    <a:pt x="52630" y="283787"/>
                  </a:cubicBezTo>
                  <a:cubicBezTo>
                    <a:pt x="52630" y="279151"/>
                    <a:pt x="51285" y="274815"/>
                    <a:pt x="49191" y="270928"/>
                  </a:cubicBezTo>
                  <a:lnTo>
                    <a:pt x="124699" y="195421"/>
                  </a:lnTo>
                  <a:lnTo>
                    <a:pt x="124699" y="169405"/>
                  </a:lnTo>
                  <a:lnTo>
                    <a:pt x="286777" y="7326"/>
                  </a:lnTo>
                  <a:lnTo>
                    <a:pt x="472330" y="7326"/>
                  </a:lnTo>
                  <a:lnTo>
                    <a:pt x="505074" y="40071"/>
                  </a:lnTo>
                  <a:lnTo>
                    <a:pt x="556060" y="40071"/>
                  </a:lnTo>
                  <a:lnTo>
                    <a:pt x="556060" y="32595"/>
                  </a:lnTo>
                  <a:lnTo>
                    <a:pt x="508214" y="32595"/>
                  </a:lnTo>
                  <a:lnTo>
                    <a:pt x="475469" y="0"/>
                  </a:lnTo>
                  <a:close/>
                  <a:moveTo>
                    <a:pt x="26315" y="302775"/>
                  </a:moveTo>
                  <a:cubicBezTo>
                    <a:pt x="15849" y="302775"/>
                    <a:pt x="7476" y="294253"/>
                    <a:pt x="7476" y="283936"/>
                  </a:cubicBezTo>
                  <a:cubicBezTo>
                    <a:pt x="7476" y="273619"/>
                    <a:pt x="15998" y="265097"/>
                    <a:pt x="26315" y="265097"/>
                  </a:cubicBezTo>
                  <a:cubicBezTo>
                    <a:pt x="36781" y="265097"/>
                    <a:pt x="45154" y="273619"/>
                    <a:pt x="45154" y="283936"/>
                  </a:cubicBezTo>
                  <a:cubicBezTo>
                    <a:pt x="45154" y="294253"/>
                    <a:pt x="36781" y="302775"/>
                    <a:pt x="26315" y="30277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4934529" y="-3676530"/>
              <a:ext cx="762545" cy="2586673"/>
            </a:xfrm>
            <a:custGeom>
              <a:avLst/>
              <a:gdLst>
                <a:gd name="connsiteX0" fmla="*/ 767629 w 762545"/>
                <a:gd name="connsiteY0" fmla="*/ 498047 h 2586673"/>
                <a:gd name="connsiteX1" fmla="*/ 718437 w 762545"/>
                <a:gd name="connsiteY1" fmla="*/ 547238 h 2586673"/>
                <a:gd name="connsiteX2" fmla="*/ 718437 w 762545"/>
                <a:gd name="connsiteY2" fmla="*/ 1045435 h 2586673"/>
                <a:gd name="connsiteX3" fmla="*/ 763742 w 762545"/>
                <a:gd name="connsiteY3" fmla="*/ 1090739 h 2586673"/>
                <a:gd name="connsiteX4" fmla="*/ 763742 w 762545"/>
                <a:gd name="connsiteY4" fmla="*/ 1744435 h 2586673"/>
                <a:gd name="connsiteX5" fmla="*/ 738323 w 762545"/>
                <a:gd name="connsiteY5" fmla="*/ 1769853 h 2586673"/>
                <a:gd name="connsiteX6" fmla="*/ 681207 w 762545"/>
                <a:gd name="connsiteY6" fmla="*/ 1769853 h 2586673"/>
                <a:gd name="connsiteX7" fmla="*/ 569666 w 762545"/>
                <a:gd name="connsiteY7" fmla="*/ 1881394 h 2586673"/>
                <a:gd name="connsiteX8" fmla="*/ 569666 w 762545"/>
                <a:gd name="connsiteY8" fmla="*/ 1944042 h 2586673"/>
                <a:gd name="connsiteX9" fmla="*/ 477712 w 762545"/>
                <a:gd name="connsiteY9" fmla="*/ 2035996 h 2586673"/>
                <a:gd name="connsiteX10" fmla="*/ 477712 w 762545"/>
                <a:gd name="connsiteY10" fmla="*/ 2259377 h 2586673"/>
                <a:gd name="connsiteX11" fmla="*/ 238183 w 762545"/>
                <a:gd name="connsiteY11" fmla="*/ 2498906 h 2586673"/>
                <a:gd name="connsiteX12" fmla="*/ 87618 w 762545"/>
                <a:gd name="connsiteY12" fmla="*/ 2498906 h 2586673"/>
                <a:gd name="connsiteX13" fmla="*/ 41865 w 762545"/>
                <a:gd name="connsiteY13" fmla="*/ 2544659 h 2586673"/>
                <a:gd name="connsiteX14" fmla="*/ 26016 w 762545"/>
                <a:gd name="connsiteY14" fmla="*/ 2539127 h 2586673"/>
                <a:gd name="connsiteX15" fmla="*/ 0 w 762545"/>
                <a:gd name="connsiteY15" fmla="*/ 2565143 h 2586673"/>
                <a:gd name="connsiteX16" fmla="*/ 26016 w 762545"/>
                <a:gd name="connsiteY16" fmla="*/ 2591159 h 2586673"/>
                <a:gd name="connsiteX17" fmla="*/ 52033 w 762545"/>
                <a:gd name="connsiteY17" fmla="*/ 2565143 h 2586673"/>
                <a:gd name="connsiteX18" fmla="*/ 47098 w 762545"/>
                <a:gd name="connsiteY18" fmla="*/ 2549892 h 2586673"/>
                <a:gd name="connsiteX19" fmla="*/ 90758 w 762545"/>
                <a:gd name="connsiteY19" fmla="*/ 2506232 h 2586673"/>
                <a:gd name="connsiteX20" fmla="*/ 241323 w 762545"/>
                <a:gd name="connsiteY20" fmla="*/ 2506232 h 2586673"/>
                <a:gd name="connsiteX21" fmla="*/ 485188 w 762545"/>
                <a:gd name="connsiteY21" fmla="*/ 2262367 h 2586673"/>
                <a:gd name="connsiteX22" fmla="*/ 485188 w 762545"/>
                <a:gd name="connsiteY22" fmla="*/ 2038986 h 2586673"/>
                <a:gd name="connsiteX23" fmla="*/ 577142 w 762545"/>
                <a:gd name="connsiteY23" fmla="*/ 1947032 h 2586673"/>
                <a:gd name="connsiteX24" fmla="*/ 577142 w 762545"/>
                <a:gd name="connsiteY24" fmla="*/ 1884384 h 2586673"/>
                <a:gd name="connsiteX25" fmla="*/ 684347 w 762545"/>
                <a:gd name="connsiteY25" fmla="*/ 1777179 h 2586673"/>
                <a:gd name="connsiteX26" fmla="*/ 741463 w 762545"/>
                <a:gd name="connsiteY26" fmla="*/ 1777179 h 2586673"/>
                <a:gd name="connsiteX27" fmla="*/ 771218 w 762545"/>
                <a:gd name="connsiteY27" fmla="*/ 1747425 h 2586673"/>
                <a:gd name="connsiteX28" fmla="*/ 771218 w 762545"/>
                <a:gd name="connsiteY28" fmla="*/ 1087599 h 2586673"/>
                <a:gd name="connsiteX29" fmla="*/ 725913 w 762545"/>
                <a:gd name="connsiteY29" fmla="*/ 1042295 h 2586673"/>
                <a:gd name="connsiteX30" fmla="*/ 725913 w 762545"/>
                <a:gd name="connsiteY30" fmla="*/ 550378 h 2586673"/>
                <a:gd name="connsiteX31" fmla="*/ 775105 w 762545"/>
                <a:gd name="connsiteY31" fmla="*/ 501187 h 2586673"/>
                <a:gd name="connsiteX32" fmla="*/ 775105 w 762545"/>
                <a:gd name="connsiteY32" fmla="*/ 0 h 2586673"/>
                <a:gd name="connsiteX33" fmla="*/ 767779 w 762545"/>
                <a:gd name="connsiteY33" fmla="*/ 0 h 2586673"/>
                <a:gd name="connsiteX34" fmla="*/ 767779 w 762545"/>
                <a:gd name="connsiteY34" fmla="*/ 498047 h 2586673"/>
                <a:gd name="connsiteX35" fmla="*/ 25717 w 762545"/>
                <a:gd name="connsiteY35" fmla="*/ 2583683 h 2586673"/>
                <a:gd name="connsiteX36" fmla="*/ 7027 w 762545"/>
                <a:gd name="connsiteY36" fmla="*/ 2564993 h 2586673"/>
                <a:gd name="connsiteX37" fmla="*/ 25717 w 762545"/>
                <a:gd name="connsiteY37" fmla="*/ 2546303 h 2586673"/>
                <a:gd name="connsiteX38" fmla="*/ 44407 w 762545"/>
                <a:gd name="connsiteY38" fmla="*/ 2564993 h 2586673"/>
                <a:gd name="connsiteX39" fmla="*/ 25717 w 762545"/>
                <a:gd name="connsiteY39" fmla="*/ 2583683 h 258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62545" h="2586673">
                  <a:moveTo>
                    <a:pt x="767629" y="498047"/>
                  </a:moveTo>
                  <a:lnTo>
                    <a:pt x="718437" y="547238"/>
                  </a:lnTo>
                  <a:lnTo>
                    <a:pt x="718437" y="1045435"/>
                  </a:lnTo>
                  <a:lnTo>
                    <a:pt x="763742" y="1090739"/>
                  </a:lnTo>
                  <a:lnTo>
                    <a:pt x="763742" y="1744435"/>
                  </a:lnTo>
                  <a:lnTo>
                    <a:pt x="738323" y="1769853"/>
                  </a:lnTo>
                  <a:lnTo>
                    <a:pt x="681207" y="1769853"/>
                  </a:lnTo>
                  <a:lnTo>
                    <a:pt x="569666" y="1881394"/>
                  </a:lnTo>
                  <a:lnTo>
                    <a:pt x="569666" y="1944042"/>
                  </a:lnTo>
                  <a:lnTo>
                    <a:pt x="477712" y="2035996"/>
                  </a:lnTo>
                  <a:lnTo>
                    <a:pt x="477712" y="2259377"/>
                  </a:lnTo>
                  <a:lnTo>
                    <a:pt x="238183" y="2498906"/>
                  </a:lnTo>
                  <a:lnTo>
                    <a:pt x="87618" y="2498906"/>
                  </a:lnTo>
                  <a:lnTo>
                    <a:pt x="41865" y="2544659"/>
                  </a:lnTo>
                  <a:cubicBezTo>
                    <a:pt x="37529" y="2541220"/>
                    <a:pt x="31997" y="2539127"/>
                    <a:pt x="26016" y="2539127"/>
                  </a:cubicBezTo>
                  <a:cubicBezTo>
                    <a:pt x="11662" y="2539127"/>
                    <a:pt x="0" y="2550789"/>
                    <a:pt x="0" y="2565143"/>
                  </a:cubicBezTo>
                  <a:cubicBezTo>
                    <a:pt x="0" y="2579497"/>
                    <a:pt x="11662" y="2591159"/>
                    <a:pt x="26016" y="2591159"/>
                  </a:cubicBezTo>
                  <a:cubicBezTo>
                    <a:pt x="40370" y="2591159"/>
                    <a:pt x="52033" y="2579497"/>
                    <a:pt x="52033" y="2565143"/>
                  </a:cubicBezTo>
                  <a:cubicBezTo>
                    <a:pt x="52033" y="2559461"/>
                    <a:pt x="50089" y="2554228"/>
                    <a:pt x="47098" y="2549892"/>
                  </a:cubicBezTo>
                  <a:lnTo>
                    <a:pt x="90758" y="2506232"/>
                  </a:lnTo>
                  <a:lnTo>
                    <a:pt x="241323" y="2506232"/>
                  </a:lnTo>
                  <a:lnTo>
                    <a:pt x="485188" y="2262367"/>
                  </a:lnTo>
                  <a:lnTo>
                    <a:pt x="485188" y="2038986"/>
                  </a:lnTo>
                  <a:lnTo>
                    <a:pt x="577142" y="1947032"/>
                  </a:lnTo>
                  <a:lnTo>
                    <a:pt x="577142" y="1884384"/>
                  </a:lnTo>
                  <a:lnTo>
                    <a:pt x="684347" y="1777179"/>
                  </a:lnTo>
                  <a:lnTo>
                    <a:pt x="741463" y="1777179"/>
                  </a:lnTo>
                  <a:lnTo>
                    <a:pt x="771218" y="1747425"/>
                  </a:lnTo>
                  <a:lnTo>
                    <a:pt x="771218" y="1087599"/>
                  </a:lnTo>
                  <a:lnTo>
                    <a:pt x="725913" y="1042295"/>
                  </a:lnTo>
                  <a:lnTo>
                    <a:pt x="725913" y="550378"/>
                  </a:lnTo>
                  <a:lnTo>
                    <a:pt x="775105" y="501187"/>
                  </a:lnTo>
                  <a:lnTo>
                    <a:pt x="775105" y="0"/>
                  </a:lnTo>
                  <a:lnTo>
                    <a:pt x="767779" y="0"/>
                  </a:lnTo>
                  <a:lnTo>
                    <a:pt x="767779" y="498047"/>
                  </a:lnTo>
                  <a:close/>
                  <a:moveTo>
                    <a:pt x="25717" y="2583683"/>
                  </a:moveTo>
                  <a:cubicBezTo>
                    <a:pt x="15400" y="2583683"/>
                    <a:pt x="7027" y="2575310"/>
                    <a:pt x="7027" y="2564993"/>
                  </a:cubicBezTo>
                  <a:cubicBezTo>
                    <a:pt x="7027" y="2554676"/>
                    <a:pt x="15400" y="2546303"/>
                    <a:pt x="25717" y="2546303"/>
                  </a:cubicBezTo>
                  <a:cubicBezTo>
                    <a:pt x="36034" y="2546303"/>
                    <a:pt x="44407" y="2554676"/>
                    <a:pt x="44407" y="2564993"/>
                  </a:cubicBezTo>
                  <a:cubicBezTo>
                    <a:pt x="44407" y="2575310"/>
                    <a:pt x="36034" y="2583683"/>
                    <a:pt x="25717" y="2583683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4943650" y="-3676530"/>
              <a:ext cx="732642" cy="2392299"/>
            </a:xfrm>
            <a:custGeom>
              <a:avLst/>
              <a:gdLst>
                <a:gd name="connsiteX0" fmla="*/ 22278 w 732641"/>
                <a:gd name="connsiteY0" fmla="*/ 2236501 h 2392298"/>
                <a:gd name="connsiteX1" fmla="*/ 22278 w 732641"/>
                <a:gd name="connsiteY1" fmla="*/ 2281954 h 2392298"/>
                <a:gd name="connsiteX2" fmla="*/ 141893 w 732641"/>
                <a:gd name="connsiteY2" fmla="*/ 2401569 h 2392298"/>
                <a:gd name="connsiteX3" fmla="*/ 272423 w 732641"/>
                <a:gd name="connsiteY3" fmla="*/ 2401569 h 2392298"/>
                <a:gd name="connsiteX4" fmla="*/ 436146 w 732641"/>
                <a:gd name="connsiteY4" fmla="*/ 2237846 h 2392298"/>
                <a:gd name="connsiteX5" fmla="*/ 436146 w 732641"/>
                <a:gd name="connsiteY5" fmla="*/ 1982020 h 2392298"/>
                <a:gd name="connsiteX6" fmla="*/ 736978 w 732641"/>
                <a:gd name="connsiteY6" fmla="*/ 1681188 h 2392298"/>
                <a:gd name="connsiteX7" fmla="*/ 736978 w 732641"/>
                <a:gd name="connsiteY7" fmla="*/ 1110774 h 2392298"/>
                <a:gd name="connsiteX8" fmla="*/ 680908 w 732641"/>
                <a:gd name="connsiteY8" fmla="*/ 1054705 h 2392298"/>
                <a:gd name="connsiteX9" fmla="*/ 680908 w 732641"/>
                <a:gd name="connsiteY9" fmla="*/ 529446 h 2392298"/>
                <a:gd name="connsiteX10" fmla="*/ 736380 w 732641"/>
                <a:gd name="connsiteY10" fmla="*/ 473974 h 2392298"/>
                <a:gd name="connsiteX11" fmla="*/ 736380 w 732641"/>
                <a:gd name="connsiteY11" fmla="*/ 0 h 2392298"/>
                <a:gd name="connsiteX12" fmla="*/ 729053 w 732641"/>
                <a:gd name="connsiteY12" fmla="*/ 0 h 2392298"/>
                <a:gd name="connsiteX13" fmla="*/ 729053 w 732641"/>
                <a:gd name="connsiteY13" fmla="*/ 470834 h 2392298"/>
                <a:gd name="connsiteX14" fmla="*/ 673582 w 732641"/>
                <a:gd name="connsiteY14" fmla="*/ 526306 h 2392298"/>
                <a:gd name="connsiteX15" fmla="*/ 673582 w 732641"/>
                <a:gd name="connsiteY15" fmla="*/ 1057695 h 2392298"/>
                <a:gd name="connsiteX16" fmla="*/ 729651 w 732641"/>
                <a:gd name="connsiteY16" fmla="*/ 1113765 h 2392298"/>
                <a:gd name="connsiteX17" fmla="*/ 729651 w 732641"/>
                <a:gd name="connsiteY17" fmla="*/ 1677899 h 2392298"/>
                <a:gd name="connsiteX18" fmla="*/ 428820 w 732641"/>
                <a:gd name="connsiteY18" fmla="*/ 1978730 h 2392298"/>
                <a:gd name="connsiteX19" fmla="*/ 428820 w 732641"/>
                <a:gd name="connsiteY19" fmla="*/ 2234557 h 2392298"/>
                <a:gd name="connsiteX20" fmla="*/ 269433 w 732641"/>
                <a:gd name="connsiteY20" fmla="*/ 2393944 h 2392298"/>
                <a:gd name="connsiteX21" fmla="*/ 145033 w 732641"/>
                <a:gd name="connsiteY21" fmla="*/ 2393944 h 2392298"/>
                <a:gd name="connsiteX22" fmla="*/ 29754 w 732641"/>
                <a:gd name="connsiteY22" fmla="*/ 2278665 h 2392298"/>
                <a:gd name="connsiteX23" fmla="*/ 29754 w 732641"/>
                <a:gd name="connsiteY23" fmla="*/ 2236351 h 2392298"/>
                <a:gd name="connsiteX24" fmla="*/ 52033 w 732641"/>
                <a:gd name="connsiteY24" fmla="*/ 2210783 h 2392298"/>
                <a:gd name="connsiteX25" fmla="*/ 26016 w 732641"/>
                <a:gd name="connsiteY25" fmla="*/ 2184767 h 2392298"/>
                <a:gd name="connsiteX26" fmla="*/ 0 w 732641"/>
                <a:gd name="connsiteY26" fmla="*/ 2210783 h 2392298"/>
                <a:gd name="connsiteX27" fmla="*/ 22278 w 732641"/>
                <a:gd name="connsiteY27" fmla="*/ 2236501 h 2392298"/>
                <a:gd name="connsiteX28" fmla="*/ 26016 w 732641"/>
                <a:gd name="connsiteY28" fmla="*/ 2192243 h 2392298"/>
                <a:gd name="connsiteX29" fmla="*/ 44706 w 732641"/>
                <a:gd name="connsiteY29" fmla="*/ 2210933 h 2392298"/>
                <a:gd name="connsiteX30" fmla="*/ 26016 w 732641"/>
                <a:gd name="connsiteY30" fmla="*/ 2229623 h 2392298"/>
                <a:gd name="connsiteX31" fmla="*/ 7326 w 732641"/>
                <a:gd name="connsiteY31" fmla="*/ 2210933 h 2392298"/>
                <a:gd name="connsiteX32" fmla="*/ 26016 w 732641"/>
                <a:gd name="connsiteY32" fmla="*/ 2192243 h 239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32641" h="2392298">
                  <a:moveTo>
                    <a:pt x="22278" y="2236501"/>
                  </a:moveTo>
                  <a:lnTo>
                    <a:pt x="22278" y="2281954"/>
                  </a:lnTo>
                  <a:lnTo>
                    <a:pt x="141893" y="2401569"/>
                  </a:lnTo>
                  <a:lnTo>
                    <a:pt x="272423" y="2401569"/>
                  </a:lnTo>
                  <a:lnTo>
                    <a:pt x="436146" y="2237846"/>
                  </a:lnTo>
                  <a:lnTo>
                    <a:pt x="436146" y="1982020"/>
                  </a:lnTo>
                  <a:lnTo>
                    <a:pt x="736978" y="1681188"/>
                  </a:lnTo>
                  <a:lnTo>
                    <a:pt x="736978" y="1110774"/>
                  </a:lnTo>
                  <a:lnTo>
                    <a:pt x="680908" y="1054705"/>
                  </a:lnTo>
                  <a:lnTo>
                    <a:pt x="680908" y="529446"/>
                  </a:lnTo>
                  <a:lnTo>
                    <a:pt x="736380" y="473974"/>
                  </a:lnTo>
                  <a:lnTo>
                    <a:pt x="736380" y="0"/>
                  </a:lnTo>
                  <a:lnTo>
                    <a:pt x="729053" y="0"/>
                  </a:lnTo>
                  <a:lnTo>
                    <a:pt x="729053" y="470834"/>
                  </a:lnTo>
                  <a:lnTo>
                    <a:pt x="673582" y="526306"/>
                  </a:lnTo>
                  <a:lnTo>
                    <a:pt x="673582" y="1057695"/>
                  </a:lnTo>
                  <a:lnTo>
                    <a:pt x="729651" y="1113765"/>
                  </a:lnTo>
                  <a:lnTo>
                    <a:pt x="729651" y="1677899"/>
                  </a:lnTo>
                  <a:lnTo>
                    <a:pt x="428820" y="1978730"/>
                  </a:lnTo>
                  <a:lnTo>
                    <a:pt x="428820" y="2234557"/>
                  </a:lnTo>
                  <a:lnTo>
                    <a:pt x="269433" y="2393944"/>
                  </a:lnTo>
                  <a:lnTo>
                    <a:pt x="145033" y="2393944"/>
                  </a:lnTo>
                  <a:lnTo>
                    <a:pt x="29754" y="2278665"/>
                  </a:lnTo>
                  <a:lnTo>
                    <a:pt x="29754" y="2236351"/>
                  </a:lnTo>
                  <a:cubicBezTo>
                    <a:pt x="42314" y="2234557"/>
                    <a:pt x="52033" y="2223791"/>
                    <a:pt x="52033" y="2210783"/>
                  </a:cubicBezTo>
                  <a:cubicBezTo>
                    <a:pt x="52033" y="2196429"/>
                    <a:pt x="40370" y="2184767"/>
                    <a:pt x="26016" y="2184767"/>
                  </a:cubicBezTo>
                  <a:cubicBezTo>
                    <a:pt x="11662" y="2184767"/>
                    <a:pt x="0" y="2196429"/>
                    <a:pt x="0" y="2210783"/>
                  </a:cubicBezTo>
                  <a:cubicBezTo>
                    <a:pt x="0" y="2223941"/>
                    <a:pt x="9719" y="2234706"/>
                    <a:pt x="22278" y="2236501"/>
                  </a:cubicBezTo>
                  <a:close/>
                  <a:moveTo>
                    <a:pt x="26016" y="2192243"/>
                  </a:moveTo>
                  <a:cubicBezTo>
                    <a:pt x="36333" y="2192243"/>
                    <a:pt x="44706" y="2200616"/>
                    <a:pt x="44706" y="2210933"/>
                  </a:cubicBezTo>
                  <a:cubicBezTo>
                    <a:pt x="44706" y="2221250"/>
                    <a:pt x="36333" y="2229623"/>
                    <a:pt x="26016" y="2229623"/>
                  </a:cubicBezTo>
                  <a:cubicBezTo>
                    <a:pt x="15700" y="2229623"/>
                    <a:pt x="7326" y="2221250"/>
                    <a:pt x="7326" y="2210933"/>
                  </a:cubicBezTo>
                  <a:cubicBezTo>
                    <a:pt x="7326" y="2200616"/>
                    <a:pt x="15700" y="2192243"/>
                    <a:pt x="26016" y="2192243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5944377" y="-3676530"/>
              <a:ext cx="104663" cy="1121390"/>
            </a:xfrm>
            <a:custGeom>
              <a:avLst/>
              <a:gdLst>
                <a:gd name="connsiteX0" fmla="*/ 25868 w 104663"/>
                <a:gd name="connsiteY0" fmla="*/ 1123483 h 1121390"/>
                <a:gd name="connsiteX1" fmla="*/ 51884 w 104663"/>
                <a:gd name="connsiteY1" fmla="*/ 1097467 h 1121390"/>
                <a:gd name="connsiteX2" fmla="*/ 47249 w 104663"/>
                <a:gd name="connsiteY2" fmla="*/ 1082665 h 1121390"/>
                <a:gd name="connsiteX3" fmla="*/ 114084 w 104663"/>
                <a:gd name="connsiteY3" fmla="*/ 1015830 h 1121390"/>
                <a:gd name="connsiteX4" fmla="*/ 114084 w 104663"/>
                <a:gd name="connsiteY4" fmla="*/ 556359 h 1121390"/>
                <a:gd name="connsiteX5" fmla="*/ 68032 w 104663"/>
                <a:gd name="connsiteY5" fmla="*/ 510307 h 1121390"/>
                <a:gd name="connsiteX6" fmla="*/ 68032 w 104663"/>
                <a:gd name="connsiteY6" fmla="*/ 345986 h 1121390"/>
                <a:gd name="connsiteX7" fmla="*/ 117373 w 104663"/>
                <a:gd name="connsiteY7" fmla="*/ 296645 h 1121390"/>
                <a:gd name="connsiteX8" fmla="*/ 117373 w 104663"/>
                <a:gd name="connsiteY8" fmla="*/ 0 h 1121390"/>
                <a:gd name="connsiteX9" fmla="*/ 110047 w 104663"/>
                <a:gd name="connsiteY9" fmla="*/ 0 h 1121390"/>
                <a:gd name="connsiteX10" fmla="*/ 110047 w 104663"/>
                <a:gd name="connsiteY10" fmla="*/ 293505 h 1121390"/>
                <a:gd name="connsiteX11" fmla="*/ 60706 w 104663"/>
                <a:gd name="connsiteY11" fmla="*/ 342846 h 1121390"/>
                <a:gd name="connsiteX12" fmla="*/ 60706 w 104663"/>
                <a:gd name="connsiteY12" fmla="*/ 513298 h 1121390"/>
                <a:gd name="connsiteX13" fmla="*/ 106758 w 104663"/>
                <a:gd name="connsiteY13" fmla="*/ 559349 h 1121390"/>
                <a:gd name="connsiteX14" fmla="*/ 106758 w 104663"/>
                <a:gd name="connsiteY14" fmla="*/ 1012840 h 1121390"/>
                <a:gd name="connsiteX15" fmla="*/ 42315 w 104663"/>
                <a:gd name="connsiteY15" fmla="*/ 1077282 h 1121390"/>
                <a:gd name="connsiteX16" fmla="*/ 26018 w 104663"/>
                <a:gd name="connsiteY16" fmla="*/ 1071301 h 1121390"/>
                <a:gd name="connsiteX17" fmla="*/ 1 w 104663"/>
                <a:gd name="connsiteY17" fmla="*/ 1097318 h 1121390"/>
                <a:gd name="connsiteX18" fmla="*/ 25868 w 104663"/>
                <a:gd name="connsiteY18" fmla="*/ 1123483 h 1121390"/>
                <a:gd name="connsiteX19" fmla="*/ 25868 w 104663"/>
                <a:gd name="connsiteY19" fmla="*/ 1078777 h 1121390"/>
                <a:gd name="connsiteX20" fmla="*/ 44558 w 104663"/>
                <a:gd name="connsiteY20" fmla="*/ 1097467 h 1121390"/>
                <a:gd name="connsiteX21" fmla="*/ 25868 w 104663"/>
                <a:gd name="connsiteY21" fmla="*/ 1116157 h 1121390"/>
                <a:gd name="connsiteX22" fmla="*/ 7178 w 104663"/>
                <a:gd name="connsiteY22" fmla="*/ 1097467 h 1121390"/>
                <a:gd name="connsiteX23" fmla="*/ 25868 w 104663"/>
                <a:gd name="connsiteY23" fmla="*/ 1078777 h 1121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4663" h="1121390">
                  <a:moveTo>
                    <a:pt x="25868" y="1123483"/>
                  </a:moveTo>
                  <a:cubicBezTo>
                    <a:pt x="40222" y="1123483"/>
                    <a:pt x="51884" y="1111821"/>
                    <a:pt x="51884" y="1097467"/>
                  </a:cubicBezTo>
                  <a:cubicBezTo>
                    <a:pt x="51884" y="1091935"/>
                    <a:pt x="50240" y="1086851"/>
                    <a:pt x="47249" y="1082665"/>
                  </a:cubicBezTo>
                  <a:lnTo>
                    <a:pt x="114084" y="1015830"/>
                  </a:lnTo>
                  <a:lnTo>
                    <a:pt x="114084" y="556359"/>
                  </a:lnTo>
                  <a:lnTo>
                    <a:pt x="68032" y="510307"/>
                  </a:lnTo>
                  <a:lnTo>
                    <a:pt x="68032" y="345986"/>
                  </a:lnTo>
                  <a:lnTo>
                    <a:pt x="117373" y="296645"/>
                  </a:lnTo>
                  <a:lnTo>
                    <a:pt x="117373" y="0"/>
                  </a:lnTo>
                  <a:lnTo>
                    <a:pt x="110047" y="0"/>
                  </a:lnTo>
                  <a:lnTo>
                    <a:pt x="110047" y="293505"/>
                  </a:lnTo>
                  <a:lnTo>
                    <a:pt x="60706" y="342846"/>
                  </a:lnTo>
                  <a:lnTo>
                    <a:pt x="60706" y="513298"/>
                  </a:lnTo>
                  <a:lnTo>
                    <a:pt x="106758" y="559349"/>
                  </a:lnTo>
                  <a:lnTo>
                    <a:pt x="106758" y="1012840"/>
                  </a:lnTo>
                  <a:lnTo>
                    <a:pt x="42315" y="1077282"/>
                  </a:lnTo>
                  <a:cubicBezTo>
                    <a:pt x="37830" y="1073694"/>
                    <a:pt x="32148" y="1071301"/>
                    <a:pt x="26018" y="1071301"/>
                  </a:cubicBezTo>
                  <a:cubicBezTo>
                    <a:pt x="11664" y="1071301"/>
                    <a:pt x="1" y="1082964"/>
                    <a:pt x="1" y="1097318"/>
                  </a:cubicBezTo>
                  <a:cubicBezTo>
                    <a:pt x="-148" y="1111821"/>
                    <a:pt x="11365" y="1123483"/>
                    <a:pt x="25868" y="1123483"/>
                  </a:cubicBezTo>
                  <a:close/>
                  <a:moveTo>
                    <a:pt x="25868" y="1078777"/>
                  </a:moveTo>
                  <a:cubicBezTo>
                    <a:pt x="36185" y="1078777"/>
                    <a:pt x="44558" y="1087150"/>
                    <a:pt x="44558" y="1097467"/>
                  </a:cubicBezTo>
                  <a:cubicBezTo>
                    <a:pt x="44558" y="1107784"/>
                    <a:pt x="36185" y="1116157"/>
                    <a:pt x="25868" y="1116157"/>
                  </a:cubicBezTo>
                  <a:cubicBezTo>
                    <a:pt x="15551" y="1116157"/>
                    <a:pt x="7178" y="1107784"/>
                    <a:pt x="7178" y="1097467"/>
                  </a:cubicBezTo>
                  <a:cubicBezTo>
                    <a:pt x="7178" y="1087150"/>
                    <a:pt x="15551" y="1078777"/>
                    <a:pt x="25868" y="107877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5958732" y="-3676530"/>
              <a:ext cx="493412" cy="2227828"/>
            </a:xfrm>
            <a:custGeom>
              <a:avLst/>
              <a:gdLst>
                <a:gd name="connsiteX0" fmla="*/ 207532 w 493411"/>
                <a:gd name="connsiteY0" fmla="*/ 802616 h 2227828"/>
                <a:gd name="connsiteX1" fmla="*/ 179871 w 493411"/>
                <a:gd name="connsiteY1" fmla="*/ 830277 h 2227828"/>
                <a:gd name="connsiteX2" fmla="*/ 179871 w 493411"/>
                <a:gd name="connsiteY2" fmla="*/ 1124979 h 2227828"/>
                <a:gd name="connsiteX3" fmla="*/ 0 w 493411"/>
                <a:gd name="connsiteY3" fmla="*/ 1304850 h 2227828"/>
                <a:gd name="connsiteX4" fmla="*/ 0 w 493411"/>
                <a:gd name="connsiteY4" fmla="*/ 1345967 h 2227828"/>
                <a:gd name="connsiteX5" fmla="*/ 105710 w 493411"/>
                <a:gd name="connsiteY5" fmla="*/ 1451677 h 2227828"/>
                <a:gd name="connsiteX6" fmla="*/ 105710 w 493411"/>
                <a:gd name="connsiteY6" fmla="*/ 1934772 h 2227828"/>
                <a:gd name="connsiteX7" fmla="*/ 345538 w 493411"/>
                <a:gd name="connsiteY7" fmla="*/ 2174600 h 2227828"/>
                <a:gd name="connsiteX8" fmla="*/ 430465 w 493411"/>
                <a:gd name="connsiteY8" fmla="*/ 2174600 h 2227828"/>
                <a:gd name="connsiteX9" fmla="*/ 447211 w 493411"/>
                <a:gd name="connsiteY9" fmla="*/ 2191346 h 2227828"/>
                <a:gd name="connsiteX10" fmla="*/ 441529 w 493411"/>
                <a:gd name="connsiteY10" fmla="*/ 2207345 h 2227828"/>
                <a:gd name="connsiteX11" fmla="*/ 467545 w 493411"/>
                <a:gd name="connsiteY11" fmla="*/ 2233361 h 2227828"/>
                <a:gd name="connsiteX12" fmla="*/ 493561 w 493411"/>
                <a:gd name="connsiteY12" fmla="*/ 2207345 h 2227828"/>
                <a:gd name="connsiteX13" fmla="*/ 467545 w 493411"/>
                <a:gd name="connsiteY13" fmla="*/ 2181328 h 2227828"/>
                <a:gd name="connsiteX14" fmla="*/ 452444 w 493411"/>
                <a:gd name="connsiteY14" fmla="*/ 2186262 h 2227828"/>
                <a:gd name="connsiteX15" fmla="*/ 433455 w 493411"/>
                <a:gd name="connsiteY15" fmla="*/ 2167273 h 2227828"/>
                <a:gd name="connsiteX16" fmla="*/ 348528 w 493411"/>
                <a:gd name="connsiteY16" fmla="*/ 2167273 h 2227828"/>
                <a:gd name="connsiteX17" fmla="*/ 113036 w 493411"/>
                <a:gd name="connsiteY17" fmla="*/ 1931781 h 2227828"/>
                <a:gd name="connsiteX18" fmla="*/ 113036 w 493411"/>
                <a:gd name="connsiteY18" fmla="*/ 1448537 h 2227828"/>
                <a:gd name="connsiteX19" fmla="*/ 7326 w 493411"/>
                <a:gd name="connsiteY19" fmla="*/ 1342827 h 2227828"/>
                <a:gd name="connsiteX20" fmla="*/ 7326 w 493411"/>
                <a:gd name="connsiteY20" fmla="*/ 1307840 h 2227828"/>
                <a:gd name="connsiteX21" fmla="*/ 187197 w 493411"/>
                <a:gd name="connsiteY21" fmla="*/ 1127969 h 2227828"/>
                <a:gd name="connsiteX22" fmla="*/ 187197 w 493411"/>
                <a:gd name="connsiteY22" fmla="*/ 833268 h 2227828"/>
                <a:gd name="connsiteX23" fmla="*/ 214858 w 493411"/>
                <a:gd name="connsiteY23" fmla="*/ 805607 h 2227828"/>
                <a:gd name="connsiteX24" fmla="*/ 214858 w 493411"/>
                <a:gd name="connsiteY24" fmla="*/ 569068 h 2227828"/>
                <a:gd name="connsiteX25" fmla="*/ 184955 w 493411"/>
                <a:gd name="connsiteY25" fmla="*/ 539164 h 2227828"/>
                <a:gd name="connsiteX26" fmla="*/ 184955 w 493411"/>
                <a:gd name="connsiteY26" fmla="*/ 0 h 2227828"/>
                <a:gd name="connsiteX27" fmla="*/ 177628 w 493411"/>
                <a:gd name="connsiteY27" fmla="*/ 0 h 2227828"/>
                <a:gd name="connsiteX28" fmla="*/ 177628 w 493411"/>
                <a:gd name="connsiteY28" fmla="*/ 542304 h 2227828"/>
                <a:gd name="connsiteX29" fmla="*/ 207532 w 493411"/>
                <a:gd name="connsiteY29" fmla="*/ 572208 h 2227828"/>
                <a:gd name="connsiteX30" fmla="*/ 207532 w 493411"/>
                <a:gd name="connsiteY30" fmla="*/ 802616 h 2227828"/>
                <a:gd name="connsiteX31" fmla="*/ 467545 w 493411"/>
                <a:gd name="connsiteY31" fmla="*/ 2188505 h 2227828"/>
                <a:gd name="connsiteX32" fmla="*/ 486235 w 493411"/>
                <a:gd name="connsiteY32" fmla="*/ 2207195 h 2227828"/>
                <a:gd name="connsiteX33" fmla="*/ 467545 w 493411"/>
                <a:gd name="connsiteY33" fmla="*/ 2225885 h 2227828"/>
                <a:gd name="connsiteX34" fmla="*/ 448855 w 493411"/>
                <a:gd name="connsiteY34" fmla="*/ 2207195 h 2227828"/>
                <a:gd name="connsiteX35" fmla="*/ 467545 w 493411"/>
                <a:gd name="connsiteY35" fmla="*/ 2188505 h 222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93411" h="2227828">
                  <a:moveTo>
                    <a:pt x="207532" y="802616"/>
                  </a:moveTo>
                  <a:lnTo>
                    <a:pt x="179871" y="830277"/>
                  </a:lnTo>
                  <a:lnTo>
                    <a:pt x="179871" y="1124979"/>
                  </a:lnTo>
                  <a:lnTo>
                    <a:pt x="0" y="1304850"/>
                  </a:lnTo>
                  <a:lnTo>
                    <a:pt x="0" y="1345967"/>
                  </a:lnTo>
                  <a:lnTo>
                    <a:pt x="105710" y="1451677"/>
                  </a:lnTo>
                  <a:lnTo>
                    <a:pt x="105710" y="1934772"/>
                  </a:lnTo>
                  <a:lnTo>
                    <a:pt x="345538" y="2174600"/>
                  </a:lnTo>
                  <a:lnTo>
                    <a:pt x="430465" y="2174600"/>
                  </a:lnTo>
                  <a:lnTo>
                    <a:pt x="447211" y="2191346"/>
                  </a:lnTo>
                  <a:cubicBezTo>
                    <a:pt x="443772" y="2195832"/>
                    <a:pt x="441529" y="2201214"/>
                    <a:pt x="441529" y="2207345"/>
                  </a:cubicBezTo>
                  <a:cubicBezTo>
                    <a:pt x="441529" y="2221698"/>
                    <a:pt x="453191" y="2233361"/>
                    <a:pt x="467545" y="2233361"/>
                  </a:cubicBezTo>
                  <a:cubicBezTo>
                    <a:pt x="481899" y="2233361"/>
                    <a:pt x="493561" y="2221698"/>
                    <a:pt x="493561" y="2207345"/>
                  </a:cubicBezTo>
                  <a:cubicBezTo>
                    <a:pt x="493561" y="2192991"/>
                    <a:pt x="481899" y="2181328"/>
                    <a:pt x="467545" y="2181328"/>
                  </a:cubicBezTo>
                  <a:cubicBezTo>
                    <a:pt x="461863" y="2181328"/>
                    <a:pt x="456780" y="2183122"/>
                    <a:pt x="452444" y="2186262"/>
                  </a:cubicBezTo>
                  <a:lnTo>
                    <a:pt x="433455" y="2167273"/>
                  </a:lnTo>
                  <a:lnTo>
                    <a:pt x="348528" y="2167273"/>
                  </a:lnTo>
                  <a:lnTo>
                    <a:pt x="113036" y="1931781"/>
                  </a:lnTo>
                  <a:lnTo>
                    <a:pt x="113036" y="1448537"/>
                  </a:lnTo>
                  <a:lnTo>
                    <a:pt x="7326" y="1342827"/>
                  </a:lnTo>
                  <a:lnTo>
                    <a:pt x="7326" y="1307840"/>
                  </a:lnTo>
                  <a:lnTo>
                    <a:pt x="187197" y="1127969"/>
                  </a:lnTo>
                  <a:lnTo>
                    <a:pt x="187197" y="833268"/>
                  </a:lnTo>
                  <a:lnTo>
                    <a:pt x="214858" y="805607"/>
                  </a:lnTo>
                  <a:lnTo>
                    <a:pt x="214858" y="569068"/>
                  </a:lnTo>
                  <a:lnTo>
                    <a:pt x="184955" y="539164"/>
                  </a:lnTo>
                  <a:lnTo>
                    <a:pt x="184955" y="0"/>
                  </a:lnTo>
                  <a:lnTo>
                    <a:pt x="177628" y="0"/>
                  </a:lnTo>
                  <a:lnTo>
                    <a:pt x="177628" y="542304"/>
                  </a:lnTo>
                  <a:lnTo>
                    <a:pt x="207532" y="572208"/>
                  </a:lnTo>
                  <a:lnTo>
                    <a:pt x="207532" y="802616"/>
                  </a:lnTo>
                  <a:close/>
                  <a:moveTo>
                    <a:pt x="467545" y="2188505"/>
                  </a:moveTo>
                  <a:cubicBezTo>
                    <a:pt x="477862" y="2188505"/>
                    <a:pt x="486235" y="2196878"/>
                    <a:pt x="486235" y="2207195"/>
                  </a:cubicBezTo>
                  <a:cubicBezTo>
                    <a:pt x="486235" y="2217512"/>
                    <a:pt x="477862" y="2225885"/>
                    <a:pt x="467545" y="2225885"/>
                  </a:cubicBezTo>
                  <a:cubicBezTo>
                    <a:pt x="457228" y="2225885"/>
                    <a:pt x="448855" y="2217512"/>
                    <a:pt x="448855" y="2207195"/>
                  </a:cubicBezTo>
                  <a:cubicBezTo>
                    <a:pt x="448855" y="2196878"/>
                    <a:pt x="457228" y="2188505"/>
                    <a:pt x="467545" y="218850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6167610" y="-3676530"/>
              <a:ext cx="478460" cy="2302588"/>
            </a:xfrm>
            <a:custGeom>
              <a:avLst/>
              <a:gdLst>
                <a:gd name="connsiteX0" fmla="*/ 29605 w 478459"/>
                <a:gd name="connsiteY0" fmla="*/ 815774 h 2302587"/>
                <a:gd name="connsiteX1" fmla="*/ 0 w 478459"/>
                <a:gd name="connsiteY1" fmla="*/ 845379 h 2302587"/>
                <a:gd name="connsiteX2" fmla="*/ 0 w 478459"/>
                <a:gd name="connsiteY2" fmla="*/ 2006092 h 2302587"/>
                <a:gd name="connsiteX3" fmla="*/ 144285 w 478459"/>
                <a:gd name="connsiteY3" fmla="*/ 2150378 h 2302587"/>
                <a:gd name="connsiteX4" fmla="*/ 180020 w 478459"/>
                <a:gd name="connsiteY4" fmla="*/ 2150378 h 2302587"/>
                <a:gd name="connsiteX5" fmla="*/ 242370 w 478459"/>
                <a:gd name="connsiteY5" fmla="*/ 2088028 h 2302587"/>
                <a:gd name="connsiteX6" fmla="*/ 317727 w 478459"/>
                <a:gd name="connsiteY6" fmla="*/ 2088028 h 2302587"/>
                <a:gd name="connsiteX7" fmla="*/ 451397 w 478459"/>
                <a:gd name="connsiteY7" fmla="*/ 2221698 h 2302587"/>
                <a:gd name="connsiteX8" fmla="*/ 451397 w 478459"/>
                <a:gd name="connsiteY8" fmla="*/ 2252798 h 2302587"/>
                <a:gd name="connsiteX9" fmla="*/ 429119 w 478459"/>
                <a:gd name="connsiteY9" fmla="*/ 2278366 h 2302587"/>
                <a:gd name="connsiteX10" fmla="*/ 455135 w 478459"/>
                <a:gd name="connsiteY10" fmla="*/ 2304382 h 2302587"/>
                <a:gd name="connsiteX11" fmla="*/ 481151 w 478459"/>
                <a:gd name="connsiteY11" fmla="*/ 2278366 h 2302587"/>
                <a:gd name="connsiteX12" fmla="*/ 458873 w 478459"/>
                <a:gd name="connsiteY12" fmla="*/ 2252798 h 2302587"/>
                <a:gd name="connsiteX13" fmla="*/ 458873 w 478459"/>
                <a:gd name="connsiteY13" fmla="*/ 2218708 h 2302587"/>
                <a:gd name="connsiteX14" fmla="*/ 320867 w 478459"/>
                <a:gd name="connsiteY14" fmla="*/ 2080702 h 2302587"/>
                <a:gd name="connsiteX15" fmla="*/ 239379 w 478459"/>
                <a:gd name="connsiteY15" fmla="*/ 2080702 h 2302587"/>
                <a:gd name="connsiteX16" fmla="*/ 177030 w 478459"/>
                <a:gd name="connsiteY16" fmla="*/ 2143051 h 2302587"/>
                <a:gd name="connsiteX17" fmla="*/ 147425 w 478459"/>
                <a:gd name="connsiteY17" fmla="*/ 2143051 h 2302587"/>
                <a:gd name="connsiteX18" fmla="*/ 7476 w 478459"/>
                <a:gd name="connsiteY18" fmla="*/ 2003102 h 2302587"/>
                <a:gd name="connsiteX19" fmla="*/ 7476 w 478459"/>
                <a:gd name="connsiteY19" fmla="*/ 848519 h 2302587"/>
                <a:gd name="connsiteX20" fmla="*/ 37081 w 478459"/>
                <a:gd name="connsiteY20" fmla="*/ 818914 h 2302587"/>
                <a:gd name="connsiteX21" fmla="*/ 37081 w 478459"/>
                <a:gd name="connsiteY21" fmla="*/ 544996 h 2302587"/>
                <a:gd name="connsiteX22" fmla="*/ 10616 w 478459"/>
                <a:gd name="connsiteY22" fmla="*/ 518531 h 2302587"/>
                <a:gd name="connsiteX23" fmla="*/ 10616 w 478459"/>
                <a:gd name="connsiteY23" fmla="*/ 421643 h 2302587"/>
                <a:gd name="connsiteX24" fmla="*/ 322811 w 478459"/>
                <a:gd name="connsiteY24" fmla="*/ 109448 h 2302587"/>
                <a:gd name="connsiteX25" fmla="*/ 322811 w 478459"/>
                <a:gd name="connsiteY25" fmla="*/ 0 h 2302587"/>
                <a:gd name="connsiteX26" fmla="*/ 315485 w 478459"/>
                <a:gd name="connsiteY26" fmla="*/ 0 h 2302587"/>
                <a:gd name="connsiteX27" fmla="*/ 315485 w 478459"/>
                <a:gd name="connsiteY27" fmla="*/ 106308 h 2302587"/>
                <a:gd name="connsiteX28" fmla="*/ 3289 w 478459"/>
                <a:gd name="connsiteY28" fmla="*/ 418503 h 2302587"/>
                <a:gd name="connsiteX29" fmla="*/ 3289 w 478459"/>
                <a:gd name="connsiteY29" fmla="*/ 521521 h 2302587"/>
                <a:gd name="connsiteX30" fmla="*/ 29754 w 478459"/>
                <a:gd name="connsiteY30" fmla="*/ 547986 h 2302587"/>
                <a:gd name="connsiteX31" fmla="*/ 29754 w 478459"/>
                <a:gd name="connsiteY31" fmla="*/ 815774 h 2302587"/>
                <a:gd name="connsiteX32" fmla="*/ 473526 w 478459"/>
                <a:gd name="connsiteY32" fmla="*/ 2278515 h 2302587"/>
                <a:gd name="connsiteX33" fmla="*/ 454836 w 478459"/>
                <a:gd name="connsiteY33" fmla="*/ 2297205 h 2302587"/>
                <a:gd name="connsiteX34" fmla="*/ 436146 w 478459"/>
                <a:gd name="connsiteY34" fmla="*/ 2278515 h 2302587"/>
                <a:gd name="connsiteX35" fmla="*/ 454836 w 478459"/>
                <a:gd name="connsiteY35" fmla="*/ 2259825 h 2302587"/>
                <a:gd name="connsiteX36" fmla="*/ 473526 w 478459"/>
                <a:gd name="connsiteY36" fmla="*/ 2278515 h 23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78459" h="2302587">
                  <a:moveTo>
                    <a:pt x="29605" y="815774"/>
                  </a:moveTo>
                  <a:lnTo>
                    <a:pt x="0" y="845379"/>
                  </a:lnTo>
                  <a:lnTo>
                    <a:pt x="0" y="2006092"/>
                  </a:lnTo>
                  <a:lnTo>
                    <a:pt x="144285" y="2150378"/>
                  </a:lnTo>
                  <a:lnTo>
                    <a:pt x="180020" y="2150378"/>
                  </a:lnTo>
                  <a:lnTo>
                    <a:pt x="242370" y="2088028"/>
                  </a:lnTo>
                  <a:lnTo>
                    <a:pt x="317727" y="2088028"/>
                  </a:lnTo>
                  <a:lnTo>
                    <a:pt x="451397" y="2221698"/>
                  </a:lnTo>
                  <a:lnTo>
                    <a:pt x="451397" y="2252798"/>
                  </a:lnTo>
                  <a:cubicBezTo>
                    <a:pt x="438838" y="2254592"/>
                    <a:pt x="429119" y="2265358"/>
                    <a:pt x="429119" y="2278366"/>
                  </a:cubicBezTo>
                  <a:cubicBezTo>
                    <a:pt x="429119" y="2292720"/>
                    <a:pt x="440781" y="2304382"/>
                    <a:pt x="455135" y="2304382"/>
                  </a:cubicBezTo>
                  <a:cubicBezTo>
                    <a:pt x="469489" y="2304382"/>
                    <a:pt x="481151" y="2292720"/>
                    <a:pt x="481151" y="2278366"/>
                  </a:cubicBezTo>
                  <a:cubicBezTo>
                    <a:pt x="481151" y="2265208"/>
                    <a:pt x="471432" y="2254592"/>
                    <a:pt x="458873" y="2252798"/>
                  </a:cubicBezTo>
                  <a:lnTo>
                    <a:pt x="458873" y="2218708"/>
                  </a:lnTo>
                  <a:lnTo>
                    <a:pt x="320867" y="2080702"/>
                  </a:lnTo>
                  <a:lnTo>
                    <a:pt x="239379" y="2080702"/>
                  </a:lnTo>
                  <a:lnTo>
                    <a:pt x="177030" y="2143051"/>
                  </a:lnTo>
                  <a:lnTo>
                    <a:pt x="147425" y="2143051"/>
                  </a:lnTo>
                  <a:lnTo>
                    <a:pt x="7476" y="2003102"/>
                  </a:lnTo>
                  <a:lnTo>
                    <a:pt x="7476" y="848519"/>
                  </a:lnTo>
                  <a:lnTo>
                    <a:pt x="37081" y="818914"/>
                  </a:lnTo>
                  <a:lnTo>
                    <a:pt x="37081" y="544996"/>
                  </a:lnTo>
                  <a:lnTo>
                    <a:pt x="10616" y="518531"/>
                  </a:lnTo>
                  <a:lnTo>
                    <a:pt x="10616" y="421643"/>
                  </a:lnTo>
                  <a:lnTo>
                    <a:pt x="322811" y="109448"/>
                  </a:lnTo>
                  <a:lnTo>
                    <a:pt x="322811" y="0"/>
                  </a:lnTo>
                  <a:lnTo>
                    <a:pt x="315485" y="0"/>
                  </a:lnTo>
                  <a:lnTo>
                    <a:pt x="315485" y="106308"/>
                  </a:lnTo>
                  <a:lnTo>
                    <a:pt x="3289" y="418503"/>
                  </a:lnTo>
                  <a:lnTo>
                    <a:pt x="3289" y="521521"/>
                  </a:lnTo>
                  <a:lnTo>
                    <a:pt x="29754" y="547986"/>
                  </a:lnTo>
                  <a:lnTo>
                    <a:pt x="29754" y="815774"/>
                  </a:lnTo>
                  <a:close/>
                  <a:moveTo>
                    <a:pt x="473526" y="2278515"/>
                  </a:moveTo>
                  <a:cubicBezTo>
                    <a:pt x="473526" y="2288832"/>
                    <a:pt x="465153" y="2297205"/>
                    <a:pt x="454836" y="2297205"/>
                  </a:cubicBezTo>
                  <a:cubicBezTo>
                    <a:pt x="444519" y="2297205"/>
                    <a:pt x="436146" y="2288832"/>
                    <a:pt x="436146" y="2278515"/>
                  </a:cubicBezTo>
                  <a:cubicBezTo>
                    <a:pt x="436146" y="2268198"/>
                    <a:pt x="444519" y="2259825"/>
                    <a:pt x="454836" y="2259825"/>
                  </a:cubicBezTo>
                  <a:cubicBezTo>
                    <a:pt x="465153" y="2259825"/>
                    <a:pt x="473526" y="2268198"/>
                    <a:pt x="473526" y="2278515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6192579" y="-3676530"/>
              <a:ext cx="388749" cy="2093262"/>
            </a:xfrm>
            <a:custGeom>
              <a:avLst/>
              <a:gdLst>
                <a:gd name="connsiteX0" fmla="*/ 2990 w 388748"/>
                <a:gd name="connsiteY0" fmla="*/ 511653 h 2093261"/>
                <a:gd name="connsiteX1" fmla="*/ 36483 w 388748"/>
                <a:gd name="connsiteY1" fmla="*/ 545145 h 2093261"/>
                <a:gd name="connsiteX2" fmla="*/ 36483 w 388748"/>
                <a:gd name="connsiteY2" fmla="*/ 825493 h 2093261"/>
                <a:gd name="connsiteX3" fmla="*/ 0 w 388748"/>
                <a:gd name="connsiteY3" fmla="*/ 861975 h 2093261"/>
                <a:gd name="connsiteX4" fmla="*/ 0 w 388748"/>
                <a:gd name="connsiteY4" fmla="*/ 1277189 h 2093261"/>
                <a:gd name="connsiteX5" fmla="*/ 43959 w 388748"/>
                <a:gd name="connsiteY5" fmla="*/ 1321147 h 2093261"/>
                <a:gd name="connsiteX6" fmla="*/ 43959 w 388748"/>
                <a:gd name="connsiteY6" fmla="*/ 1601345 h 2093261"/>
                <a:gd name="connsiteX7" fmla="*/ 449 w 388748"/>
                <a:gd name="connsiteY7" fmla="*/ 1644855 h 2093261"/>
                <a:gd name="connsiteX8" fmla="*/ 449 w 388748"/>
                <a:gd name="connsiteY8" fmla="*/ 1988748 h 2093261"/>
                <a:gd name="connsiteX9" fmla="*/ 116774 w 388748"/>
                <a:gd name="connsiteY9" fmla="*/ 2105074 h 2093261"/>
                <a:gd name="connsiteX10" fmla="*/ 154901 w 388748"/>
                <a:gd name="connsiteY10" fmla="*/ 2105074 h 2093261"/>
                <a:gd name="connsiteX11" fmla="*/ 211868 w 388748"/>
                <a:gd name="connsiteY11" fmla="*/ 2048107 h 2093261"/>
                <a:gd name="connsiteX12" fmla="*/ 332530 w 388748"/>
                <a:gd name="connsiteY12" fmla="*/ 2048107 h 2093261"/>
                <a:gd name="connsiteX13" fmla="*/ 357649 w 388748"/>
                <a:gd name="connsiteY13" fmla="*/ 2022988 h 2093261"/>
                <a:gd name="connsiteX14" fmla="*/ 373199 w 388748"/>
                <a:gd name="connsiteY14" fmla="*/ 2028221 h 2093261"/>
                <a:gd name="connsiteX15" fmla="*/ 399215 w 388748"/>
                <a:gd name="connsiteY15" fmla="*/ 2002205 h 2093261"/>
                <a:gd name="connsiteX16" fmla="*/ 373199 w 388748"/>
                <a:gd name="connsiteY16" fmla="*/ 1976188 h 2093261"/>
                <a:gd name="connsiteX17" fmla="*/ 347182 w 388748"/>
                <a:gd name="connsiteY17" fmla="*/ 2002205 h 2093261"/>
                <a:gd name="connsiteX18" fmla="*/ 352416 w 388748"/>
                <a:gd name="connsiteY18" fmla="*/ 2017605 h 2093261"/>
                <a:gd name="connsiteX19" fmla="*/ 329539 w 388748"/>
                <a:gd name="connsiteY19" fmla="*/ 2040631 h 2093261"/>
                <a:gd name="connsiteX20" fmla="*/ 208878 w 388748"/>
                <a:gd name="connsiteY20" fmla="*/ 2040631 h 2093261"/>
                <a:gd name="connsiteX21" fmla="*/ 151911 w 388748"/>
                <a:gd name="connsiteY21" fmla="*/ 2097598 h 2093261"/>
                <a:gd name="connsiteX22" fmla="*/ 119914 w 388748"/>
                <a:gd name="connsiteY22" fmla="*/ 2097598 h 2093261"/>
                <a:gd name="connsiteX23" fmla="*/ 7924 w 388748"/>
                <a:gd name="connsiteY23" fmla="*/ 1985608 h 2093261"/>
                <a:gd name="connsiteX24" fmla="*/ 7924 w 388748"/>
                <a:gd name="connsiteY24" fmla="*/ 1647845 h 2093261"/>
                <a:gd name="connsiteX25" fmla="*/ 51434 w 388748"/>
                <a:gd name="connsiteY25" fmla="*/ 1604336 h 2093261"/>
                <a:gd name="connsiteX26" fmla="*/ 51434 w 388748"/>
                <a:gd name="connsiteY26" fmla="*/ 1318306 h 2093261"/>
                <a:gd name="connsiteX27" fmla="*/ 7476 w 388748"/>
                <a:gd name="connsiteY27" fmla="*/ 1274348 h 2093261"/>
                <a:gd name="connsiteX28" fmla="*/ 7476 w 388748"/>
                <a:gd name="connsiteY28" fmla="*/ 865115 h 2093261"/>
                <a:gd name="connsiteX29" fmla="*/ 43959 w 388748"/>
                <a:gd name="connsiteY29" fmla="*/ 828633 h 2093261"/>
                <a:gd name="connsiteX30" fmla="*/ 43959 w 388748"/>
                <a:gd name="connsiteY30" fmla="*/ 542155 h 2093261"/>
                <a:gd name="connsiteX31" fmla="*/ 10466 w 388748"/>
                <a:gd name="connsiteY31" fmla="*/ 508663 h 2093261"/>
                <a:gd name="connsiteX32" fmla="*/ 10466 w 388748"/>
                <a:gd name="connsiteY32" fmla="*/ 436146 h 2093261"/>
                <a:gd name="connsiteX33" fmla="*/ 319223 w 388748"/>
                <a:gd name="connsiteY33" fmla="*/ 127390 h 2093261"/>
                <a:gd name="connsiteX34" fmla="*/ 319223 w 388748"/>
                <a:gd name="connsiteY34" fmla="*/ 0 h 2093261"/>
                <a:gd name="connsiteX35" fmla="*/ 311896 w 388748"/>
                <a:gd name="connsiteY35" fmla="*/ 0 h 2093261"/>
                <a:gd name="connsiteX36" fmla="*/ 311896 w 388748"/>
                <a:gd name="connsiteY36" fmla="*/ 124400 h 2093261"/>
                <a:gd name="connsiteX37" fmla="*/ 3140 w 388748"/>
                <a:gd name="connsiteY37" fmla="*/ 433156 h 2093261"/>
                <a:gd name="connsiteX38" fmla="*/ 3140 w 388748"/>
                <a:gd name="connsiteY38" fmla="*/ 511653 h 209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8748" h="2093261">
                  <a:moveTo>
                    <a:pt x="2990" y="511653"/>
                  </a:moveTo>
                  <a:lnTo>
                    <a:pt x="36483" y="545145"/>
                  </a:lnTo>
                  <a:lnTo>
                    <a:pt x="36483" y="825493"/>
                  </a:lnTo>
                  <a:lnTo>
                    <a:pt x="0" y="861975"/>
                  </a:lnTo>
                  <a:lnTo>
                    <a:pt x="0" y="1277189"/>
                  </a:lnTo>
                  <a:lnTo>
                    <a:pt x="43959" y="1321147"/>
                  </a:lnTo>
                  <a:lnTo>
                    <a:pt x="43959" y="1601345"/>
                  </a:lnTo>
                  <a:lnTo>
                    <a:pt x="449" y="1644855"/>
                  </a:lnTo>
                  <a:lnTo>
                    <a:pt x="449" y="1988748"/>
                  </a:lnTo>
                  <a:lnTo>
                    <a:pt x="116774" y="2105074"/>
                  </a:lnTo>
                  <a:lnTo>
                    <a:pt x="154901" y="2105074"/>
                  </a:lnTo>
                  <a:lnTo>
                    <a:pt x="211868" y="2048107"/>
                  </a:lnTo>
                  <a:lnTo>
                    <a:pt x="332530" y="2048107"/>
                  </a:lnTo>
                  <a:lnTo>
                    <a:pt x="357649" y="2022988"/>
                  </a:lnTo>
                  <a:cubicBezTo>
                    <a:pt x="361985" y="2026277"/>
                    <a:pt x="367368" y="2028221"/>
                    <a:pt x="373199" y="2028221"/>
                  </a:cubicBezTo>
                  <a:cubicBezTo>
                    <a:pt x="387552" y="2028221"/>
                    <a:pt x="399215" y="2016558"/>
                    <a:pt x="399215" y="2002205"/>
                  </a:cubicBezTo>
                  <a:cubicBezTo>
                    <a:pt x="399215" y="1987851"/>
                    <a:pt x="387552" y="1976188"/>
                    <a:pt x="373199" y="1976188"/>
                  </a:cubicBezTo>
                  <a:cubicBezTo>
                    <a:pt x="358845" y="1976188"/>
                    <a:pt x="347182" y="1987851"/>
                    <a:pt x="347182" y="2002205"/>
                  </a:cubicBezTo>
                  <a:cubicBezTo>
                    <a:pt x="347182" y="2008036"/>
                    <a:pt x="349126" y="2013419"/>
                    <a:pt x="352416" y="2017605"/>
                  </a:cubicBezTo>
                  <a:lnTo>
                    <a:pt x="329539" y="2040631"/>
                  </a:lnTo>
                  <a:lnTo>
                    <a:pt x="208878" y="2040631"/>
                  </a:lnTo>
                  <a:lnTo>
                    <a:pt x="151911" y="2097598"/>
                  </a:lnTo>
                  <a:lnTo>
                    <a:pt x="119914" y="2097598"/>
                  </a:lnTo>
                  <a:lnTo>
                    <a:pt x="7924" y="1985608"/>
                  </a:lnTo>
                  <a:lnTo>
                    <a:pt x="7924" y="1647845"/>
                  </a:lnTo>
                  <a:lnTo>
                    <a:pt x="51434" y="1604336"/>
                  </a:lnTo>
                  <a:lnTo>
                    <a:pt x="51434" y="1318306"/>
                  </a:lnTo>
                  <a:lnTo>
                    <a:pt x="7476" y="1274348"/>
                  </a:lnTo>
                  <a:lnTo>
                    <a:pt x="7476" y="865115"/>
                  </a:lnTo>
                  <a:lnTo>
                    <a:pt x="43959" y="828633"/>
                  </a:lnTo>
                  <a:lnTo>
                    <a:pt x="43959" y="542155"/>
                  </a:lnTo>
                  <a:lnTo>
                    <a:pt x="10466" y="508663"/>
                  </a:lnTo>
                  <a:lnTo>
                    <a:pt x="10466" y="436146"/>
                  </a:lnTo>
                  <a:lnTo>
                    <a:pt x="319223" y="127390"/>
                  </a:lnTo>
                  <a:lnTo>
                    <a:pt x="319223" y="0"/>
                  </a:lnTo>
                  <a:lnTo>
                    <a:pt x="311896" y="0"/>
                  </a:lnTo>
                  <a:lnTo>
                    <a:pt x="311896" y="124400"/>
                  </a:lnTo>
                  <a:lnTo>
                    <a:pt x="3140" y="433156"/>
                  </a:lnTo>
                  <a:lnTo>
                    <a:pt x="3140" y="511653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5188412" y="-3676530"/>
              <a:ext cx="463508" cy="2212877"/>
            </a:xfrm>
            <a:custGeom>
              <a:avLst/>
              <a:gdLst>
                <a:gd name="connsiteX0" fmla="*/ 458724 w 463507"/>
                <a:gd name="connsiteY0" fmla="*/ 454537 h 2212876"/>
                <a:gd name="connsiteX1" fmla="*/ 393832 w 463507"/>
                <a:gd name="connsiteY1" fmla="*/ 519428 h 2212876"/>
                <a:gd name="connsiteX2" fmla="*/ 393832 w 463507"/>
                <a:gd name="connsiteY2" fmla="*/ 638445 h 2212876"/>
                <a:gd name="connsiteX3" fmla="*/ 357649 w 463507"/>
                <a:gd name="connsiteY3" fmla="*/ 674628 h 2212876"/>
                <a:gd name="connsiteX4" fmla="*/ 357649 w 463507"/>
                <a:gd name="connsiteY4" fmla="*/ 1033174 h 2212876"/>
                <a:gd name="connsiteX5" fmla="*/ 456331 w 463507"/>
                <a:gd name="connsiteY5" fmla="*/ 1131856 h 2212876"/>
                <a:gd name="connsiteX6" fmla="*/ 456331 w 463507"/>
                <a:gd name="connsiteY6" fmla="*/ 1650088 h 2212876"/>
                <a:gd name="connsiteX7" fmla="*/ 431810 w 463507"/>
                <a:gd name="connsiteY7" fmla="*/ 1674759 h 2212876"/>
                <a:gd name="connsiteX8" fmla="*/ 387852 w 463507"/>
                <a:gd name="connsiteY8" fmla="*/ 1674759 h 2212876"/>
                <a:gd name="connsiteX9" fmla="*/ 235193 w 463507"/>
                <a:gd name="connsiteY9" fmla="*/ 1827417 h 2212876"/>
                <a:gd name="connsiteX10" fmla="*/ 235193 w 463507"/>
                <a:gd name="connsiteY10" fmla="*/ 1876908 h 2212876"/>
                <a:gd name="connsiteX11" fmla="*/ 149668 w 463507"/>
                <a:gd name="connsiteY11" fmla="*/ 1962433 h 2212876"/>
                <a:gd name="connsiteX12" fmla="*/ 149668 w 463507"/>
                <a:gd name="connsiteY12" fmla="*/ 2072628 h 2212876"/>
                <a:gd name="connsiteX13" fmla="*/ 41566 w 463507"/>
                <a:gd name="connsiteY13" fmla="*/ 2180730 h 2212876"/>
                <a:gd name="connsiteX14" fmla="*/ 26016 w 463507"/>
                <a:gd name="connsiteY14" fmla="*/ 2175497 h 2212876"/>
                <a:gd name="connsiteX15" fmla="*/ 0 w 463507"/>
                <a:gd name="connsiteY15" fmla="*/ 2201513 h 2212876"/>
                <a:gd name="connsiteX16" fmla="*/ 26016 w 463507"/>
                <a:gd name="connsiteY16" fmla="*/ 2227529 h 2212876"/>
                <a:gd name="connsiteX17" fmla="*/ 52033 w 463507"/>
                <a:gd name="connsiteY17" fmla="*/ 2201513 h 2212876"/>
                <a:gd name="connsiteX18" fmla="*/ 46799 w 463507"/>
                <a:gd name="connsiteY18" fmla="*/ 2185963 h 2212876"/>
                <a:gd name="connsiteX19" fmla="*/ 156995 w 463507"/>
                <a:gd name="connsiteY19" fmla="*/ 2075768 h 2212876"/>
                <a:gd name="connsiteX20" fmla="*/ 156995 w 463507"/>
                <a:gd name="connsiteY20" fmla="*/ 1965573 h 2212876"/>
                <a:gd name="connsiteX21" fmla="*/ 242519 w 463507"/>
                <a:gd name="connsiteY21" fmla="*/ 1880048 h 2212876"/>
                <a:gd name="connsiteX22" fmla="*/ 242519 w 463507"/>
                <a:gd name="connsiteY22" fmla="*/ 1830557 h 2212876"/>
                <a:gd name="connsiteX23" fmla="*/ 390842 w 463507"/>
                <a:gd name="connsiteY23" fmla="*/ 1682235 h 2212876"/>
                <a:gd name="connsiteX24" fmla="*/ 434800 w 463507"/>
                <a:gd name="connsiteY24" fmla="*/ 1682235 h 2212876"/>
                <a:gd name="connsiteX25" fmla="*/ 463658 w 463507"/>
                <a:gd name="connsiteY25" fmla="*/ 1653378 h 2212876"/>
                <a:gd name="connsiteX26" fmla="*/ 463658 w 463507"/>
                <a:gd name="connsiteY26" fmla="*/ 1128717 h 2212876"/>
                <a:gd name="connsiteX27" fmla="*/ 364975 w 463507"/>
                <a:gd name="connsiteY27" fmla="*/ 1030034 h 2212876"/>
                <a:gd name="connsiteX28" fmla="*/ 364975 w 463507"/>
                <a:gd name="connsiteY28" fmla="*/ 677619 h 2212876"/>
                <a:gd name="connsiteX29" fmla="*/ 401159 w 463507"/>
                <a:gd name="connsiteY29" fmla="*/ 641435 h 2212876"/>
                <a:gd name="connsiteX30" fmla="*/ 401159 w 463507"/>
                <a:gd name="connsiteY30" fmla="*/ 522418 h 2212876"/>
                <a:gd name="connsiteX31" fmla="*/ 466050 w 463507"/>
                <a:gd name="connsiteY31" fmla="*/ 457527 h 2212876"/>
                <a:gd name="connsiteX32" fmla="*/ 466050 w 463507"/>
                <a:gd name="connsiteY32" fmla="*/ 188394 h 2212876"/>
                <a:gd name="connsiteX33" fmla="*/ 319821 w 463507"/>
                <a:gd name="connsiteY33" fmla="*/ 42164 h 2212876"/>
                <a:gd name="connsiteX34" fmla="*/ 319821 w 463507"/>
                <a:gd name="connsiteY34" fmla="*/ 0 h 2212876"/>
                <a:gd name="connsiteX35" fmla="*/ 312494 w 463507"/>
                <a:gd name="connsiteY35" fmla="*/ 0 h 2212876"/>
                <a:gd name="connsiteX36" fmla="*/ 312494 w 463507"/>
                <a:gd name="connsiteY36" fmla="*/ 45304 h 2212876"/>
                <a:gd name="connsiteX37" fmla="*/ 458724 w 463507"/>
                <a:gd name="connsiteY37" fmla="*/ 191533 h 2212876"/>
                <a:gd name="connsiteX38" fmla="*/ 458724 w 463507"/>
                <a:gd name="connsiteY38" fmla="*/ 454537 h 221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3507" h="2212876">
                  <a:moveTo>
                    <a:pt x="458724" y="454537"/>
                  </a:moveTo>
                  <a:lnTo>
                    <a:pt x="393832" y="519428"/>
                  </a:lnTo>
                  <a:lnTo>
                    <a:pt x="393832" y="638445"/>
                  </a:lnTo>
                  <a:lnTo>
                    <a:pt x="357649" y="674628"/>
                  </a:lnTo>
                  <a:lnTo>
                    <a:pt x="357649" y="1033174"/>
                  </a:lnTo>
                  <a:lnTo>
                    <a:pt x="456331" y="1131856"/>
                  </a:lnTo>
                  <a:lnTo>
                    <a:pt x="456331" y="1650088"/>
                  </a:lnTo>
                  <a:lnTo>
                    <a:pt x="431810" y="1674759"/>
                  </a:lnTo>
                  <a:lnTo>
                    <a:pt x="387852" y="1674759"/>
                  </a:lnTo>
                  <a:lnTo>
                    <a:pt x="235193" y="1827417"/>
                  </a:lnTo>
                  <a:lnTo>
                    <a:pt x="235193" y="1876908"/>
                  </a:lnTo>
                  <a:lnTo>
                    <a:pt x="149668" y="1962433"/>
                  </a:lnTo>
                  <a:lnTo>
                    <a:pt x="149668" y="2072628"/>
                  </a:lnTo>
                  <a:lnTo>
                    <a:pt x="41566" y="2180730"/>
                  </a:lnTo>
                  <a:cubicBezTo>
                    <a:pt x="37230" y="2177441"/>
                    <a:pt x="31848" y="2175497"/>
                    <a:pt x="26016" y="2175497"/>
                  </a:cubicBezTo>
                  <a:cubicBezTo>
                    <a:pt x="11662" y="2175497"/>
                    <a:pt x="0" y="2187159"/>
                    <a:pt x="0" y="2201513"/>
                  </a:cubicBezTo>
                  <a:cubicBezTo>
                    <a:pt x="0" y="2215867"/>
                    <a:pt x="11662" y="2227529"/>
                    <a:pt x="26016" y="2227529"/>
                  </a:cubicBezTo>
                  <a:cubicBezTo>
                    <a:pt x="40370" y="2227529"/>
                    <a:pt x="52033" y="2215867"/>
                    <a:pt x="52033" y="2201513"/>
                  </a:cubicBezTo>
                  <a:cubicBezTo>
                    <a:pt x="52033" y="2195682"/>
                    <a:pt x="50089" y="2190299"/>
                    <a:pt x="46799" y="2185963"/>
                  </a:cubicBezTo>
                  <a:lnTo>
                    <a:pt x="156995" y="2075768"/>
                  </a:lnTo>
                  <a:lnTo>
                    <a:pt x="156995" y="1965573"/>
                  </a:lnTo>
                  <a:lnTo>
                    <a:pt x="242519" y="1880048"/>
                  </a:lnTo>
                  <a:lnTo>
                    <a:pt x="242519" y="1830557"/>
                  </a:lnTo>
                  <a:lnTo>
                    <a:pt x="390842" y="1682235"/>
                  </a:lnTo>
                  <a:lnTo>
                    <a:pt x="434800" y="1682235"/>
                  </a:lnTo>
                  <a:lnTo>
                    <a:pt x="463658" y="1653378"/>
                  </a:lnTo>
                  <a:lnTo>
                    <a:pt x="463658" y="1128717"/>
                  </a:lnTo>
                  <a:lnTo>
                    <a:pt x="364975" y="1030034"/>
                  </a:lnTo>
                  <a:lnTo>
                    <a:pt x="364975" y="677619"/>
                  </a:lnTo>
                  <a:lnTo>
                    <a:pt x="401159" y="641435"/>
                  </a:lnTo>
                  <a:lnTo>
                    <a:pt x="401159" y="522418"/>
                  </a:lnTo>
                  <a:lnTo>
                    <a:pt x="466050" y="457527"/>
                  </a:lnTo>
                  <a:lnTo>
                    <a:pt x="466050" y="188394"/>
                  </a:lnTo>
                  <a:lnTo>
                    <a:pt x="319821" y="42164"/>
                  </a:lnTo>
                  <a:lnTo>
                    <a:pt x="319821" y="0"/>
                  </a:lnTo>
                  <a:lnTo>
                    <a:pt x="312494" y="0"/>
                  </a:lnTo>
                  <a:lnTo>
                    <a:pt x="312494" y="45304"/>
                  </a:lnTo>
                  <a:lnTo>
                    <a:pt x="458724" y="191533"/>
                  </a:lnTo>
                  <a:lnTo>
                    <a:pt x="458724" y="454537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6214858" y="-3676530"/>
              <a:ext cx="313989" cy="1689561"/>
            </a:xfrm>
            <a:custGeom>
              <a:avLst/>
              <a:gdLst>
                <a:gd name="connsiteX0" fmla="*/ 258966 w 313989"/>
                <a:gd name="connsiteY0" fmla="*/ 230109 h 1689561"/>
                <a:gd name="connsiteX1" fmla="*/ 88067 w 313989"/>
                <a:gd name="connsiteY1" fmla="*/ 401009 h 1689561"/>
                <a:gd name="connsiteX2" fmla="*/ 56070 w 313989"/>
                <a:gd name="connsiteY2" fmla="*/ 401009 h 1689561"/>
                <a:gd name="connsiteX3" fmla="*/ 13307 w 313989"/>
                <a:gd name="connsiteY3" fmla="*/ 443771 h 1689561"/>
                <a:gd name="connsiteX4" fmla="*/ 13307 w 313989"/>
                <a:gd name="connsiteY4" fmla="*/ 498495 h 1689561"/>
                <a:gd name="connsiteX5" fmla="*/ 42912 w 313989"/>
                <a:gd name="connsiteY5" fmla="*/ 528100 h 1689561"/>
                <a:gd name="connsiteX6" fmla="*/ 42912 w 313989"/>
                <a:gd name="connsiteY6" fmla="*/ 841790 h 1689561"/>
                <a:gd name="connsiteX7" fmla="*/ 0 w 313989"/>
                <a:gd name="connsiteY7" fmla="*/ 884702 h 1689561"/>
                <a:gd name="connsiteX8" fmla="*/ 0 w 313989"/>
                <a:gd name="connsiteY8" fmla="*/ 1226651 h 1689561"/>
                <a:gd name="connsiteX9" fmla="*/ 47397 w 313989"/>
                <a:gd name="connsiteY9" fmla="*/ 1274049 h 1689561"/>
                <a:gd name="connsiteX10" fmla="*/ 47397 w 313989"/>
                <a:gd name="connsiteY10" fmla="*/ 1355835 h 1689561"/>
                <a:gd name="connsiteX11" fmla="*/ 277208 w 313989"/>
                <a:gd name="connsiteY11" fmla="*/ 1585646 h 1689561"/>
                <a:gd name="connsiteX12" fmla="*/ 277208 w 313989"/>
                <a:gd name="connsiteY12" fmla="*/ 1644855 h 1689561"/>
                <a:gd name="connsiteX13" fmla="*/ 255976 w 313989"/>
                <a:gd name="connsiteY13" fmla="*/ 1670423 h 1689561"/>
                <a:gd name="connsiteX14" fmla="*/ 281992 w 313989"/>
                <a:gd name="connsiteY14" fmla="*/ 1696439 h 1689561"/>
                <a:gd name="connsiteX15" fmla="*/ 308008 w 313989"/>
                <a:gd name="connsiteY15" fmla="*/ 1670423 h 1689561"/>
                <a:gd name="connsiteX16" fmla="*/ 284684 w 313989"/>
                <a:gd name="connsiteY16" fmla="*/ 1644706 h 1689561"/>
                <a:gd name="connsiteX17" fmla="*/ 284684 w 313989"/>
                <a:gd name="connsiteY17" fmla="*/ 1582655 h 1689561"/>
                <a:gd name="connsiteX18" fmla="*/ 54873 w 313989"/>
                <a:gd name="connsiteY18" fmla="*/ 1352845 h 1689561"/>
                <a:gd name="connsiteX19" fmla="*/ 54873 w 313989"/>
                <a:gd name="connsiteY19" fmla="*/ 1270909 h 1689561"/>
                <a:gd name="connsiteX20" fmla="*/ 7476 w 313989"/>
                <a:gd name="connsiteY20" fmla="*/ 1223511 h 1689561"/>
                <a:gd name="connsiteX21" fmla="*/ 7476 w 313989"/>
                <a:gd name="connsiteY21" fmla="*/ 887842 h 1689561"/>
                <a:gd name="connsiteX22" fmla="*/ 50388 w 313989"/>
                <a:gd name="connsiteY22" fmla="*/ 844930 h 1689561"/>
                <a:gd name="connsiteX23" fmla="*/ 50388 w 313989"/>
                <a:gd name="connsiteY23" fmla="*/ 525110 h 1689561"/>
                <a:gd name="connsiteX24" fmla="*/ 20783 w 313989"/>
                <a:gd name="connsiteY24" fmla="*/ 495505 h 1689561"/>
                <a:gd name="connsiteX25" fmla="*/ 20783 w 313989"/>
                <a:gd name="connsiteY25" fmla="*/ 446911 h 1689561"/>
                <a:gd name="connsiteX26" fmla="*/ 59209 w 313989"/>
                <a:gd name="connsiteY26" fmla="*/ 408485 h 1689561"/>
                <a:gd name="connsiteX27" fmla="*/ 91206 w 313989"/>
                <a:gd name="connsiteY27" fmla="*/ 408485 h 1689561"/>
                <a:gd name="connsiteX28" fmla="*/ 266442 w 313989"/>
                <a:gd name="connsiteY28" fmla="*/ 233249 h 1689561"/>
                <a:gd name="connsiteX29" fmla="*/ 266442 w 313989"/>
                <a:gd name="connsiteY29" fmla="*/ 201850 h 1689561"/>
                <a:gd name="connsiteX30" fmla="*/ 321465 w 313989"/>
                <a:gd name="connsiteY30" fmla="*/ 146827 h 1689561"/>
                <a:gd name="connsiteX31" fmla="*/ 321465 w 313989"/>
                <a:gd name="connsiteY31" fmla="*/ 0 h 1689561"/>
                <a:gd name="connsiteX32" fmla="*/ 314139 w 313989"/>
                <a:gd name="connsiteY32" fmla="*/ 0 h 1689561"/>
                <a:gd name="connsiteX33" fmla="*/ 314139 w 313989"/>
                <a:gd name="connsiteY33" fmla="*/ 143538 h 1689561"/>
                <a:gd name="connsiteX34" fmla="*/ 259116 w 313989"/>
                <a:gd name="connsiteY34" fmla="*/ 198561 h 1689561"/>
                <a:gd name="connsiteX35" fmla="*/ 259116 w 313989"/>
                <a:gd name="connsiteY35" fmla="*/ 230109 h 1689561"/>
                <a:gd name="connsiteX36" fmla="*/ 300383 w 313989"/>
                <a:gd name="connsiteY36" fmla="*/ 1670273 h 1689561"/>
                <a:gd name="connsiteX37" fmla="*/ 281693 w 313989"/>
                <a:gd name="connsiteY37" fmla="*/ 1688963 h 1689561"/>
                <a:gd name="connsiteX38" fmla="*/ 263003 w 313989"/>
                <a:gd name="connsiteY38" fmla="*/ 1670273 h 1689561"/>
                <a:gd name="connsiteX39" fmla="*/ 281693 w 313989"/>
                <a:gd name="connsiteY39" fmla="*/ 1651583 h 1689561"/>
                <a:gd name="connsiteX40" fmla="*/ 300383 w 313989"/>
                <a:gd name="connsiteY40" fmla="*/ 1670273 h 1689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13989" h="1689561">
                  <a:moveTo>
                    <a:pt x="258966" y="230109"/>
                  </a:moveTo>
                  <a:lnTo>
                    <a:pt x="88067" y="401009"/>
                  </a:lnTo>
                  <a:lnTo>
                    <a:pt x="56070" y="401009"/>
                  </a:lnTo>
                  <a:lnTo>
                    <a:pt x="13307" y="443771"/>
                  </a:lnTo>
                  <a:lnTo>
                    <a:pt x="13307" y="498495"/>
                  </a:lnTo>
                  <a:lnTo>
                    <a:pt x="42912" y="528100"/>
                  </a:lnTo>
                  <a:lnTo>
                    <a:pt x="42912" y="841790"/>
                  </a:lnTo>
                  <a:lnTo>
                    <a:pt x="0" y="884702"/>
                  </a:lnTo>
                  <a:lnTo>
                    <a:pt x="0" y="1226651"/>
                  </a:lnTo>
                  <a:lnTo>
                    <a:pt x="47397" y="1274049"/>
                  </a:lnTo>
                  <a:lnTo>
                    <a:pt x="47397" y="1355835"/>
                  </a:lnTo>
                  <a:lnTo>
                    <a:pt x="277208" y="1585646"/>
                  </a:lnTo>
                  <a:lnTo>
                    <a:pt x="277208" y="1644855"/>
                  </a:lnTo>
                  <a:cubicBezTo>
                    <a:pt x="265097" y="1647098"/>
                    <a:pt x="255976" y="1657714"/>
                    <a:pt x="255976" y="1670423"/>
                  </a:cubicBezTo>
                  <a:cubicBezTo>
                    <a:pt x="255976" y="1684777"/>
                    <a:pt x="267638" y="1696439"/>
                    <a:pt x="281992" y="1696439"/>
                  </a:cubicBezTo>
                  <a:cubicBezTo>
                    <a:pt x="296346" y="1696439"/>
                    <a:pt x="308008" y="1684777"/>
                    <a:pt x="308008" y="1670423"/>
                  </a:cubicBezTo>
                  <a:cubicBezTo>
                    <a:pt x="308008" y="1656966"/>
                    <a:pt x="297692" y="1646051"/>
                    <a:pt x="284684" y="1644706"/>
                  </a:cubicBezTo>
                  <a:lnTo>
                    <a:pt x="284684" y="1582655"/>
                  </a:lnTo>
                  <a:lnTo>
                    <a:pt x="54873" y="1352845"/>
                  </a:lnTo>
                  <a:lnTo>
                    <a:pt x="54873" y="1270909"/>
                  </a:lnTo>
                  <a:lnTo>
                    <a:pt x="7476" y="1223511"/>
                  </a:lnTo>
                  <a:lnTo>
                    <a:pt x="7476" y="887842"/>
                  </a:lnTo>
                  <a:lnTo>
                    <a:pt x="50388" y="844930"/>
                  </a:lnTo>
                  <a:lnTo>
                    <a:pt x="50388" y="525110"/>
                  </a:lnTo>
                  <a:lnTo>
                    <a:pt x="20783" y="495505"/>
                  </a:lnTo>
                  <a:lnTo>
                    <a:pt x="20783" y="446911"/>
                  </a:lnTo>
                  <a:lnTo>
                    <a:pt x="59209" y="408485"/>
                  </a:lnTo>
                  <a:lnTo>
                    <a:pt x="91206" y="408485"/>
                  </a:lnTo>
                  <a:lnTo>
                    <a:pt x="266442" y="233249"/>
                  </a:lnTo>
                  <a:lnTo>
                    <a:pt x="266442" y="201850"/>
                  </a:lnTo>
                  <a:lnTo>
                    <a:pt x="321465" y="146827"/>
                  </a:lnTo>
                  <a:lnTo>
                    <a:pt x="321465" y="0"/>
                  </a:lnTo>
                  <a:lnTo>
                    <a:pt x="314139" y="0"/>
                  </a:lnTo>
                  <a:lnTo>
                    <a:pt x="314139" y="143538"/>
                  </a:lnTo>
                  <a:lnTo>
                    <a:pt x="259116" y="198561"/>
                  </a:lnTo>
                  <a:lnTo>
                    <a:pt x="259116" y="230109"/>
                  </a:lnTo>
                  <a:close/>
                  <a:moveTo>
                    <a:pt x="300383" y="1670273"/>
                  </a:moveTo>
                  <a:cubicBezTo>
                    <a:pt x="300383" y="1680590"/>
                    <a:pt x="292010" y="1688963"/>
                    <a:pt x="281693" y="1688963"/>
                  </a:cubicBezTo>
                  <a:cubicBezTo>
                    <a:pt x="271376" y="1688963"/>
                    <a:pt x="263003" y="1680590"/>
                    <a:pt x="263003" y="1670273"/>
                  </a:cubicBezTo>
                  <a:cubicBezTo>
                    <a:pt x="263003" y="1659956"/>
                    <a:pt x="271376" y="1651583"/>
                    <a:pt x="281693" y="1651583"/>
                  </a:cubicBezTo>
                  <a:cubicBezTo>
                    <a:pt x="292159" y="1651733"/>
                    <a:pt x="300383" y="1660106"/>
                    <a:pt x="300383" y="1670273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5049060" y="-3676530"/>
              <a:ext cx="568171" cy="2138117"/>
            </a:xfrm>
            <a:custGeom>
              <a:avLst/>
              <a:gdLst>
                <a:gd name="connsiteX0" fmla="*/ 566826 w 568171"/>
                <a:gd name="connsiteY0" fmla="*/ 429866 h 2138117"/>
                <a:gd name="connsiteX1" fmla="*/ 503579 w 568171"/>
                <a:gd name="connsiteY1" fmla="*/ 493113 h 2138117"/>
                <a:gd name="connsiteX2" fmla="*/ 503579 w 568171"/>
                <a:gd name="connsiteY2" fmla="*/ 618708 h 2138117"/>
                <a:gd name="connsiteX3" fmla="*/ 455584 w 568171"/>
                <a:gd name="connsiteY3" fmla="*/ 666704 h 2138117"/>
                <a:gd name="connsiteX4" fmla="*/ 455584 w 568171"/>
                <a:gd name="connsiteY4" fmla="*/ 1043939 h 2138117"/>
                <a:gd name="connsiteX5" fmla="*/ 421792 w 568171"/>
                <a:gd name="connsiteY5" fmla="*/ 1077731 h 2138117"/>
                <a:gd name="connsiteX6" fmla="*/ 421792 w 568171"/>
                <a:gd name="connsiteY6" fmla="*/ 1565012 h 2138117"/>
                <a:gd name="connsiteX7" fmla="*/ 452444 w 568171"/>
                <a:gd name="connsiteY7" fmla="*/ 1595663 h 2138117"/>
                <a:gd name="connsiteX8" fmla="*/ 452444 w 568171"/>
                <a:gd name="connsiteY8" fmla="*/ 1699878 h 2138117"/>
                <a:gd name="connsiteX9" fmla="*/ 351070 w 568171"/>
                <a:gd name="connsiteY9" fmla="*/ 1801252 h 2138117"/>
                <a:gd name="connsiteX10" fmla="*/ 351070 w 568171"/>
                <a:gd name="connsiteY10" fmla="*/ 1848499 h 2138117"/>
                <a:gd name="connsiteX11" fmla="*/ 258667 w 568171"/>
                <a:gd name="connsiteY11" fmla="*/ 1940902 h 2138117"/>
                <a:gd name="connsiteX12" fmla="*/ 258667 w 568171"/>
                <a:gd name="connsiteY12" fmla="*/ 2042276 h 2138117"/>
                <a:gd name="connsiteX13" fmla="*/ 229212 w 568171"/>
                <a:gd name="connsiteY13" fmla="*/ 2071731 h 2138117"/>
                <a:gd name="connsiteX14" fmla="*/ 68180 w 568171"/>
                <a:gd name="connsiteY14" fmla="*/ 2071731 h 2138117"/>
                <a:gd name="connsiteX15" fmla="*/ 41716 w 568171"/>
                <a:gd name="connsiteY15" fmla="*/ 2098196 h 2138117"/>
                <a:gd name="connsiteX16" fmla="*/ 26016 w 568171"/>
                <a:gd name="connsiteY16" fmla="*/ 2092813 h 2138117"/>
                <a:gd name="connsiteX17" fmla="*/ 0 w 568171"/>
                <a:gd name="connsiteY17" fmla="*/ 2118829 h 2138117"/>
                <a:gd name="connsiteX18" fmla="*/ 26016 w 568171"/>
                <a:gd name="connsiteY18" fmla="*/ 2144846 h 2138117"/>
                <a:gd name="connsiteX19" fmla="*/ 52032 w 568171"/>
                <a:gd name="connsiteY19" fmla="*/ 2118829 h 2138117"/>
                <a:gd name="connsiteX20" fmla="*/ 46949 w 568171"/>
                <a:gd name="connsiteY20" fmla="*/ 2103429 h 2138117"/>
                <a:gd name="connsiteX21" fmla="*/ 71320 w 568171"/>
                <a:gd name="connsiteY21" fmla="*/ 2079057 h 2138117"/>
                <a:gd name="connsiteX22" fmla="*/ 232352 w 568171"/>
                <a:gd name="connsiteY22" fmla="*/ 2079057 h 2138117"/>
                <a:gd name="connsiteX23" fmla="*/ 266143 w 568171"/>
                <a:gd name="connsiteY23" fmla="*/ 2045266 h 2138117"/>
                <a:gd name="connsiteX24" fmla="*/ 266143 w 568171"/>
                <a:gd name="connsiteY24" fmla="*/ 1943892 h 2138117"/>
                <a:gd name="connsiteX25" fmla="*/ 358546 w 568171"/>
                <a:gd name="connsiteY25" fmla="*/ 1851490 h 2138117"/>
                <a:gd name="connsiteX26" fmla="*/ 358546 w 568171"/>
                <a:gd name="connsiteY26" fmla="*/ 1804242 h 2138117"/>
                <a:gd name="connsiteX27" fmla="*/ 459919 w 568171"/>
                <a:gd name="connsiteY27" fmla="*/ 1702868 h 2138117"/>
                <a:gd name="connsiteX28" fmla="*/ 459919 w 568171"/>
                <a:gd name="connsiteY28" fmla="*/ 1592524 h 2138117"/>
                <a:gd name="connsiteX29" fmla="*/ 429268 w 568171"/>
                <a:gd name="connsiteY29" fmla="*/ 1561872 h 2138117"/>
                <a:gd name="connsiteX30" fmla="*/ 429268 w 568171"/>
                <a:gd name="connsiteY30" fmla="*/ 1080871 h 2138117"/>
                <a:gd name="connsiteX31" fmla="*/ 463059 w 568171"/>
                <a:gd name="connsiteY31" fmla="*/ 1047079 h 2138117"/>
                <a:gd name="connsiteX32" fmla="*/ 463059 w 568171"/>
                <a:gd name="connsiteY32" fmla="*/ 669844 h 2138117"/>
                <a:gd name="connsiteX33" fmla="*/ 511055 w 568171"/>
                <a:gd name="connsiteY33" fmla="*/ 621848 h 2138117"/>
                <a:gd name="connsiteX34" fmla="*/ 511055 w 568171"/>
                <a:gd name="connsiteY34" fmla="*/ 496253 h 2138117"/>
                <a:gd name="connsiteX35" fmla="*/ 574301 w 568171"/>
                <a:gd name="connsiteY35" fmla="*/ 433006 h 2138117"/>
                <a:gd name="connsiteX36" fmla="*/ 574301 w 568171"/>
                <a:gd name="connsiteY36" fmla="*/ 198262 h 2138117"/>
                <a:gd name="connsiteX37" fmla="*/ 431361 w 568171"/>
                <a:gd name="connsiteY37" fmla="*/ 55322 h 2138117"/>
                <a:gd name="connsiteX38" fmla="*/ 431361 w 568171"/>
                <a:gd name="connsiteY38" fmla="*/ 0 h 2138117"/>
                <a:gd name="connsiteX39" fmla="*/ 424035 w 568171"/>
                <a:gd name="connsiteY39" fmla="*/ 0 h 2138117"/>
                <a:gd name="connsiteX40" fmla="*/ 424035 w 568171"/>
                <a:gd name="connsiteY40" fmla="*/ 58462 h 2138117"/>
                <a:gd name="connsiteX41" fmla="*/ 566975 w 568171"/>
                <a:gd name="connsiteY41" fmla="*/ 201402 h 2138117"/>
                <a:gd name="connsiteX42" fmla="*/ 566975 w 568171"/>
                <a:gd name="connsiteY42" fmla="*/ 429866 h 2138117"/>
                <a:gd name="connsiteX43" fmla="*/ 25867 w 568171"/>
                <a:gd name="connsiteY43" fmla="*/ 2137669 h 2138117"/>
                <a:gd name="connsiteX44" fmla="*/ 7177 w 568171"/>
                <a:gd name="connsiteY44" fmla="*/ 2118979 h 2138117"/>
                <a:gd name="connsiteX45" fmla="*/ 25867 w 568171"/>
                <a:gd name="connsiteY45" fmla="*/ 2100289 h 2138117"/>
                <a:gd name="connsiteX46" fmla="*/ 44557 w 568171"/>
                <a:gd name="connsiteY46" fmla="*/ 2118979 h 2138117"/>
                <a:gd name="connsiteX47" fmla="*/ 25867 w 568171"/>
                <a:gd name="connsiteY47" fmla="*/ 2137669 h 21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68171" h="2138117">
                  <a:moveTo>
                    <a:pt x="566826" y="429866"/>
                  </a:moveTo>
                  <a:lnTo>
                    <a:pt x="503579" y="493113"/>
                  </a:lnTo>
                  <a:lnTo>
                    <a:pt x="503579" y="618708"/>
                  </a:lnTo>
                  <a:lnTo>
                    <a:pt x="455584" y="666704"/>
                  </a:lnTo>
                  <a:lnTo>
                    <a:pt x="455584" y="1043939"/>
                  </a:lnTo>
                  <a:lnTo>
                    <a:pt x="421792" y="1077731"/>
                  </a:lnTo>
                  <a:lnTo>
                    <a:pt x="421792" y="1565012"/>
                  </a:lnTo>
                  <a:lnTo>
                    <a:pt x="452444" y="1595663"/>
                  </a:lnTo>
                  <a:lnTo>
                    <a:pt x="452444" y="1699878"/>
                  </a:lnTo>
                  <a:lnTo>
                    <a:pt x="351070" y="1801252"/>
                  </a:lnTo>
                  <a:lnTo>
                    <a:pt x="351070" y="1848499"/>
                  </a:lnTo>
                  <a:lnTo>
                    <a:pt x="258667" y="1940902"/>
                  </a:lnTo>
                  <a:lnTo>
                    <a:pt x="258667" y="2042276"/>
                  </a:lnTo>
                  <a:lnTo>
                    <a:pt x="229212" y="2071731"/>
                  </a:lnTo>
                  <a:lnTo>
                    <a:pt x="68180" y="2071731"/>
                  </a:lnTo>
                  <a:lnTo>
                    <a:pt x="41716" y="2098196"/>
                  </a:lnTo>
                  <a:cubicBezTo>
                    <a:pt x="37380" y="2094906"/>
                    <a:pt x="31997" y="2092813"/>
                    <a:pt x="26016" y="2092813"/>
                  </a:cubicBezTo>
                  <a:cubicBezTo>
                    <a:pt x="11662" y="2092813"/>
                    <a:pt x="0" y="2104476"/>
                    <a:pt x="0" y="2118829"/>
                  </a:cubicBezTo>
                  <a:cubicBezTo>
                    <a:pt x="0" y="2133183"/>
                    <a:pt x="11662" y="2144846"/>
                    <a:pt x="26016" y="2144846"/>
                  </a:cubicBezTo>
                  <a:cubicBezTo>
                    <a:pt x="40370" y="2144846"/>
                    <a:pt x="52032" y="2133183"/>
                    <a:pt x="52032" y="2118829"/>
                  </a:cubicBezTo>
                  <a:cubicBezTo>
                    <a:pt x="52032" y="2112998"/>
                    <a:pt x="50089" y="2107765"/>
                    <a:pt x="46949" y="2103429"/>
                  </a:cubicBezTo>
                  <a:lnTo>
                    <a:pt x="71320" y="2079057"/>
                  </a:lnTo>
                  <a:lnTo>
                    <a:pt x="232352" y="2079057"/>
                  </a:lnTo>
                  <a:lnTo>
                    <a:pt x="266143" y="2045266"/>
                  </a:lnTo>
                  <a:lnTo>
                    <a:pt x="266143" y="1943892"/>
                  </a:lnTo>
                  <a:lnTo>
                    <a:pt x="358546" y="1851490"/>
                  </a:lnTo>
                  <a:lnTo>
                    <a:pt x="358546" y="1804242"/>
                  </a:lnTo>
                  <a:lnTo>
                    <a:pt x="459919" y="1702868"/>
                  </a:lnTo>
                  <a:lnTo>
                    <a:pt x="459919" y="1592524"/>
                  </a:lnTo>
                  <a:lnTo>
                    <a:pt x="429268" y="1561872"/>
                  </a:lnTo>
                  <a:lnTo>
                    <a:pt x="429268" y="1080871"/>
                  </a:lnTo>
                  <a:lnTo>
                    <a:pt x="463059" y="1047079"/>
                  </a:lnTo>
                  <a:lnTo>
                    <a:pt x="463059" y="669844"/>
                  </a:lnTo>
                  <a:lnTo>
                    <a:pt x="511055" y="621848"/>
                  </a:lnTo>
                  <a:lnTo>
                    <a:pt x="511055" y="496253"/>
                  </a:lnTo>
                  <a:lnTo>
                    <a:pt x="574301" y="433006"/>
                  </a:lnTo>
                  <a:lnTo>
                    <a:pt x="574301" y="198262"/>
                  </a:lnTo>
                  <a:lnTo>
                    <a:pt x="431361" y="55322"/>
                  </a:lnTo>
                  <a:lnTo>
                    <a:pt x="431361" y="0"/>
                  </a:lnTo>
                  <a:lnTo>
                    <a:pt x="424035" y="0"/>
                  </a:lnTo>
                  <a:lnTo>
                    <a:pt x="424035" y="58462"/>
                  </a:lnTo>
                  <a:lnTo>
                    <a:pt x="566975" y="201402"/>
                  </a:lnTo>
                  <a:lnTo>
                    <a:pt x="566975" y="429866"/>
                  </a:lnTo>
                  <a:close/>
                  <a:moveTo>
                    <a:pt x="25867" y="2137669"/>
                  </a:moveTo>
                  <a:cubicBezTo>
                    <a:pt x="15550" y="2137669"/>
                    <a:pt x="7177" y="2129296"/>
                    <a:pt x="7177" y="2118979"/>
                  </a:cubicBezTo>
                  <a:cubicBezTo>
                    <a:pt x="7177" y="2108662"/>
                    <a:pt x="15550" y="2100289"/>
                    <a:pt x="25867" y="2100289"/>
                  </a:cubicBezTo>
                  <a:cubicBezTo>
                    <a:pt x="36184" y="2100289"/>
                    <a:pt x="44557" y="2108662"/>
                    <a:pt x="44557" y="2118979"/>
                  </a:cubicBezTo>
                  <a:cubicBezTo>
                    <a:pt x="44557" y="2129296"/>
                    <a:pt x="36184" y="2137669"/>
                    <a:pt x="25867" y="2137669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5197682" y="-3676530"/>
              <a:ext cx="373797" cy="1988598"/>
            </a:xfrm>
            <a:custGeom>
              <a:avLst/>
              <a:gdLst>
                <a:gd name="connsiteX0" fmla="*/ 380077 w 373796"/>
                <a:gd name="connsiteY0" fmla="*/ 411774 h 1988598"/>
                <a:gd name="connsiteX1" fmla="*/ 314587 w 373796"/>
                <a:gd name="connsiteY1" fmla="*/ 477264 h 1988598"/>
                <a:gd name="connsiteX2" fmla="*/ 314587 w 373796"/>
                <a:gd name="connsiteY2" fmla="*/ 598972 h 1988598"/>
                <a:gd name="connsiteX3" fmla="*/ 276011 w 373796"/>
                <a:gd name="connsiteY3" fmla="*/ 637548 h 1988598"/>
                <a:gd name="connsiteX4" fmla="*/ 276011 w 373796"/>
                <a:gd name="connsiteY4" fmla="*/ 1006261 h 1988598"/>
                <a:gd name="connsiteX5" fmla="*/ 231604 w 373796"/>
                <a:gd name="connsiteY5" fmla="*/ 1050668 h 1988598"/>
                <a:gd name="connsiteX6" fmla="*/ 231604 w 373796"/>
                <a:gd name="connsiteY6" fmla="*/ 1592972 h 1988598"/>
                <a:gd name="connsiteX7" fmla="*/ 0 w 373796"/>
                <a:gd name="connsiteY7" fmla="*/ 1824577 h 1988598"/>
                <a:gd name="connsiteX8" fmla="*/ 0 w 373796"/>
                <a:gd name="connsiteY8" fmla="*/ 1879599 h 1988598"/>
                <a:gd name="connsiteX9" fmla="*/ 37529 w 373796"/>
                <a:gd name="connsiteY9" fmla="*/ 1917129 h 1988598"/>
                <a:gd name="connsiteX10" fmla="*/ 37529 w 373796"/>
                <a:gd name="connsiteY10" fmla="*/ 1946883 h 1988598"/>
                <a:gd name="connsiteX11" fmla="*/ 14204 w 373796"/>
                <a:gd name="connsiteY11" fmla="*/ 1972600 h 1988598"/>
                <a:gd name="connsiteX12" fmla="*/ 40221 w 373796"/>
                <a:gd name="connsiteY12" fmla="*/ 1998616 h 1988598"/>
                <a:gd name="connsiteX13" fmla="*/ 66237 w 373796"/>
                <a:gd name="connsiteY13" fmla="*/ 1972600 h 1988598"/>
                <a:gd name="connsiteX14" fmla="*/ 44856 w 373796"/>
                <a:gd name="connsiteY14" fmla="*/ 1947032 h 1988598"/>
                <a:gd name="connsiteX15" fmla="*/ 44856 w 373796"/>
                <a:gd name="connsiteY15" fmla="*/ 1913989 h 1988598"/>
                <a:gd name="connsiteX16" fmla="*/ 7326 w 373796"/>
                <a:gd name="connsiteY16" fmla="*/ 1876460 h 1988598"/>
                <a:gd name="connsiteX17" fmla="*/ 7326 w 373796"/>
                <a:gd name="connsiteY17" fmla="*/ 1827567 h 1988598"/>
                <a:gd name="connsiteX18" fmla="*/ 238931 w 373796"/>
                <a:gd name="connsiteY18" fmla="*/ 1595962 h 1988598"/>
                <a:gd name="connsiteX19" fmla="*/ 238931 w 373796"/>
                <a:gd name="connsiteY19" fmla="*/ 1053658 h 1988598"/>
                <a:gd name="connsiteX20" fmla="*/ 283338 w 373796"/>
                <a:gd name="connsiteY20" fmla="*/ 1009251 h 1988598"/>
                <a:gd name="connsiteX21" fmla="*/ 283338 w 373796"/>
                <a:gd name="connsiteY21" fmla="*/ 640688 h 1988598"/>
                <a:gd name="connsiteX22" fmla="*/ 321914 w 373796"/>
                <a:gd name="connsiteY22" fmla="*/ 602112 h 1988598"/>
                <a:gd name="connsiteX23" fmla="*/ 321914 w 373796"/>
                <a:gd name="connsiteY23" fmla="*/ 480404 h 1988598"/>
                <a:gd name="connsiteX24" fmla="*/ 387403 w 373796"/>
                <a:gd name="connsiteY24" fmla="*/ 414914 h 1988598"/>
                <a:gd name="connsiteX25" fmla="*/ 387403 w 373796"/>
                <a:gd name="connsiteY25" fmla="*/ 224876 h 1988598"/>
                <a:gd name="connsiteX26" fmla="*/ 194524 w 373796"/>
                <a:gd name="connsiteY26" fmla="*/ 31847 h 1988598"/>
                <a:gd name="connsiteX27" fmla="*/ 194524 w 373796"/>
                <a:gd name="connsiteY27" fmla="*/ 0 h 1988598"/>
                <a:gd name="connsiteX28" fmla="*/ 187197 w 373796"/>
                <a:gd name="connsiteY28" fmla="*/ 0 h 1988598"/>
                <a:gd name="connsiteX29" fmla="*/ 187197 w 373796"/>
                <a:gd name="connsiteY29" fmla="*/ 34987 h 1988598"/>
                <a:gd name="connsiteX30" fmla="*/ 380226 w 373796"/>
                <a:gd name="connsiteY30" fmla="*/ 228016 h 1988598"/>
                <a:gd name="connsiteX31" fmla="*/ 380226 w 373796"/>
                <a:gd name="connsiteY31" fmla="*/ 411774 h 1988598"/>
                <a:gd name="connsiteX32" fmla="*/ 58761 w 373796"/>
                <a:gd name="connsiteY32" fmla="*/ 1972750 h 1988598"/>
                <a:gd name="connsiteX33" fmla="*/ 40071 w 373796"/>
                <a:gd name="connsiteY33" fmla="*/ 1991439 h 1988598"/>
                <a:gd name="connsiteX34" fmla="*/ 21381 w 373796"/>
                <a:gd name="connsiteY34" fmla="*/ 1972750 h 1988598"/>
                <a:gd name="connsiteX35" fmla="*/ 40071 w 373796"/>
                <a:gd name="connsiteY35" fmla="*/ 1954060 h 1988598"/>
                <a:gd name="connsiteX36" fmla="*/ 58761 w 373796"/>
                <a:gd name="connsiteY36" fmla="*/ 1972750 h 198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73796" h="1988598">
                  <a:moveTo>
                    <a:pt x="380077" y="411774"/>
                  </a:moveTo>
                  <a:lnTo>
                    <a:pt x="314587" y="477264"/>
                  </a:lnTo>
                  <a:lnTo>
                    <a:pt x="314587" y="598972"/>
                  </a:lnTo>
                  <a:lnTo>
                    <a:pt x="276011" y="637548"/>
                  </a:lnTo>
                  <a:lnTo>
                    <a:pt x="276011" y="1006261"/>
                  </a:lnTo>
                  <a:lnTo>
                    <a:pt x="231604" y="1050668"/>
                  </a:lnTo>
                  <a:lnTo>
                    <a:pt x="231604" y="1592972"/>
                  </a:lnTo>
                  <a:lnTo>
                    <a:pt x="0" y="1824577"/>
                  </a:lnTo>
                  <a:lnTo>
                    <a:pt x="0" y="1879599"/>
                  </a:lnTo>
                  <a:lnTo>
                    <a:pt x="37529" y="1917129"/>
                  </a:lnTo>
                  <a:lnTo>
                    <a:pt x="37529" y="1946883"/>
                  </a:lnTo>
                  <a:cubicBezTo>
                    <a:pt x="24371" y="1948229"/>
                    <a:pt x="14204" y="1959143"/>
                    <a:pt x="14204" y="1972600"/>
                  </a:cubicBezTo>
                  <a:cubicBezTo>
                    <a:pt x="14204" y="1986954"/>
                    <a:pt x="25867" y="1998616"/>
                    <a:pt x="40221" y="1998616"/>
                  </a:cubicBezTo>
                  <a:cubicBezTo>
                    <a:pt x="54574" y="1998616"/>
                    <a:pt x="66237" y="1986954"/>
                    <a:pt x="66237" y="1972600"/>
                  </a:cubicBezTo>
                  <a:cubicBezTo>
                    <a:pt x="66237" y="1959891"/>
                    <a:pt x="57116" y="1949275"/>
                    <a:pt x="44856" y="1947032"/>
                  </a:cubicBezTo>
                  <a:lnTo>
                    <a:pt x="44856" y="1913989"/>
                  </a:lnTo>
                  <a:lnTo>
                    <a:pt x="7326" y="1876460"/>
                  </a:lnTo>
                  <a:lnTo>
                    <a:pt x="7326" y="1827567"/>
                  </a:lnTo>
                  <a:lnTo>
                    <a:pt x="238931" y="1595962"/>
                  </a:lnTo>
                  <a:lnTo>
                    <a:pt x="238931" y="1053658"/>
                  </a:lnTo>
                  <a:lnTo>
                    <a:pt x="283338" y="1009251"/>
                  </a:lnTo>
                  <a:lnTo>
                    <a:pt x="283338" y="640688"/>
                  </a:lnTo>
                  <a:lnTo>
                    <a:pt x="321914" y="602112"/>
                  </a:lnTo>
                  <a:lnTo>
                    <a:pt x="321914" y="480404"/>
                  </a:lnTo>
                  <a:lnTo>
                    <a:pt x="387403" y="414914"/>
                  </a:lnTo>
                  <a:lnTo>
                    <a:pt x="387403" y="224876"/>
                  </a:lnTo>
                  <a:lnTo>
                    <a:pt x="194524" y="31847"/>
                  </a:lnTo>
                  <a:lnTo>
                    <a:pt x="194524" y="0"/>
                  </a:lnTo>
                  <a:lnTo>
                    <a:pt x="187197" y="0"/>
                  </a:lnTo>
                  <a:lnTo>
                    <a:pt x="187197" y="34987"/>
                  </a:lnTo>
                  <a:lnTo>
                    <a:pt x="380226" y="228016"/>
                  </a:lnTo>
                  <a:lnTo>
                    <a:pt x="380226" y="411774"/>
                  </a:lnTo>
                  <a:close/>
                  <a:moveTo>
                    <a:pt x="58761" y="1972750"/>
                  </a:moveTo>
                  <a:cubicBezTo>
                    <a:pt x="58761" y="1983066"/>
                    <a:pt x="50388" y="1991439"/>
                    <a:pt x="40071" y="1991439"/>
                  </a:cubicBezTo>
                  <a:cubicBezTo>
                    <a:pt x="29754" y="1991439"/>
                    <a:pt x="21381" y="1983066"/>
                    <a:pt x="21381" y="1972750"/>
                  </a:cubicBezTo>
                  <a:cubicBezTo>
                    <a:pt x="21381" y="1962433"/>
                    <a:pt x="29754" y="1954060"/>
                    <a:pt x="40071" y="1954060"/>
                  </a:cubicBezTo>
                  <a:cubicBezTo>
                    <a:pt x="50388" y="1954060"/>
                    <a:pt x="58761" y="1962433"/>
                    <a:pt x="58761" y="1972750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4943500" y="-3676530"/>
              <a:ext cx="508364" cy="1928791"/>
            </a:xfrm>
            <a:custGeom>
              <a:avLst/>
              <a:gdLst>
                <a:gd name="connsiteX0" fmla="*/ 26166 w 508363"/>
                <a:gd name="connsiteY0" fmla="*/ 1932828 h 1928791"/>
                <a:gd name="connsiteX1" fmla="*/ 52182 w 508363"/>
                <a:gd name="connsiteY1" fmla="*/ 1906812 h 1928791"/>
                <a:gd name="connsiteX2" fmla="*/ 47846 w 508363"/>
                <a:gd name="connsiteY2" fmla="*/ 1892458 h 1928791"/>
                <a:gd name="connsiteX3" fmla="*/ 81488 w 508363"/>
                <a:gd name="connsiteY3" fmla="*/ 1858816 h 1928791"/>
                <a:gd name="connsiteX4" fmla="*/ 180021 w 508363"/>
                <a:gd name="connsiteY4" fmla="*/ 1858816 h 1928791"/>
                <a:gd name="connsiteX5" fmla="*/ 448257 w 508363"/>
                <a:gd name="connsiteY5" fmla="*/ 1590580 h 1928791"/>
                <a:gd name="connsiteX6" fmla="*/ 448257 w 508363"/>
                <a:gd name="connsiteY6" fmla="*/ 1459452 h 1928791"/>
                <a:gd name="connsiteX7" fmla="*/ 427923 w 508363"/>
                <a:gd name="connsiteY7" fmla="*/ 1439117 h 1928791"/>
                <a:gd name="connsiteX8" fmla="*/ 427923 w 508363"/>
                <a:gd name="connsiteY8" fmla="*/ 1128866 h 1928791"/>
                <a:gd name="connsiteX9" fmla="*/ 454686 w 508363"/>
                <a:gd name="connsiteY9" fmla="*/ 1102102 h 1928791"/>
                <a:gd name="connsiteX10" fmla="*/ 454686 w 508363"/>
                <a:gd name="connsiteY10" fmla="*/ 1031978 h 1928791"/>
                <a:gd name="connsiteX11" fmla="*/ 510008 w 508363"/>
                <a:gd name="connsiteY11" fmla="*/ 976656 h 1928791"/>
                <a:gd name="connsiteX12" fmla="*/ 510008 w 508363"/>
                <a:gd name="connsiteY12" fmla="*/ 586861 h 1928791"/>
                <a:gd name="connsiteX13" fmla="*/ 211718 w 508363"/>
                <a:gd name="connsiteY13" fmla="*/ 288571 h 1928791"/>
                <a:gd name="connsiteX14" fmla="*/ 211718 w 508363"/>
                <a:gd name="connsiteY14" fmla="*/ 0 h 1928791"/>
                <a:gd name="connsiteX15" fmla="*/ 204392 w 508363"/>
                <a:gd name="connsiteY15" fmla="*/ 0 h 1928791"/>
                <a:gd name="connsiteX16" fmla="*/ 204392 w 508363"/>
                <a:gd name="connsiteY16" fmla="*/ 291711 h 1928791"/>
                <a:gd name="connsiteX17" fmla="*/ 502533 w 508363"/>
                <a:gd name="connsiteY17" fmla="*/ 589851 h 1928791"/>
                <a:gd name="connsiteX18" fmla="*/ 502533 w 508363"/>
                <a:gd name="connsiteY18" fmla="*/ 973666 h 1928791"/>
                <a:gd name="connsiteX19" fmla="*/ 447210 w 508363"/>
                <a:gd name="connsiteY19" fmla="*/ 1028988 h 1928791"/>
                <a:gd name="connsiteX20" fmla="*/ 447210 w 508363"/>
                <a:gd name="connsiteY20" fmla="*/ 1099112 h 1928791"/>
                <a:gd name="connsiteX21" fmla="*/ 420447 w 508363"/>
                <a:gd name="connsiteY21" fmla="*/ 1125876 h 1928791"/>
                <a:gd name="connsiteX22" fmla="*/ 420447 w 508363"/>
                <a:gd name="connsiteY22" fmla="*/ 1442407 h 1928791"/>
                <a:gd name="connsiteX23" fmla="*/ 440781 w 508363"/>
                <a:gd name="connsiteY23" fmla="*/ 1462741 h 1928791"/>
                <a:gd name="connsiteX24" fmla="*/ 440781 w 508363"/>
                <a:gd name="connsiteY24" fmla="*/ 1587739 h 1928791"/>
                <a:gd name="connsiteX25" fmla="*/ 176881 w 508363"/>
                <a:gd name="connsiteY25" fmla="*/ 1851639 h 1928791"/>
                <a:gd name="connsiteX26" fmla="*/ 78348 w 508363"/>
                <a:gd name="connsiteY26" fmla="*/ 1851639 h 1928791"/>
                <a:gd name="connsiteX27" fmla="*/ 42762 w 508363"/>
                <a:gd name="connsiteY27" fmla="*/ 1887225 h 1928791"/>
                <a:gd name="connsiteX28" fmla="*/ 26016 w 508363"/>
                <a:gd name="connsiteY28" fmla="*/ 1880945 h 1928791"/>
                <a:gd name="connsiteX29" fmla="*/ 0 w 508363"/>
                <a:gd name="connsiteY29" fmla="*/ 1906961 h 1928791"/>
                <a:gd name="connsiteX30" fmla="*/ 26166 w 508363"/>
                <a:gd name="connsiteY30" fmla="*/ 1932828 h 1928791"/>
                <a:gd name="connsiteX31" fmla="*/ 26166 w 508363"/>
                <a:gd name="connsiteY31" fmla="*/ 1888272 h 1928791"/>
                <a:gd name="connsiteX32" fmla="*/ 44856 w 508363"/>
                <a:gd name="connsiteY32" fmla="*/ 1906961 h 1928791"/>
                <a:gd name="connsiteX33" fmla="*/ 26166 w 508363"/>
                <a:gd name="connsiteY33" fmla="*/ 1925651 h 1928791"/>
                <a:gd name="connsiteX34" fmla="*/ 7476 w 508363"/>
                <a:gd name="connsiteY34" fmla="*/ 1906961 h 1928791"/>
                <a:gd name="connsiteX35" fmla="*/ 26166 w 508363"/>
                <a:gd name="connsiteY35" fmla="*/ 1888272 h 192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08363" h="1928791">
                  <a:moveTo>
                    <a:pt x="26166" y="1932828"/>
                  </a:moveTo>
                  <a:cubicBezTo>
                    <a:pt x="40520" y="1932828"/>
                    <a:pt x="52182" y="1921166"/>
                    <a:pt x="52182" y="1906812"/>
                  </a:cubicBezTo>
                  <a:cubicBezTo>
                    <a:pt x="52182" y="1901579"/>
                    <a:pt x="50537" y="1896645"/>
                    <a:pt x="47846" y="1892458"/>
                  </a:cubicBezTo>
                  <a:lnTo>
                    <a:pt x="81488" y="1858816"/>
                  </a:lnTo>
                  <a:lnTo>
                    <a:pt x="180021" y="1858816"/>
                  </a:lnTo>
                  <a:lnTo>
                    <a:pt x="448257" y="1590580"/>
                  </a:lnTo>
                  <a:lnTo>
                    <a:pt x="448257" y="1459452"/>
                  </a:lnTo>
                  <a:lnTo>
                    <a:pt x="427923" y="1439117"/>
                  </a:lnTo>
                  <a:lnTo>
                    <a:pt x="427923" y="1128866"/>
                  </a:lnTo>
                  <a:lnTo>
                    <a:pt x="454686" y="1102102"/>
                  </a:lnTo>
                  <a:lnTo>
                    <a:pt x="454686" y="1031978"/>
                  </a:lnTo>
                  <a:lnTo>
                    <a:pt x="510008" y="976656"/>
                  </a:lnTo>
                  <a:lnTo>
                    <a:pt x="510008" y="586861"/>
                  </a:lnTo>
                  <a:lnTo>
                    <a:pt x="211718" y="288571"/>
                  </a:lnTo>
                  <a:lnTo>
                    <a:pt x="211718" y="0"/>
                  </a:lnTo>
                  <a:lnTo>
                    <a:pt x="204392" y="0"/>
                  </a:lnTo>
                  <a:lnTo>
                    <a:pt x="204392" y="291711"/>
                  </a:lnTo>
                  <a:lnTo>
                    <a:pt x="502533" y="589851"/>
                  </a:lnTo>
                  <a:lnTo>
                    <a:pt x="502533" y="973666"/>
                  </a:lnTo>
                  <a:lnTo>
                    <a:pt x="447210" y="1028988"/>
                  </a:lnTo>
                  <a:lnTo>
                    <a:pt x="447210" y="1099112"/>
                  </a:lnTo>
                  <a:lnTo>
                    <a:pt x="420447" y="1125876"/>
                  </a:lnTo>
                  <a:lnTo>
                    <a:pt x="420447" y="1442407"/>
                  </a:lnTo>
                  <a:lnTo>
                    <a:pt x="440781" y="1462741"/>
                  </a:lnTo>
                  <a:lnTo>
                    <a:pt x="440781" y="1587739"/>
                  </a:lnTo>
                  <a:lnTo>
                    <a:pt x="176881" y="1851639"/>
                  </a:lnTo>
                  <a:lnTo>
                    <a:pt x="78348" y="1851639"/>
                  </a:lnTo>
                  <a:lnTo>
                    <a:pt x="42762" y="1887225"/>
                  </a:lnTo>
                  <a:cubicBezTo>
                    <a:pt x="38277" y="1883337"/>
                    <a:pt x="32446" y="1880945"/>
                    <a:pt x="26016" y="1880945"/>
                  </a:cubicBezTo>
                  <a:cubicBezTo>
                    <a:pt x="11663" y="1880945"/>
                    <a:pt x="0" y="1892608"/>
                    <a:pt x="0" y="1906961"/>
                  </a:cubicBezTo>
                  <a:cubicBezTo>
                    <a:pt x="0" y="1921315"/>
                    <a:pt x="11812" y="1932828"/>
                    <a:pt x="26166" y="1932828"/>
                  </a:cubicBezTo>
                  <a:close/>
                  <a:moveTo>
                    <a:pt x="26166" y="1888272"/>
                  </a:moveTo>
                  <a:cubicBezTo>
                    <a:pt x="36483" y="1888272"/>
                    <a:pt x="44856" y="1896645"/>
                    <a:pt x="44856" y="1906961"/>
                  </a:cubicBezTo>
                  <a:cubicBezTo>
                    <a:pt x="44856" y="1917278"/>
                    <a:pt x="36483" y="1925651"/>
                    <a:pt x="26166" y="1925651"/>
                  </a:cubicBezTo>
                  <a:cubicBezTo>
                    <a:pt x="15849" y="1925651"/>
                    <a:pt x="7476" y="1917278"/>
                    <a:pt x="7476" y="1906961"/>
                  </a:cubicBezTo>
                  <a:cubicBezTo>
                    <a:pt x="7476" y="1896645"/>
                    <a:pt x="15849" y="1888272"/>
                    <a:pt x="26166" y="1888272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5086290" y="-3676530"/>
              <a:ext cx="313989" cy="1659657"/>
            </a:xfrm>
            <a:custGeom>
              <a:avLst/>
              <a:gdLst>
                <a:gd name="connsiteX0" fmla="*/ 26166 w 313989"/>
                <a:gd name="connsiteY0" fmla="*/ 1673712 h 1659657"/>
                <a:gd name="connsiteX1" fmla="*/ 52182 w 313989"/>
                <a:gd name="connsiteY1" fmla="*/ 1647696 h 1659657"/>
                <a:gd name="connsiteX2" fmla="*/ 29904 w 313989"/>
                <a:gd name="connsiteY2" fmla="*/ 1622128 h 1659657"/>
                <a:gd name="connsiteX3" fmla="*/ 29904 w 313989"/>
                <a:gd name="connsiteY3" fmla="*/ 1570694 h 1659657"/>
                <a:gd name="connsiteX4" fmla="*/ 227269 w 313989"/>
                <a:gd name="connsiteY4" fmla="*/ 1373180 h 1659657"/>
                <a:gd name="connsiteX5" fmla="*/ 227269 w 313989"/>
                <a:gd name="connsiteY5" fmla="*/ 1069956 h 1659657"/>
                <a:gd name="connsiteX6" fmla="*/ 276311 w 313989"/>
                <a:gd name="connsiteY6" fmla="*/ 1020914 h 1659657"/>
                <a:gd name="connsiteX7" fmla="*/ 276311 w 313989"/>
                <a:gd name="connsiteY7" fmla="*/ 980693 h 1659657"/>
                <a:gd name="connsiteX8" fmla="*/ 322363 w 313989"/>
                <a:gd name="connsiteY8" fmla="*/ 934641 h 1659657"/>
                <a:gd name="connsiteX9" fmla="*/ 322363 w 313989"/>
                <a:gd name="connsiteY9" fmla="*/ 606298 h 1659657"/>
                <a:gd name="connsiteX10" fmla="*/ 293356 w 313989"/>
                <a:gd name="connsiteY10" fmla="*/ 577292 h 1659657"/>
                <a:gd name="connsiteX11" fmla="*/ 250444 w 313989"/>
                <a:gd name="connsiteY11" fmla="*/ 577292 h 1659657"/>
                <a:gd name="connsiteX12" fmla="*/ 77451 w 313989"/>
                <a:gd name="connsiteY12" fmla="*/ 404299 h 1659657"/>
                <a:gd name="connsiteX13" fmla="*/ 77451 w 313989"/>
                <a:gd name="connsiteY13" fmla="*/ 356303 h 1659657"/>
                <a:gd name="connsiteX14" fmla="*/ 41716 w 313989"/>
                <a:gd name="connsiteY14" fmla="*/ 320568 h 1659657"/>
                <a:gd name="connsiteX15" fmla="*/ 41716 w 313989"/>
                <a:gd name="connsiteY15" fmla="*/ 0 h 1659657"/>
                <a:gd name="connsiteX16" fmla="*/ 34389 w 313989"/>
                <a:gd name="connsiteY16" fmla="*/ 0 h 1659657"/>
                <a:gd name="connsiteX17" fmla="*/ 34389 w 313989"/>
                <a:gd name="connsiteY17" fmla="*/ 323708 h 1659657"/>
                <a:gd name="connsiteX18" fmla="*/ 70124 w 313989"/>
                <a:gd name="connsiteY18" fmla="*/ 359443 h 1659657"/>
                <a:gd name="connsiteX19" fmla="*/ 70124 w 313989"/>
                <a:gd name="connsiteY19" fmla="*/ 407438 h 1659657"/>
                <a:gd name="connsiteX20" fmla="*/ 247304 w 313989"/>
                <a:gd name="connsiteY20" fmla="*/ 584618 h 1659657"/>
                <a:gd name="connsiteX21" fmla="*/ 290216 w 313989"/>
                <a:gd name="connsiteY21" fmla="*/ 584618 h 1659657"/>
                <a:gd name="connsiteX22" fmla="*/ 314887 w 313989"/>
                <a:gd name="connsiteY22" fmla="*/ 609289 h 1659657"/>
                <a:gd name="connsiteX23" fmla="*/ 314887 w 313989"/>
                <a:gd name="connsiteY23" fmla="*/ 931501 h 1659657"/>
                <a:gd name="connsiteX24" fmla="*/ 268835 w 313989"/>
                <a:gd name="connsiteY24" fmla="*/ 977553 h 1659657"/>
                <a:gd name="connsiteX25" fmla="*/ 268835 w 313989"/>
                <a:gd name="connsiteY25" fmla="*/ 1017774 h 1659657"/>
                <a:gd name="connsiteX26" fmla="*/ 219793 w 313989"/>
                <a:gd name="connsiteY26" fmla="*/ 1066816 h 1659657"/>
                <a:gd name="connsiteX27" fmla="*/ 219793 w 313989"/>
                <a:gd name="connsiteY27" fmla="*/ 1370040 h 1659657"/>
                <a:gd name="connsiteX28" fmla="*/ 22278 w 313989"/>
                <a:gd name="connsiteY28" fmla="*/ 1567554 h 1659657"/>
                <a:gd name="connsiteX29" fmla="*/ 22278 w 313989"/>
                <a:gd name="connsiteY29" fmla="*/ 1622128 h 1659657"/>
                <a:gd name="connsiteX30" fmla="*/ 0 w 313989"/>
                <a:gd name="connsiteY30" fmla="*/ 1647696 h 1659657"/>
                <a:gd name="connsiteX31" fmla="*/ 26166 w 313989"/>
                <a:gd name="connsiteY31" fmla="*/ 1673712 h 1659657"/>
                <a:gd name="connsiteX32" fmla="*/ 26166 w 313989"/>
                <a:gd name="connsiteY32" fmla="*/ 1629006 h 1659657"/>
                <a:gd name="connsiteX33" fmla="*/ 44856 w 313989"/>
                <a:gd name="connsiteY33" fmla="*/ 1647696 h 1659657"/>
                <a:gd name="connsiteX34" fmla="*/ 26166 w 313989"/>
                <a:gd name="connsiteY34" fmla="*/ 1666386 h 1659657"/>
                <a:gd name="connsiteX35" fmla="*/ 7476 w 313989"/>
                <a:gd name="connsiteY35" fmla="*/ 1647696 h 1659657"/>
                <a:gd name="connsiteX36" fmla="*/ 26166 w 313989"/>
                <a:gd name="connsiteY36" fmla="*/ 1629006 h 1659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13989" h="1659657">
                  <a:moveTo>
                    <a:pt x="26166" y="1673712"/>
                  </a:moveTo>
                  <a:cubicBezTo>
                    <a:pt x="40520" y="1673712"/>
                    <a:pt x="52182" y="1662050"/>
                    <a:pt x="52182" y="1647696"/>
                  </a:cubicBezTo>
                  <a:cubicBezTo>
                    <a:pt x="52182" y="1634538"/>
                    <a:pt x="42463" y="1623922"/>
                    <a:pt x="29904" y="1622128"/>
                  </a:cubicBezTo>
                  <a:lnTo>
                    <a:pt x="29904" y="1570694"/>
                  </a:lnTo>
                  <a:lnTo>
                    <a:pt x="227269" y="1373180"/>
                  </a:lnTo>
                  <a:lnTo>
                    <a:pt x="227269" y="1069956"/>
                  </a:lnTo>
                  <a:lnTo>
                    <a:pt x="276311" y="1020914"/>
                  </a:lnTo>
                  <a:lnTo>
                    <a:pt x="276311" y="980693"/>
                  </a:lnTo>
                  <a:lnTo>
                    <a:pt x="322363" y="934641"/>
                  </a:lnTo>
                  <a:lnTo>
                    <a:pt x="322363" y="606298"/>
                  </a:lnTo>
                  <a:lnTo>
                    <a:pt x="293356" y="577292"/>
                  </a:lnTo>
                  <a:lnTo>
                    <a:pt x="250444" y="577292"/>
                  </a:lnTo>
                  <a:lnTo>
                    <a:pt x="77451" y="404299"/>
                  </a:lnTo>
                  <a:lnTo>
                    <a:pt x="77451" y="356303"/>
                  </a:lnTo>
                  <a:lnTo>
                    <a:pt x="41716" y="320568"/>
                  </a:lnTo>
                  <a:lnTo>
                    <a:pt x="41716" y="0"/>
                  </a:lnTo>
                  <a:lnTo>
                    <a:pt x="34389" y="0"/>
                  </a:lnTo>
                  <a:lnTo>
                    <a:pt x="34389" y="323708"/>
                  </a:lnTo>
                  <a:lnTo>
                    <a:pt x="70124" y="359443"/>
                  </a:lnTo>
                  <a:lnTo>
                    <a:pt x="70124" y="407438"/>
                  </a:lnTo>
                  <a:lnTo>
                    <a:pt x="247304" y="584618"/>
                  </a:lnTo>
                  <a:lnTo>
                    <a:pt x="290216" y="584618"/>
                  </a:lnTo>
                  <a:lnTo>
                    <a:pt x="314887" y="609289"/>
                  </a:lnTo>
                  <a:lnTo>
                    <a:pt x="314887" y="931501"/>
                  </a:lnTo>
                  <a:lnTo>
                    <a:pt x="268835" y="977553"/>
                  </a:lnTo>
                  <a:lnTo>
                    <a:pt x="268835" y="1017774"/>
                  </a:lnTo>
                  <a:lnTo>
                    <a:pt x="219793" y="1066816"/>
                  </a:lnTo>
                  <a:lnTo>
                    <a:pt x="219793" y="1370040"/>
                  </a:lnTo>
                  <a:lnTo>
                    <a:pt x="22278" y="1567554"/>
                  </a:lnTo>
                  <a:lnTo>
                    <a:pt x="22278" y="1622128"/>
                  </a:lnTo>
                  <a:cubicBezTo>
                    <a:pt x="9719" y="1623922"/>
                    <a:pt x="0" y="1634688"/>
                    <a:pt x="0" y="1647696"/>
                  </a:cubicBezTo>
                  <a:cubicBezTo>
                    <a:pt x="150" y="1662050"/>
                    <a:pt x="11812" y="1673712"/>
                    <a:pt x="26166" y="1673712"/>
                  </a:cubicBezTo>
                  <a:close/>
                  <a:moveTo>
                    <a:pt x="26166" y="1629006"/>
                  </a:moveTo>
                  <a:cubicBezTo>
                    <a:pt x="36483" y="1629006"/>
                    <a:pt x="44856" y="1637379"/>
                    <a:pt x="44856" y="1647696"/>
                  </a:cubicBezTo>
                  <a:cubicBezTo>
                    <a:pt x="44856" y="1658013"/>
                    <a:pt x="36483" y="1666386"/>
                    <a:pt x="26166" y="1666386"/>
                  </a:cubicBezTo>
                  <a:cubicBezTo>
                    <a:pt x="15849" y="1666386"/>
                    <a:pt x="7476" y="1658013"/>
                    <a:pt x="7476" y="1647696"/>
                  </a:cubicBezTo>
                  <a:cubicBezTo>
                    <a:pt x="7626" y="1637379"/>
                    <a:pt x="15999" y="1629006"/>
                    <a:pt x="26166" y="162900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5178693" y="-3676530"/>
              <a:ext cx="299037" cy="538267"/>
            </a:xfrm>
            <a:custGeom>
              <a:avLst/>
              <a:gdLst>
                <a:gd name="connsiteX0" fmla="*/ 189739 w 299037"/>
                <a:gd name="connsiteY0" fmla="*/ 432857 h 538267"/>
                <a:gd name="connsiteX1" fmla="*/ 261359 w 299037"/>
                <a:gd name="connsiteY1" fmla="*/ 504476 h 538267"/>
                <a:gd name="connsiteX2" fmla="*/ 254032 w 299037"/>
                <a:gd name="connsiteY2" fmla="*/ 522568 h 538267"/>
                <a:gd name="connsiteX3" fmla="*/ 280048 w 299037"/>
                <a:gd name="connsiteY3" fmla="*/ 548584 h 538267"/>
                <a:gd name="connsiteX4" fmla="*/ 306065 w 299037"/>
                <a:gd name="connsiteY4" fmla="*/ 522568 h 538267"/>
                <a:gd name="connsiteX5" fmla="*/ 280048 w 299037"/>
                <a:gd name="connsiteY5" fmla="*/ 496552 h 538267"/>
                <a:gd name="connsiteX6" fmla="*/ 267340 w 299037"/>
                <a:gd name="connsiteY6" fmla="*/ 499990 h 538267"/>
                <a:gd name="connsiteX7" fmla="*/ 192879 w 299037"/>
                <a:gd name="connsiteY7" fmla="*/ 425530 h 538267"/>
                <a:gd name="connsiteX8" fmla="*/ 167162 w 299037"/>
                <a:gd name="connsiteY8" fmla="*/ 425530 h 538267"/>
                <a:gd name="connsiteX9" fmla="*/ 7326 w 299037"/>
                <a:gd name="connsiteY9" fmla="*/ 265695 h 538267"/>
                <a:gd name="connsiteX10" fmla="*/ 7326 w 299037"/>
                <a:gd name="connsiteY10" fmla="*/ 82534 h 538267"/>
                <a:gd name="connsiteX11" fmla="*/ 39622 w 299037"/>
                <a:gd name="connsiteY11" fmla="*/ 50238 h 538267"/>
                <a:gd name="connsiteX12" fmla="*/ 39622 w 299037"/>
                <a:gd name="connsiteY12" fmla="*/ 0 h 538267"/>
                <a:gd name="connsiteX13" fmla="*/ 32296 w 299037"/>
                <a:gd name="connsiteY13" fmla="*/ 0 h 538267"/>
                <a:gd name="connsiteX14" fmla="*/ 32296 w 299037"/>
                <a:gd name="connsiteY14" fmla="*/ 47248 h 538267"/>
                <a:gd name="connsiteX15" fmla="*/ 0 w 299037"/>
                <a:gd name="connsiteY15" fmla="*/ 79544 h 538267"/>
                <a:gd name="connsiteX16" fmla="*/ 0 w 299037"/>
                <a:gd name="connsiteY16" fmla="*/ 268685 h 538267"/>
                <a:gd name="connsiteX17" fmla="*/ 164171 w 299037"/>
                <a:gd name="connsiteY17" fmla="*/ 432857 h 538267"/>
                <a:gd name="connsiteX18" fmla="*/ 189739 w 299037"/>
                <a:gd name="connsiteY18" fmla="*/ 432857 h 538267"/>
                <a:gd name="connsiteX19" fmla="*/ 279899 w 299037"/>
                <a:gd name="connsiteY19" fmla="*/ 503878 h 538267"/>
                <a:gd name="connsiteX20" fmla="*/ 298589 w 299037"/>
                <a:gd name="connsiteY20" fmla="*/ 522568 h 538267"/>
                <a:gd name="connsiteX21" fmla="*/ 279899 w 299037"/>
                <a:gd name="connsiteY21" fmla="*/ 541258 h 538267"/>
                <a:gd name="connsiteX22" fmla="*/ 261209 w 299037"/>
                <a:gd name="connsiteY22" fmla="*/ 522568 h 538267"/>
                <a:gd name="connsiteX23" fmla="*/ 279899 w 299037"/>
                <a:gd name="connsiteY23" fmla="*/ 503878 h 53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9037" h="538267">
                  <a:moveTo>
                    <a:pt x="189739" y="432857"/>
                  </a:moveTo>
                  <a:lnTo>
                    <a:pt x="261359" y="504476"/>
                  </a:lnTo>
                  <a:cubicBezTo>
                    <a:pt x="256873" y="509111"/>
                    <a:pt x="254032" y="515540"/>
                    <a:pt x="254032" y="522568"/>
                  </a:cubicBezTo>
                  <a:cubicBezTo>
                    <a:pt x="254032" y="536922"/>
                    <a:pt x="265695" y="548584"/>
                    <a:pt x="280048" y="548584"/>
                  </a:cubicBezTo>
                  <a:cubicBezTo>
                    <a:pt x="294402" y="548584"/>
                    <a:pt x="306065" y="536922"/>
                    <a:pt x="306065" y="522568"/>
                  </a:cubicBezTo>
                  <a:cubicBezTo>
                    <a:pt x="306065" y="508214"/>
                    <a:pt x="294402" y="496552"/>
                    <a:pt x="280048" y="496552"/>
                  </a:cubicBezTo>
                  <a:cubicBezTo>
                    <a:pt x="275413" y="496552"/>
                    <a:pt x="271078" y="497897"/>
                    <a:pt x="267340" y="499990"/>
                  </a:cubicBezTo>
                  <a:lnTo>
                    <a:pt x="192879" y="425530"/>
                  </a:lnTo>
                  <a:lnTo>
                    <a:pt x="167162" y="425530"/>
                  </a:lnTo>
                  <a:lnTo>
                    <a:pt x="7326" y="265695"/>
                  </a:lnTo>
                  <a:lnTo>
                    <a:pt x="7326" y="82534"/>
                  </a:lnTo>
                  <a:lnTo>
                    <a:pt x="39622" y="50238"/>
                  </a:lnTo>
                  <a:lnTo>
                    <a:pt x="39622" y="0"/>
                  </a:lnTo>
                  <a:lnTo>
                    <a:pt x="32296" y="0"/>
                  </a:lnTo>
                  <a:lnTo>
                    <a:pt x="32296" y="47248"/>
                  </a:lnTo>
                  <a:lnTo>
                    <a:pt x="0" y="79544"/>
                  </a:lnTo>
                  <a:lnTo>
                    <a:pt x="0" y="268685"/>
                  </a:lnTo>
                  <a:lnTo>
                    <a:pt x="164171" y="432857"/>
                  </a:lnTo>
                  <a:lnTo>
                    <a:pt x="189739" y="432857"/>
                  </a:lnTo>
                  <a:close/>
                  <a:moveTo>
                    <a:pt x="279899" y="503878"/>
                  </a:moveTo>
                  <a:cubicBezTo>
                    <a:pt x="290216" y="503878"/>
                    <a:pt x="298589" y="512251"/>
                    <a:pt x="298589" y="522568"/>
                  </a:cubicBezTo>
                  <a:cubicBezTo>
                    <a:pt x="298589" y="532885"/>
                    <a:pt x="290216" y="541258"/>
                    <a:pt x="279899" y="541258"/>
                  </a:cubicBezTo>
                  <a:cubicBezTo>
                    <a:pt x="269582" y="541258"/>
                    <a:pt x="261209" y="532885"/>
                    <a:pt x="261209" y="522568"/>
                  </a:cubicBezTo>
                  <a:cubicBezTo>
                    <a:pt x="261209" y="512251"/>
                    <a:pt x="269732" y="503878"/>
                    <a:pt x="279899" y="503878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5873207" y="-1275110"/>
              <a:ext cx="762545" cy="2586673"/>
            </a:xfrm>
            <a:custGeom>
              <a:avLst/>
              <a:gdLst>
                <a:gd name="connsiteX0" fmla="*/ 749238 w 762545"/>
                <a:gd name="connsiteY0" fmla="*/ 0 h 2586673"/>
                <a:gd name="connsiteX1" fmla="*/ 723222 w 762545"/>
                <a:gd name="connsiteY1" fmla="*/ 26016 h 2586673"/>
                <a:gd name="connsiteX2" fmla="*/ 728156 w 762545"/>
                <a:gd name="connsiteY2" fmla="*/ 41267 h 2586673"/>
                <a:gd name="connsiteX3" fmla="*/ 684497 w 762545"/>
                <a:gd name="connsiteY3" fmla="*/ 84927 h 2586673"/>
                <a:gd name="connsiteX4" fmla="*/ 533931 w 762545"/>
                <a:gd name="connsiteY4" fmla="*/ 84927 h 2586673"/>
                <a:gd name="connsiteX5" fmla="*/ 290066 w 762545"/>
                <a:gd name="connsiteY5" fmla="*/ 328792 h 2586673"/>
                <a:gd name="connsiteX6" fmla="*/ 290066 w 762545"/>
                <a:gd name="connsiteY6" fmla="*/ 552172 h 2586673"/>
                <a:gd name="connsiteX7" fmla="*/ 198112 w 762545"/>
                <a:gd name="connsiteY7" fmla="*/ 644127 h 2586673"/>
                <a:gd name="connsiteX8" fmla="*/ 198112 w 762545"/>
                <a:gd name="connsiteY8" fmla="*/ 706775 h 2586673"/>
                <a:gd name="connsiteX9" fmla="*/ 90907 w 762545"/>
                <a:gd name="connsiteY9" fmla="*/ 813980 h 2586673"/>
                <a:gd name="connsiteX10" fmla="*/ 33791 w 762545"/>
                <a:gd name="connsiteY10" fmla="*/ 813980 h 2586673"/>
                <a:gd name="connsiteX11" fmla="*/ 4037 w 762545"/>
                <a:gd name="connsiteY11" fmla="*/ 843734 h 2586673"/>
                <a:gd name="connsiteX12" fmla="*/ 4037 w 762545"/>
                <a:gd name="connsiteY12" fmla="*/ 1503560 h 2586673"/>
                <a:gd name="connsiteX13" fmla="*/ 49341 w 762545"/>
                <a:gd name="connsiteY13" fmla="*/ 1548864 h 2586673"/>
                <a:gd name="connsiteX14" fmla="*/ 49341 w 762545"/>
                <a:gd name="connsiteY14" fmla="*/ 2040930 h 2586673"/>
                <a:gd name="connsiteX15" fmla="*/ 0 w 762545"/>
                <a:gd name="connsiteY15" fmla="*/ 2090122 h 2586673"/>
                <a:gd name="connsiteX16" fmla="*/ 0 w 762545"/>
                <a:gd name="connsiteY16" fmla="*/ 2591159 h 2586673"/>
                <a:gd name="connsiteX17" fmla="*/ 7326 w 762545"/>
                <a:gd name="connsiteY17" fmla="*/ 2591159 h 2586673"/>
                <a:gd name="connsiteX18" fmla="*/ 7326 w 762545"/>
                <a:gd name="connsiteY18" fmla="*/ 2093112 h 2586673"/>
                <a:gd name="connsiteX19" fmla="*/ 56518 w 762545"/>
                <a:gd name="connsiteY19" fmla="*/ 2043920 h 2586673"/>
                <a:gd name="connsiteX20" fmla="*/ 56518 w 762545"/>
                <a:gd name="connsiteY20" fmla="*/ 1545724 h 2586673"/>
                <a:gd name="connsiteX21" fmla="*/ 11214 w 762545"/>
                <a:gd name="connsiteY21" fmla="*/ 1500420 h 2586673"/>
                <a:gd name="connsiteX22" fmla="*/ 11214 w 762545"/>
                <a:gd name="connsiteY22" fmla="*/ 846724 h 2586673"/>
                <a:gd name="connsiteX23" fmla="*/ 36632 w 762545"/>
                <a:gd name="connsiteY23" fmla="*/ 821306 h 2586673"/>
                <a:gd name="connsiteX24" fmla="*/ 93748 w 762545"/>
                <a:gd name="connsiteY24" fmla="*/ 821306 h 2586673"/>
                <a:gd name="connsiteX25" fmla="*/ 205289 w 762545"/>
                <a:gd name="connsiteY25" fmla="*/ 709765 h 2586673"/>
                <a:gd name="connsiteX26" fmla="*/ 205289 w 762545"/>
                <a:gd name="connsiteY26" fmla="*/ 647117 h 2586673"/>
                <a:gd name="connsiteX27" fmla="*/ 297243 w 762545"/>
                <a:gd name="connsiteY27" fmla="*/ 555163 h 2586673"/>
                <a:gd name="connsiteX28" fmla="*/ 297243 w 762545"/>
                <a:gd name="connsiteY28" fmla="*/ 331782 h 2586673"/>
                <a:gd name="connsiteX29" fmla="*/ 536772 w 762545"/>
                <a:gd name="connsiteY29" fmla="*/ 92253 h 2586673"/>
                <a:gd name="connsiteX30" fmla="*/ 687338 w 762545"/>
                <a:gd name="connsiteY30" fmla="*/ 92253 h 2586673"/>
                <a:gd name="connsiteX31" fmla="*/ 733090 w 762545"/>
                <a:gd name="connsiteY31" fmla="*/ 46500 h 2586673"/>
                <a:gd name="connsiteX32" fmla="*/ 748939 w 762545"/>
                <a:gd name="connsiteY32" fmla="*/ 52032 h 2586673"/>
                <a:gd name="connsiteX33" fmla="*/ 774956 w 762545"/>
                <a:gd name="connsiteY33" fmla="*/ 26016 h 2586673"/>
                <a:gd name="connsiteX34" fmla="*/ 749238 w 762545"/>
                <a:gd name="connsiteY34" fmla="*/ 0 h 2586673"/>
                <a:gd name="connsiteX35" fmla="*/ 749238 w 762545"/>
                <a:gd name="connsiteY35" fmla="*/ 44557 h 2586673"/>
                <a:gd name="connsiteX36" fmla="*/ 730548 w 762545"/>
                <a:gd name="connsiteY36" fmla="*/ 25867 h 2586673"/>
                <a:gd name="connsiteX37" fmla="*/ 749238 w 762545"/>
                <a:gd name="connsiteY37" fmla="*/ 7177 h 2586673"/>
                <a:gd name="connsiteX38" fmla="*/ 767928 w 762545"/>
                <a:gd name="connsiteY38" fmla="*/ 25867 h 2586673"/>
                <a:gd name="connsiteX39" fmla="*/ 749238 w 762545"/>
                <a:gd name="connsiteY39" fmla="*/ 44557 h 258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62545" h="2586673">
                  <a:moveTo>
                    <a:pt x="749238" y="0"/>
                  </a:moveTo>
                  <a:cubicBezTo>
                    <a:pt x="734885" y="0"/>
                    <a:pt x="723222" y="11662"/>
                    <a:pt x="723222" y="26016"/>
                  </a:cubicBezTo>
                  <a:cubicBezTo>
                    <a:pt x="723222" y="31698"/>
                    <a:pt x="725166" y="36931"/>
                    <a:pt x="728156" y="41267"/>
                  </a:cubicBezTo>
                  <a:lnTo>
                    <a:pt x="684497" y="84927"/>
                  </a:lnTo>
                  <a:lnTo>
                    <a:pt x="533931" y="84927"/>
                  </a:lnTo>
                  <a:lnTo>
                    <a:pt x="290066" y="328792"/>
                  </a:lnTo>
                  <a:lnTo>
                    <a:pt x="290066" y="552172"/>
                  </a:lnTo>
                  <a:lnTo>
                    <a:pt x="198112" y="644127"/>
                  </a:lnTo>
                  <a:lnTo>
                    <a:pt x="198112" y="706775"/>
                  </a:lnTo>
                  <a:lnTo>
                    <a:pt x="90907" y="813980"/>
                  </a:lnTo>
                  <a:lnTo>
                    <a:pt x="33791" y="813980"/>
                  </a:lnTo>
                  <a:lnTo>
                    <a:pt x="4037" y="843734"/>
                  </a:lnTo>
                  <a:lnTo>
                    <a:pt x="4037" y="1503560"/>
                  </a:lnTo>
                  <a:lnTo>
                    <a:pt x="49341" y="1548864"/>
                  </a:lnTo>
                  <a:lnTo>
                    <a:pt x="49341" y="2040930"/>
                  </a:lnTo>
                  <a:lnTo>
                    <a:pt x="0" y="2090122"/>
                  </a:lnTo>
                  <a:lnTo>
                    <a:pt x="0" y="2591159"/>
                  </a:lnTo>
                  <a:lnTo>
                    <a:pt x="7326" y="2591159"/>
                  </a:lnTo>
                  <a:lnTo>
                    <a:pt x="7326" y="2093112"/>
                  </a:lnTo>
                  <a:lnTo>
                    <a:pt x="56518" y="2043920"/>
                  </a:lnTo>
                  <a:lnTo>
                    <a:pt x="56518" y="1545724"/>
                  </a:lnTo>
                  <a:lnTo>
                    <a:pt x="11214" y="1500420"/>
                  </a:lnTo>
                  <a:lnTo>
                    <a:pt x="11214" y="846724"/>
                  </a:lnTo>
                  <a:lnTo>
                    <a:pt x="36632" y="821306"/>
                  </a:lnTo>
                  <a:lnTo>
                    <a:pt x="93748" y="821306"/>
                  </a:lnTo>
                  <a:lnTo>
                    <a:pt x="205289" y="709765"/>
                  </a:lnTo>
                  <a:lnTo>
                    <a:pt x="205289" y="647117"/>
                  </a:lnTo>
                  <a:lnTo>
                    <a:pt x="297243" y="555163"/>
                  </a:lnTo>
                  <a:lnTo>
                    <a:pt x="297243" y="331782"/>
                  </a:lnTo>
                  <a:lnTo>
                    <a:pt x="536772" y="92253"/>
                  </a:lnTo>
                  <a:lnTo>
                    <a:pt x="687338" y="92253"/>
                  </a:lnTo>
                  <a:lnTo>
                    <a:pt x="733090" y="46500"/>
                  </a:lnTo>
                  <a:cubicBezTo>
                    <a:pt x="737426" y="49939"/>
                    <a:pt x="742959" y="52032"/>
                    <a:pt x="748939" y="52032"/>
                  </a:cubicBezTo>
                  <a:cubicBezTo>
                    <a:pt x="763293" y="52032"/>
                    <a:pt x="774956" y="40370"/>
                    <a:pt x="774956" y="26016"/>
                  </a:cubicBezTo>
                  <a:cubicBezTo>
                    <a:pt x="775255" y="11662"/>
                    <a:pt x="763592" y="0"/>
                    <a:pt x="749238" y="0"/>
                  </a:cubicBezTo>
                  <a:close/>
                  <a:moveTo>
                    <a:pt x="749238" y="44557"/>
                  </a:moveTo>
                  <a:cubicBezTo>
                    <a:pt x="738921" y="44557"/>
                    <a:pt x="730548" y="36183"/>
                    <a:pt x="730548" y="25867"/>
                  </a:cubicBezTo>
                  <a:cubicBezTo>
                    <a:pt x="730548" y="15550"/>
                    <a:pt x="738921" y="7177"/>
                    <a:pt x="749238" y="7177"/>
                  </a:cubicBezTo>
                  <a:cubicBezTo>
                    <a:pt x="759555" y="7177"/>
                    <a:pt x="767928" y="15550"/>
                    <a:pt x="767928" y="25867"/>
                  </a:cubicBezTo>
                  <a:cubicBezTo>
                    <a:pt x="767928" y="36183"/>
                    <a:pt x="759555" y="44557"/>
                    <a:pt x="749238" y="4455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5902214" y="-1085521"/>
              <a:ext cx="732642" cy="2392299"/>
            </a:xfrm>
            <a:custGeom>
              <a:avLst/>
              <a:gdLst>
                <a:gd name="connsiteX0" fmla="*/ 714550 w 732641"/>
                <a:gd name="connsiteY0" fmla="*/ 165069 h 2392298"/>
                <a:gd name="connsiteX1" fmla="*/ 714550 w 732641"/>
                <a:gd name="connsiteY1" fmla="*/ 119615 h 2392298"/>
                <a:gd name="connsiteX2" fmla="*/ 595085 w 732641"/>
                <a:gd name="connsiteY2" fmla="*/ 0 h 2392298"/>
                <a:gd name="connsiteX3" fmla="*/ 464555 w 732641"/>
                <a:gd name="connsiteY3" fmla="*/ 0 h 2392298"/>
                <a:gd name="connsiteX4" fmla="*/ 300832 w 732641"/>
                <a:gd name="connsiteY4" fmla="*/ 163723 h 2392298"/>
                <a:gd name="connsiteX5" fmla="*/ 300832 w 732641"/>
                <a:gd name="connsiteY5" fmla="*/ 419550 h 2392298"/>
                <a:gd name="connsiteX6" fmla="*/ 0 w 732641"/>
                <a:gd name="connsiteY6" fmla="*/ 720381 h 2392298"/>
                <a:gd name="connsiteX7" fmla="*/ 0 w 732641"/>
                <a:gd name="connsiteY7" fmla="*/ 1290645 h 2392298"/>
                <a:gd name="connsiteX8" fmla="*/ 56070 w 732641"/>
                <a:gd name="connsiteY8" fmla="*/ 1346715 h 2392298"/>
                <a:gd name="connsiteX9" fmla="*/ 56070 w 732641"/>
                <a:gd name="connsiteY9" fmla="*/ 1871974 h 2392298"/>
                <a:gd name="connsiteX10" fmla="*/ 598 w 732641"/>
                <a:gd name="connsiteY10" fmla="*/ 1927446 h 2392298"/>
                <a:gd name="connsiteX11" fmla="*/ 598 w 732641"/>
                <a:gd name="connsiteY11" fmla="*/ 2401420 h 2392298"/>
                <a:gd name="connsiteX12" fmla="*/ 7924 w 732641"/>
                <a:gd name="connsiteY12" fmla="*/ 2401420 h 2392298"/>
                <a:gd name="connsiteX13" fmla="*/ 7924 w 732641"/>
                <a:gd name="connsiteY13" fmla="*/ 1930585 h 2392298"/>
                <a:gd name="connsiteX14" fmla="*/ 63396 w 732641"/>
                <a:gd name="connsiteY14" fmla="*/ 1875114 h 2392298"/>
                <a:gd name="connsiteX15" fmla="*/ 63396 w 732641"/>
                <a:gd name="connsiteY15" fmla="*/ 1343725 h 2392298"/>
                <a:gd name="connsiteX16" fmla="*/ 7326 w 732641"/>
                <a:gd name="connsiteY16" fmla="*/ 1287655 h 2392298"/>
                <a:gd name="connsiteX17" fmla="*/ 7326 w 732641"/>
                <a:gd name="connsiteY17" fmla="*/ 723521 h 2392298"/>
                <a:gd name="connsiteX18" fmla="*/ 308158 w 732641"/>
                <a:gd name="connsiteY18" fmla="*/ 422689 h 2392298"/>
                <a:gd name="connsiteX19" fmla="*/ 308158 w 732641"/>
                <a:gd name="connsiteY19" fmla="*/ 166863 h 2392298"/>
                <a:gd name="connsiteX20" fmla="*/ 467545 w 732641"/>
                <a:gd name="connsiteY20" fmla="*/ 7476 h 2392298"/>
                <a:gd name="connsiteX21" fmla="*/ 591945 w 732641"/>
                <a:gd name="connsiteY21" fmla="*/ 7476 h 2392298"/>
                <a:gd name="connsiteX22" fmla="*/ 707224 w 732641"/>
                <a:gd name="connsiteY22" fmla="*/ 122755 h 2392298"/>
                <a:gd name="connsiteX23" fmla="*/ 707224 w 732641"/>
                <a:gd name="connsiteY23" fmla="*/ 165069 h 2392298"/>
                <a:gd name="connsiteX24" fmla="*/ 684945 w 732641"/>
                <a:gd name="connsiteY24" fmla="*/ 190636 h 2392298"/>
                <a:gd name="connsiteX25" fmla="*/ 710962 w 732641"/>
                <a:gd name="connsiteY25" fmla="*/ 216653 h 2392298"/>
                <a:gd name="connsiteX26" fmla="*/ 736978 w 732641"/>
                <a:gd name="connsiteY26" fmla="*/ 190636 h 2392298"/>
                <a:gd name="connsiteX27" fmla="*/ 714550 w 732641"/>
                <a:gd name="connsiteY27" fmla="*/ 165069 h 2392298"/>
                <a:gd name="connsiteX28" fmla="*/ 710962 w 732641"/>
                <a:gd name="connsiteY28" fmla="*/ 209326 h 2392298"/>
                <a:gd name="connsiteX29" fmla="*/ 692272 w 732641"/>
                <a:gd name="connsiteY29" fmla="*/ 190636 h 2392298"/>
                <a:gd name="connsiteX30" fmla="*/ 710962 w 732641"/>
                <a:gd name="connsiteY30" fmla="*/ 171946 h 2392298"/>
                <a:gd name="connsiteX31" fmla="*/ 729651 w 732641"/>
                <a:gd name="connsiteY31" fmla="*/ 190636 h 2392298"/>
                <a:gd name="connsiteX32" fmla="*/ 710962 w 732641"/>
                <a:gd name="connsiteY32" fmla="*/ 209326 h 239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32641" h="2392298">
                  <a:moveTo>
                    <a:pt x="714550" y="165069"/>
                  </a:moveTo>
                  <a:lnTo>
                    <a:pt x="714550" y="119615"/>
                  </a:lnTo>
                  <a:lnTo>
                    <a:pt x="595085" y="0"/>
                  </a:lnTo>
                  <a:lnTo>
                    <a:pt x="464555" y="0"/>
                  </a:lnTo>
                  <a:lnTo>
                    <a:pt x="300832" y="163723"/>
                  </a:lnTo>
                  <a:lnTo>
                    <a:pt x="300832" y="419550"/>
                  </a:lnTo>
                  <a:lnTo>
                    <a:pt x="0" y="720381"/>
                  </a:lnTo>
                  <a:lnTo>
                    <a:pt x="0" y="1290645"/>
                  </a:lnTo>
                  <a:lnTo>
                    <a:pt x="56070" y="1346715"/>
                  </a:lnTo>
                  <a:lnTo>
                    <a:pt x="56070" y="1871974"/>
                  </a:lnTo>
                  <a:lnTo>
                    <a:pt x="598" y="1927446"/>
                  </a:lnTo>
                  <a:lnTo>
                    <a:pt x="598" y="2401420"/>
                  </a:lnTo>
                  <a:lnTo>
                    <a:pt x="7924" y="2401420"/>
                  </a:lnTo>
                  <a:lnTo>
                    <a:pt x="7924" y="1930585"/>
                  </a:lnTo>
                  <a:lnTo>
                    <a:pt x="63396" y="1875114"/>
                  </a:lnTo>
                  <a:lnTo>
                    <a:pt x="63396" y="1343725"/>
                  </a:lnTo>
                  <a:lnTo>
                    <a:pt x="7326" y="1287655"/>
                  </a:lnTo>
                  <a:lnTo>
                    <a:pt x="7326" y="723521"/>
                  </a:lnTo>
                  <a:lnTo>
                    <a:pt x="308158" y="422689"/>
                  </a:lnTo>
                  <a:lnTo>
                    <a:pt x="308158" y="166863"/>
                  </a:lnTo>
                  <a:lnTo>
                    <a:pt x="467545" y="7476"/>
                  </a:lnTo>
                  <a:lnTo>
                    <a:pt x="591945" y="7476"/>
                  </a:lnTo>
                  <a:lnTo>
                    <a:pt x="707224" y="122755"/>
                  </a:lnTo>
                  <a:lnTo>
                    <a:pt x="707224" y="165069"/>
                  </a:lnTo>
                  <a:cubicBezTo>
                    <a:pt x="694664" y="166863"/>
                    <a:pt x="684945" y="177628"/>
                    <a:pt x="684945" y="190636"/>
                  </a:cubicBezTo>
                  <a:cubicBezTo>
                    <a:pt x="684945" y="204990"/>
                    <a:pt x="696608" y="216653"/>
                    <a:pt x="710962" y="216653"/>
                  </a:cubicBezTo>
                  <a:cubicBezTo>
                    <a:pt x="725315" y="216653"/>
                    <a:pt x="736978" y="204990"/>
                    <a:pt x="736978" y="190636"/>
                  </a:cubicBezTo>
                  <a:cubicBezTo>
                    <a:pt x="736978" y="177628"/>
                    <a:pt x="727259" y="166863"/>
                    <a:pt x="714550" y="165069"/>
                  </a:cubicBezTo>
                  <a:close/>
                  <a:moveTo>
                    <a:pt x="710962" y="209326"/>
                  </a:moveTo>
                  <a:cubicBezTo>
                    <a:pt x="700645" y="209326"/>
                    <a:pt x="692272" y="200953"/>
                    <a:pt x="692272" y="190636"/>
                  </a:cubicBezTo>
                  <a:cubicBezTo>
                    <a:pt x="692272" y="180320"/>
                    <a:pt x="700645" y="171946"/>
                    <a:pt x="710962" y="171946"/>
                  </a:cubicBezTo>
                  <a:cubicBezTo>
                    <a:pt x="721278" y="171946"/>
                    <a:pt x="729651" y="180320"/>
                    <a:pt x="729651" y="190636"/>
                  </a:cubicBezTo>
                  <a:cubicBezTo>
                    <a:pt x="729651" y="200953"/>
                    <a:pt x="721129" y="209326"/>
                    <a:pt x="710962" y="20932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5521091" y="192565"/>
              <a:ext cx="104663" cy="1121390"/>
            </a:xfrm>
            <a:custGeom>
              <a:avLst/>
              <a:gdLst>
                <a:gd name="connsiteX0" fmla="*/ 91506 w 104663"/>
                <a:gd name="connsiteY0" fmla="*/ 0 h 1121390"/>
                <a:gd name="connsiteX1" fmla="*/ 65489 w 104663"/>
                <a:gd name="connsiteY1" fmla="*/ 26017 h 1121390"/>
                <a:gd name="connsiteX2" fmla="*/ 70124 w 104663"/>
                <a:gd name="connsiteY2" fmla="*/ 40819 h 1121390"/>
                <a:gd name="connsiteX3" fmla="*/ 3289 w 104663"/>
                <a:gd name="connsiteY3" fmla="*/ 107654 h 1121390"/>
                <a:gd name="connsiteX4" fmla="*/ 3289 w 104663"/>
                <a:gd name="connsiteY4" fmla="*/ 567125 h 1121390"/>
                <a:gd name="connsiteX5" fmla="*/ 49341 w 104663"/>
                <a:gd name="connsiteY5" fmla="*/ 613176 h 1121390"/>
                <a:gd name="connsiteX6" fmla="*/ 49341 w 104663"/>
                <a:gd name="connsiteY6" fmla="*/ 777497 h 1121390"/>
                <a:gd name="connsiteX7" fmla="*/ 0 w 104663"/>
                <a:gd name="connsiteY7" fmla="*/ 826839 h 1121390"/>
                <a:gd name="connsiteX8" fmla="*/ 0 w 104663"/>
                <a:gd name="connsiteY8" fmla="*/ 1123484 h 1121390"/>
                <a:gd name="connsiteX9" fmla="*/ 7326 w 104663"/>
                <a:gd name="connsiteY9" fmla="*/ 1123484 h 1121390"/>
                <a:gd name="connsiteX10" fmla="*/ 7326 w 104663"/>
                <a:gd name="connsiteY10" fmla="*/ 829978 h 1121390"/>
                <a:gd name="connsiteX11" fmla="*/ 56668 w 104663"/>
                <a:gd name="connsiteY11" fmla="*/ 780637 h 1121390"/>
                <a:gd name="connsiteX12" fmla="*/ 56668 w 104663"/>
                <a:gd name="connsiteY12" fmla="*/ 610186 h 1121390"/>
                <a:gd name="connsiteX13" fmla="*/ 10616 w 104663"/>
                <a:gd name="connsiteY13" fmla="*/ 564134 h 1121390"/>
                <a:gd name="connsiteX14" fmla="*/ 10616 w 104663"/>
                <a:gd name="connsiteY14" fmla="*/ 110644 h 1121390"/>
                <a:gd name="connsiteX15" fmla="*/ 75058 w 104663"/>
                <a:gd name="connsiteY15" fmla="*/ 46201 h 1121390"/>
                <a:gd name="connsiteX16" fmla="*/ 91356 w 104663"/>
                <a:gd name="connsiteY16" fmla="*/ 52182 h 1121390"/>
                <a:gd name="connsiteX17" fmla="*/ 117372 w 104663"/>
                <a:gd name="connsiteY17" fmla="*/ 26166 h 1121390"/>
                <a:gd name="connsiteX18" fmla="*/ 91506 w 104663"/>
                <a:gd name="connsiteY18" fmla="*/ 0 h 1121390"/>
                <a:gd name="connsiteX19" fmla="*/ 91506 w 104663"/>
                <a:gd name="connsiteY19" fmla="*/ 44557 h 1121390"/>
                <a:gd name="connsiteX20" fmla="*/ 72816 w 104663"/>
                <a:gd name="connsiteY20" fmla="*/ 25867 h 1121390"/>
                <a:gd name="connsiteX21" fmla="*/ 91506 w 104663"/>
                <a:gd name="connsiteY21" fmla="*/ 7177 h 1121390"/>
                <a:gd name="connsiteX22" fmla="*/ 110195 w 104663"/>
                <a:gd name="connsiteY22" fmla="*/ 25867 h 1121390"/>
                <a:gd name="connsiteX23" fmla="*/ 91506 w 104663"/>
                <a:gd name="connsiteY23" fmla="*/ 44557 h 1121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4663" h="1121390">
                  <a:moveTo>
                    <a:pt x="91506" y="0"/>
                  </a:moveTo>
                  <a:cubicBezTo>
                    <a:pt x="77152" y="0"/>
                    <a:pt x="65489" y="11662"/>
                    <a:pt x="65489" y="26017"/>
                  </a:cubicBezTo>
                  <a:cubicBezTo>
                    <a:pt x="65489" y="31549"/>
                    <a:pt x="67134" y="36632"/>
                    <a:pt x="70124" y="40819"/>
                  </a:cubicBezTo>
                  <a:lnTo>
                    <a:pt x="3289" y="107654"/>
                  </a:lnTo>
                  <a:lnTo>
                    <a:pt x="3289" y="567125"/>
                  </a:lnTo>
                  <a:lnTo>
                    <a:pt x="49341" y="613176"/>
                  </a:lnTo>
                  <a:lnTo>
                    <a:pt x="49341" y="777497"/>
                  </a:lnTo>
                  <a:lnTo>
                    <a:pt x="0" y="826839"/>
                  </a:lnTo>
                  <a:lnTo>
                    <a:pt x="0" y="1123484"/>
                  </a:lnTo>
                  <a:lnTo>
                    <a:pt x="7326" y="1123484"/>
                  </a:lnTo>
                  <a:lnTo>
                    <a:pt x="7326" y="829978"/>
                  </a:lnTo>
                  <a:lnTo>
                    <a:pt x="56668" y="780637"/>
                  </a:lnTo>
                  <a:lnTo>
                    <a:pt x="56668" y="610186"/>
                  </a:lnTo>
                  <a:lnTo>
                    <a:pt x="10616" y="564134"/>
                  </a:lnTo>
                  <a:lnTo>
                    <a:pt x="10616" y="110644"/>
                  </a:lnTo>
                  <a:lnTo>
                    <a:pt x="75058" y="46201"/>
                  </a:lnTo>
                  <a:cubicBezTo>
                    <a:pt x="79544" y="49790"/>
                    <a:pt x="85226" y="52182"/>
                    <a:pt x="91356" y="52182"/>
                  </a:cubicBezTo>
                  <a:cubicBezTo>
                    <a:pt x="105710" y="52182"/>
                    <a:pt x="117372" y="40520"/>
                    <a:pt x="117372" y="26166"/>
                  </a:cubicBezTo>
                  <a:cubicBezTo>
                    <a:pt x="117522" y="11662"/>
                    <a:pt x="105859" y="0"/>
                    <a:pt x="91506" y="0"/>
                  </a:cubicBezTo>
                  <a:close/>
                  <a:moveTo>
                    <a:pt x="91506" y="44557"/>
                  </a:moveTo>
                  <a:cubicBezTo>
                    <a:pt x="81189" y="44557"/>
                    <a:pt x="72816" y="36184"/>
                    <a:pt x="72816" y="25867"/>
                  </a:cubicBezTo>
                  <a:cubicBezTo>
                    <a:pt x="72816" y="15550"/>
                    <a:pt x="81189" y="7177"/>
                    <a:pt x="91506" y="7177"/>
                  </a:cubicBezTo>
                  <a:cubicBezTo>
                    <a:pt x="101822" y="7177"/>
                    <a:pt x="110195" y="15550"/>
                    <a:pt x="110195" y="25867"/>
                  </a:cubicBezTo>
                  <a:cubicBezTo>
                    <a:pt x="110195" y="36184"/>
                    <a:pt x="101673" y="44557"/>
                    <a:pt x="91506" y="4455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5130399" y="-917312"/>
              <a:ext cx="493412" cy="2227828"/>
            </a:xfrm>
            <a:custGeom>
              <a:avLst/>
              <a:gdLst>
                <a:gd name="connsiteX0" fmla="*/ 286029 w 493411"/>
                <a:gd name="connsiteY0" fmla="*/ 1430745 h 2227828"/>
                <a:gd name="connsiteX1" fmla="*/ 313690 w 493411"/>
                <a:gd name="connsiteY1" fmla="*/ 1403084 h 2227828"/>
                <a:gd name="connsiteX2" fmla="*/ 313690 w 493411"/>
                <a:gd name="connsiteY2" fmla="*/ 1108382 h 2227828"/>
                <a:gd name="connsiteX3" fmla="*/ 493561 w 493411"/>
                <a:gd name="connsiteY3" fmla="*/ 928511 h 2227828"/>
                <a:gd name="connsiteX4" fmla="*/ 493561 w 493411"/>
                <a:gd name="connsiteY4" fmla="*/ 887394 h 2227828"/>
                <a:gd name="connsiteX5" fmla="*/ 387852 w 493411"/>
                <a:gd name="connsiteY5" fmla="*/ 781684 h 2227828"/>
                <a:gd name="connsiteX6" fmla="*/ 387852 w 493411"/>
                <a:gd name="connsiteY6" fmla="*/ 298589 h 2227828"/>
                <a:gd name="connsiteX7" fmla="*/ 148023 w 493411"/>
                <a:gd name="connsiteY7" fmla="*/ 58761 h 2227828"/>
                <a:gd name="connsiteX8" fmla="*/ 63097 w 493411"/>
                <a:gd name="connsiteY8" fmla="*/ 58761 h 2227828"/>
                <a:gd name="connsiteX9" fmla="*/ 46351 w 493411"/>
                <a:gd name="connsiteY9" fmla="*/ 42015 h 2227828"/>
                <a:gd name="connsiteX10" fmla="*/ 52032 w 493411"/>
                <a:gd name="connsiteY10" fmla="*/ 26016 h 2227828"/>
                <a:gd name="connsiteX11" fmla="*/ 26016 w 493411"/>
                <a:gd name="connsiteY11" fmla="*/ 0 h 2227828"/>
                <a:gd name="connsiteX12" fmla="*/ 0 w 493411"/>
                <a:gd name="connsiteY12" fmla="*/ 26016 h 2227828"/>
                <a:gd name="connsiteX13" fmla="*/ 26016 w 493411"/>
                <a:gd name="connsiteY13" fmla="*/ 52033 h 2227828"/>
                <a:gd name="connsiteX14" fmla="*/ 41118 w 493411"/>
                <a:gd name="connsiteY14" fmla="*/ 47099 h 2227828"/>
                <a:gd name="connsiteX15" fmla="*/ 60106 w 493411"/>
                <a:gd name="connsiteY15" fmla="*/ 66087 h 2227828"/>
                <a:gd name="connsiteX16" fmla="*/ 145033 w 493411"/>
                <a:gd name="connsiteY16" fmla="*/ 66087 h 2227828"/>
                <a:gd name="connsiteX17" fmla="*/ 380525 w 493411"/>
                <a:gd name="connsiteY17" fmla="*/ 301579 h 2227828"/>
                <a:gd name="connsiteX18" fmla="*/ 380525 w 493411"/>
                <a:gd name="connsiteY18" fmla="*/ 784674 h 2227828"/>
                <a:gd name="connsiteX19" fmla="*/ 486235 w 493411"/>
                <a:gd name="connsiteY19" fmla="*/ 890384 h 2227828"/>
                <a:gd name="connsiteX20" fmla="*/ 486235 w 493411"/>
                <a:gd name="connsiteY20" fmla="*/ 925371 h 2227828"/>
                <a:gd name="connsiteX21" fmla="*/ 306364 w 493411"/>
                <a:gd name="connsiteY21" fmla="*/ 1105242 h 2227828"/>
                <a:gd name="connsiteX22" fmla="*/ 306364 w 493411"/>
                <a:gd name="connsiteY22" fmla="*/ 1399944 h 2227828"/>
                <a:gd name="connsiteX23" fmla="*/ 278703 w 493411"/>
                <a:gd name="connsiteY23" fmla="*/ 1427604 h 2227828"/>
                <a:gd name="connsiteX24" fmla="*/ 278703 w 493411"/>
                <a:gd name="connsiteY24" fmla="*/ 1664143 h 2227828"/>
                <a:gd name="connsiteX25" fmla="*/ 308607 w 493411"/>
                <a:gd name="connsiteY25" fmla="*/ 1694047 h 2227828"/>
                <a:gd name="connsiteX26" fmla="*/ 308607 w 493411"/>
                <a:gd name="connsiteY26" fmla="*/ 2233361 h 2227828"/>
                <a:gd name="connsiteX27" fmla="*/ 315933 w 493411"/>
                <a:gd name="connsiteY27" fmla="*/ 2233361 h 2227828"/>
                <a:gd name="connsiteX28" fmla="*/ 315933 w 493411"/>
                <a:gd name="connsiteY28" fmla="*/ 1691057 h 2227828"/>
                <a:gd name="connsiteX29" fmla="*/ 286029 w 493411"/>
                <a:gd name="connsiteY29" fmla="*/ 1661153 h 2227828"/>
                <a:gd name="connsiteX30" fmla="*/ 286029 w 493411"/>
                <a:gd name="connsiteY30" fmla="*/ 1430745 h 2227828"/>
                <a:gd name="connsiteX31" fmla="*/ 26166 w 493411"/>
                <a:gd name="connsiteY31" fmla="*/ 44706 h 2227828"/>
                <a:gd name="connsiteX32" fmla="*/ 7476 w 493411"/>
                <a:gd name="connsiteY32" fmla="*/ 26016 h 2227828"/>
                <a:gd name="connsiteX33" fmla="*/ 26166 w 493411"/>
                <a:gd name="connsiteY33" fmla="*/ 7326 h 2227828"/>
                <a:gd name="connsiteX34" fmla="*/ 44856 w 493411"/>
                <a:gd name="connsiteY34" fmla="*/ 26016 h 2227828"/>
                <a:gd name="connsiteX35" fmla="*/ 26166 w 493411"/>
                <a:gd name="connsiteY35" fmla="*/ 44706 h 222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93411" h="2227828">
                  <a:moveTo>
                    <a:pt x="286029" y="1430745"/>
                  </a:moveTo>
                  <a:lnTo>
                    <a:pt x="313690" y="1403084"/>
                  </a:lnTo>
                  <a:lnTo>
                    <a:pt x="313690" y="1108382"/>
                  </a:lnTo>
                  <a:lnTo>
                    <a:pt x="493561" y="928511"/>
                  </a:lnTo>
                  <a:lnTo>
                    <a:pt x="493561" y="887394"/>
                  </a:lnTo>
                  <a:lnTo>
                    <a:pt x="387852" y="781684"/>
                  </a:lnTo>
                  <a:lnTo>
                    <a:pt x="387852" y="298589"/>
                  </a:lnTo>
                  <a:lnTo>
                    <a:pt x="148023" y="58761"/>
                  </a:lnTo>
                  <a:lnTo>
                    <a:pt x="63097" y="58761"/>
                  </a:lnTo>
                  <a:lnTo>
                    <a:pt x="46351" y="42015"/>
                  </a:lnTo>
                  <a:cubicBezTo>
                    <a:pt x="49790" y="37529"/>
                    <a:pt x="52032" y="32147"/>
                    <a:pt x="52032" y="26016"/>
                  </a:cubicBezTo>
                  <a:cubicBezTo>
                    <a:pt x="52032" y="11663"/>
                    <a:pt x="40370" y="0"/>
                    <a:pt x="26016" y="0"/>
                  </a:cubicBezTo>
                  <a:cubicBezTo>
                    <a:pt x="11662" y="0"/>
                    <a:pt x="0" y="11663"/>
                    <a:pt x="0" y="26016"/>
                  </a:cubicBezTo>
                  <a:cubicBezTo>
                    <a:pt x="0" y="40370"/>
                    <a:pt x="11662" y="52033"/>
                    <a:pt x="26016" y="52033"/>
                  </a:cubicBezTo>
                  <a:cubicBezTo>
                    <a:pt x="31698" y="52033"/>
                    <a:pt x="36781" y="50238"/>
                    <a:pt x="41118" y="47099"/>
                  </a:cubicBezTo>
                  <a:lnTo>
                    <a:pt x="60106" y="66087"/>
                  </a:lnTo>
                  <a:lnTo>
                    <a:pt x="145033" y="66087"/>
                  </a:lnTo>
                  <a:lnTo>
                    <a:pt x="380525" y="301579"/>
                  </a:lnTo>
                  <a:lnTo>
                    <a:pt x="380525" y="784674"/>
                  </a:lnTo>
                  <a:lnTo>
                    <a:pt x="486235" y="890384"/>
                  </a:lnTo>
                  <a:lnTo>
                    <a:pt x="486235" y="925371"/>
                  </a:lnTo>
                  <a:lnTo>
                    <a:pt x="306364" y="1105242"/>
                  </a:lnTo>
                  <a:lnTo>
                    <a:pt x="306364" y="1399944"/>
                  </a:lnTo>
                  <a:lnTo>
                    <a:pt x="278703" y="1427604"/>
                  </a:lnTo>
                  <a:lnTo>
                    <a:pt x="278703" y="1664143"/>
                  </a:lnTo>
                  <a:lnTo>
                    <a:pt x="308607" y="1694047"/>
                  </a:lnTo>
                  <a:lnTo>
                    <a:pt x="308607" y="2233361"/>
                  </a:lnTo>
                  <a:lnTo>
                    <a:pt x="315933" y="2233361"/>
                  </a:lnTo>
                  <a:lnTo>
                    <a:pt x="315933" y="1691057"/>
                  </a:lnTo>
                  <a:lnTo>
                    <a:pt x="286029" y="1661153"/>
                  </a:lnTo>
                  <a:lnTo>
                    <a:pt x="286029" y="1430745"/>
                  </a:lnTo>
                  <a:close/>
                  <a:moveTo>
                    <a:pt x="26166" y="44706"/>
                  </a:moveTo>
                  <a:cubicBezTo>
                    <a:pt x="15849" y="44706"/>
                    <a:pt x="7476" y="36333"/>
                    <a:pt x="7476" y="26016"/>
                  </a:cubicBezTo>
                  <a:cubicBezTo>
                    <a:pt x="7476" y="15700"/>
                    <a:pt x="15849" y="7326"/>
                    <a:pt x="26166" y="7326"/>
                  </a:cubicBezTo>
                  <a:cubicBezTo>
                    <a:pt x="36483" y="7326"/>
                    <a:pt x="44856" y="15700"/>
                    <a:pt x="44856" y="26016"/>
                  </a:cubicBezTo>
                  <a:cubicBezTo>
                    <a:pt x="44706" y="36333"/>
                    <a:pt x="36333" y="44706"/>
                    <a:pt x="26166" y="4470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5" name="任意多边形: 形状 94"/>
            <p:cNvSpPr/>
            <p:nvPr/>
          </p:nvSpPr>
          <p:spPr>
            <a:xfrm>
              <a:off x="4934080" y="-988334"/>
              <a:ext cx="478460" cy="2302588"/>
            </a:xfrm>
            <a:custGeom>
              <a:avLst/>
              <a:gdLst>
                <a:gd name="connsiteX0" fmla="*/ 451546 w 478459"/>
                <a:gd name="connsiteY0" fmla="*/ 1488608 h 2302587"/>
                <a:gd name="connsiteX1" fmla="*/ 481151 w 478459"/>
                <a:gd name="connsiteY1" fmla="*/ 1459003 h 2302587"/>
                <a:gd name="connsiteX2" fmla="*/ 481151 w 478459"/>
                <a:gd name="connsiteY2" fmla="*/ 298290 h 2302587"/>
                <a:gd name="connsiteX3" fmla="*/ 336866 w 478459"/>
                <a:gd name="connsiteY3" fmla="*/ 154004 h 2302587"/>
                <a:gd name="connsiteX4" fmla="*/ 301131 w 478459"/>
                <a:gd name="connsiteY4" fmla="*/ 154004 h 2302587"/>
                <a:gd name="connsiteX5" fmla="*/ 238781 w 478459"/>
                <a:gd name="connsiteY5" fmla="*/ 216354 h 2302587"/>
                <a:gd name="connsiteX6" fmla="*/ 163424 w 478459"/>
                <a:gd name="connsiteY6" fmla="*/ 216354 h 2302587"/>
                <a:gd name="connsiteX7" fmla="*/ 29754 w 478459"/>
                <a:gd name="connsiteY7" fmla="*/ 82684 h 2302587"/>
                <a:gd name="connsiteX8" fmla="*/ 29754 w 478459"/>
                <a:gd name="connsiteY8" fmla="*/ 51584 h 2302587"/>
                <a:gd name="connsiteX9" fmla="*/ 52033 w 478459"/>
                <a:gd name="connsiteY9" fmla="*/ 26016 h 2302587"/>
                <a:gd name="connsiteX10" fmla="*/ 26016 w 478459"/>
                <a:gd name="connsiteY10" fmla="*/ 0 h 2302587"/>
                <a:gd name="connsiteX11" fmla="*/ 0 w 478459"/>
                <a:gd name="connsiteY11" fmla="*/ 26016 h 2302587"/>
                <a:gd name="connsiteX12" fmla="*/ 22278 w 478459"/>
                <a:gd name="connsiteY12" fmla="*/ 51584 h 2302587"/>
                <a:gd name="connsiteX13" fmla="*/ 22278 w 478459"/>
                <a:gd name="connsiteY13" fmla="*/ 85674 h 2302587"/>
                <a:gd name="connsiteX14" fmla="*/ 160284 w 478459"/>
                <a:gd name="connsiteY14" fmla="*/ 223680 h 2302587"/>
                <a:gd name="connsiteX15" fmla="*/ 241772 w 478459"/>
                <a:gd name="connsiteY15" fmla="*/ 223680 h 2302587"/>
                <a:gd name="connsiteX16" fmla="*/ 304121 w 478459"/>
                <a:gd name="connsiteY16" fmla="*/ 161331 h 2302587"/>
                <a:gd name="connsiteX17" fmla="*/ 333726 w 478459"/>
                <a:gd name="connsiteY17" fmla="*/ 161331 h 2302587"/>
                <a:gd name="connsiteX18" fmla="*/ 473675 w 478459"/>
                <a:gd name="connsiteY18" fmla="*/ 301280 h 2302587"/>
                <a:gd name="connsiteX19" fmla="*/ 473675 w 478459"/>
                <a:gd name="connsiteY19" fmla="*/ 1455864 h 2302587"/>
                <a:gd name="connsiteX20" fmla="*/ 444071 w 478459"/>
                <a:gd name="connsiteY20" fmla="*/ 1485468 h 2302587"/>
                <a:gd name="connsiteX21" fmla="*/ 444071 w 478459"/>
                <a:gd name="connsiteY21" fmla="*/ 1759386 h 2302587"/>
                <a:gd name="connsiteX22" fmla="*/ 470535 w 478459"/>
                <a:gd name="connsiteY22" fmla="*/ 1785851 h 2302587"/>
                <a:gd name="connsiteX23" fmla="*/ 470535 w 478459"/>
                <a:gd name="connsiteY23" fmla="*/ 1882739 h 2302587"/>
                <a:gd name="connsiteX24" fmla="*/ 158340 w 478459"/>
                <a:gd name="connsiteY24" fmla="*/ 2194934 h 2302587"/>
                <a:gd name="connsiteX25" fmla="*/ 158340 w 478459"/>
                <a:gd name="connsiteY25" fmla="*/ 2304382 h 2302587"/>
                <a:gd name="connsiteX26" fmla="*/ 165667 w 478459"/>
                <a:gd name="connsiteY26" fmla="*/ 2304382 h 2302587"/>
                <a:gd name="connsiteX27" fmla="*/ 165667 w 478459"/>
                <a:gd name="connsiteY27" fmla="*/ 2198074 h 2302587"/>
                <a:gd name="connsiteX28" fmla="*/ 477862 w 478459"/>
                <a:gd name="connsiteY28" fmla="*/ 1885880 h 2302587"/>
                <a:gd name="connsiteX29" fmla="*/ 477862 w 478459"/>
                <a:gd name="connsiteY29" fmla="*/ 1782861 h 2302587"/>
                <a:gd name="connsiteX30" fmla="*/ 451397 w 478459"/>
                <a:gd name="connsiteY30" fmla="*/ 1756396 h 2302587"/>
                <a:gd name="connsiteX31" fmla="*/ 451397 w 478459"/>
                <a:gd name="connsiteY31" fmla="*/ 1488608 h 2302587"/>
                <a:gd name="connsiteX32" fmla="*/ 7476 w 478459"/>
                <a:gd name="connsiteY32" fmla="*/ 25867 h 2302587"/>
                <a:gd name="connsiteX33" fmla="*/ 26166 w 478459"/>
                <a:gd name="connsiteY33" fmla="*/ 7177 h 2302587"/>
                <a:gd name="connsiteX34" fmla="*/ 44856 w 478459"/>
                <a:gd name="connsiteY34" fmla="*/ 25867 h 2302587"/>
                <a:gd name="connsiteX35" fmla="*/ 26166 w 478459"/>
                <a:gd name="connsiteY35" fmla="*/ 44557 h 2302587"/>
                <a:gd name="connsiteX36" fmla="*/ 7476 w 478459"/>
                <a:gd name="connsiteY36" fmla="*/ 25867 h 23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78459" h="2302587">
                  <a:moveTo>
                    <a:pt x="451546" y="1488608"/>
                  </a:moveTo>
                  <a:lnTo>
                    <a:pt x="481151" y="1459003"/>
                  </a:lnTo>
                  <a:lnTo>
                    <a:pt x="481151" y="298290"/>
                  </a:lnTo>
                  <a:lnTo>
                    <a:pt x="336866" y="154004"/>
                  </a:lnTo>
                  <a:lnTo>
                    <a:pt x="301131" y="154004"/>
                  </a:lnTo>
                  <a:lnTo>
                    <a:pt x="238781" y="216354"/>
                  </a:lnTo>
                  <a:lnTo>
                    <a:pt x="163424" y="216354"/>
                  </a:lnTo>
                  <a:lnTo>
                    <a:pt x="29754" y="82684"/>
                  </a:lnTo>
                  <a:lnTo>
                    <a:pt x="29754" y="51584"/>
                  </a:lnTo>
                  <a:cubicBezTo>
                    <a:pt x="42314" y="49790"/>
                    <a:pt x="52033" y="39024"/>
                    <a:pt x="52033" y="26016"/>
                  </a:cubicBezTo>
                  <a:cubicBezTo>
                    <a:pt x="52033" y="11663"/>
                    <a:pt x="40370" y="0"/>
                    <a:pt x="26016" y="0"/>
                  </a:cubicBezTo>
                  <a:cubicBezTo>
                    <a:pt x="11662" y="0"/>
                    <a:pt x="0" y="11663"/>
                    <a:pt x="0" y="26016"/>
                  </a:cubicBezTo>
                  <a:cubicBezTo>
                    <a:pt x="0" y="39174"/>
                    <a:pt x="9719" y="49790"/>
                    <a:pt x="22278" y="51584"/>
                  </a:cubicBezTo>
                  <a:lnTo>
                    <a:pt x="22278" y="85674"/>
                  </a:lnTo>
                  <a:lnTo>
                    <a:pt x="160284" y="223680"/>
                  </a:lnTo>
                  <a:lnTo>
                    <a:pt x="241772" y="223680"/>
                  </a:lnTo>
                  <a:lnTo>
                    <a:pt x="304121" y="161331"/>
                  </a:lnTo>
                  <a:lnTo>
                    <a:pt x="333726" y="161331"/>
                  </a:lnTo>
                  <a:lnTo>
                    <a:pt x="473675" y="301280"/>
                  </a:lnTo>
                  <a:lnTo>
                    <a:pt x="473675" y="1455864"/>
                  </a:lnTo>
                  <a:lnTo>
                    <a:pt x="444071" y="1485468"/>
                  </a:lnTo>
                  <a:lnTo>
                    <a:pt x="444071" y="1759386"/>
                  </a:lnTo>
                  <a:lnTo>
                    <a:pt x="470535" y="1785851"/>
                  </a:lnTo>
                  <a:lnTo>
                    <a:pt x="470535" y="1882739"/>
                  </a:lnTo>
                  <a:lnTo>
                    <a:pt x="158340" y="2194934"/>
                  </a:lnTo>
                  <a:lnTo>
                    <a:pt x="158340" y="2304382"/>
                  </a:lnTo>
                  <a:lnTo>
                    <a:pt x="165667" y="2304382"/>
                  </a:lnTo>
                  <a:lnTo>
                    <a:pt x="165667" y="2198074"/>
                  </a:lnTo>
                  <a:lnTo>
                    <a:pt x="477862" y="1885880"/>
                  </a:lnTo>
                  <a:lnTo>
                    <a:pt x="477862" y="1782861"/>
                  </a:lnTo>
                  <a:lnTo>
                    <a:pt x="451397" y="1756396"/>
                  </a:lnTo>
                  <a:lnTo>
                    <a:pt x="451397" y="1488608"/>
                  </a:lnTo>
                  <a:close/>
                  <a:moveTo>
                    <a:pt x="7476" y="25867"/>
                  </a:moveTo>
                  <a:cubicBezTo>
                    <a:pt x="7476" y="15550"/>
                    <a:pt x="15849" y="7177"/>
                    <a:pt x="26166" y="7177"/>
                  </a:cubicBezTo>
                  <a:cubicBezTo>
                    <a:pt x="36483" y="7177"/>
                    <a:pt x="44856" y="15550"/>
                    <a:pt x="44856" y="25867"/>
                  </a:cubicBezTo>
                  <a:cubicBezTo>
                    <a:pt x="44856" y="36184"/>
                    <a:pt x="36483" y="44557"/>
                    <a:pt x="26166" y="44557"/>
                  </a:cubicBezTo>
                  <a:cubicBezTo>
                    <a:pt x="15849" y="44407"/>
                    <a:pt x="7476" y="36034"/>
                    <a:pt x="7476" y="2586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6" name="任意多边形: 形状 95"/>
            <p:cNvSpPr/>
            <p:nvPr/>
          </p:nvSpPr>
          <p:spPr>
            <a:xfrm>
              <a:off x="4991047" y="-789175"/>
              <a:ext cx="388749" cy="2093262"/>
            </a:xfrm>
            <a:custGeom>
              <a:avLst/>
              <a:gdLst>
                <a:gd name="connsiteX0" fmla="*/ 396075 w 388748"/>
                <a:gd name="connsiteY0" fmla="*/ 1593421 h 2093261"/>
                <a:gd name="connsiteX1" fmla="*/ 362583 w 388748"/>
                <a:gd name="connsiteY1" fmla="*/ 1559929 h 2093261"/>
                <a:gd name="connsiteX2" fmla="*/ 362583 w 388748"/>
                <a:gd name="connsiteY2" fmla="*/ 1279581 h 2093261"/>
                <a:gd name="connsiteX3" fmla="*/ 399065 w 388748"/>
                <a:gd name="connsiteY3" fmla="*/ 1243098 h 2093261"/>
                <a:gd name="connsiteX4" fmla="*/ 399065 w 388748"/>
                <a:gd name="connsiteY4" fmla="*/ 827885 h 2093261"/>
                <a:gd name="connsiteX5" fmla="*/ 355107 w 388748"/>
                <a:gd name="connsiteY5" fmla="*/ 783926 h 2093261"/>
                <a:gd name="connsiteX6" fmla="*/ 355107 w 388748"/>
                <a:gd name="connsiteY6" fmla="*/ 503728 h 2093261"/>
                <a:gd name="connsiteX7" fmla="*/ 398617 w 388748"/>
                <a:gd name="connsiteY7" fmla="*/ 460219 h 2093261"/>
                <a:gd name="connsiteX8" fmla="*/ 398617 w 388748"/>
                <a:gd name="connsiteY8" fmla="*/ 116326 h 2093261"/>
                <a:gd name="connsiteX9" fmla="*/ 282291 w 388748"/>
                <a:gd name="connsiteY9" fmla="*/ 0 h 2093261"/>
                <a:gd name="connsiteX10" fmla="*/ 244314 w 388748"/>
                <a:gd name="connsiteY10" fmla="*/ 0 h 2093261"/>
                <a:gd name="connsiteX11" fmla="*/ 187347 w 388748"/>
                <a:gd name="connsiteY11" fmla="*/ 56967 h 2093261"/>
                <a:gd name="connsiteX12" fmla="*/ 66685 w 388748"/>
                <a:gd name="connsiteY12" fmla="*/ 56967 h 2093261"/>
                <a:gd name="connsiteX13" fmla="*/ 41566 w 388748"/>
                <a:gd name="connsiteY13" fmla="*/ 82086 h 2093261"/>
                <a:gd name="connsiteX14" fmla="*/ 26016 w 388748"/>
                <a:gd name="connsiteY14" fmla="*/ 76853 h 2093261"/>
                <a:gd name="connsiteX15" fmla="*/ 0 w 388748"/>
                <a:gd name="connsiteY15" fmla="*/ 102869 h 2093261"/>
                <a:gd name="connsiteX16" fmla="*/ 26016 w 388748"/>
                <a:gd name="connsiteY16" fmla="*/ 128885 h 2093261"/>
                <a:gd name="connsiteX17" fmla="*/ 52033 w 388748"/>
                <a:gd name="connsiteY17" fmla="*/ 102869 h 2093261"/>
                <a:gd name="connsiteX18" fmla="*/ 46799 w 388748"/>
                <a:gd name="connsiteY18" fmla="*/ 87319 h 2093261"/>
                <a:gd name="connsiteX19" fmla="*/ 69676 w 388748"/>
                <a:gd name="connsiteY19" fmla="*/ 64443 h 2093261"/>
                <a:gd name="connsiteX20" fmla="*/ 190337 w 388748"/>
                <a:gd name="connsiteY20" fmla="*/ 64443 h 2093261"/>
                <a:gd name="connsiteX21" fmla="*/ 247304 w 388748"/>
                <a:gd name="connsiteY21" fmla="*/ 7476 h 2093261"/>
                <a:gd name="connsiteX22" fmla="*/ 279301 w 388748"/>
                <a:gd name="connsiteY22" fmla="*/ 7476 h 2093261"/>
                <a:gd name="connsiteX23" fmla="*/ 391290 w 388748"/>
                <a:gd name="connsiteY23" fmla="*/ 119466 h 2093261"/>
                <a:gd name="connsiteX24" fmla="*/ 391290 w 388748"/>
                <a:gd name="connsiteY24" fmla="*/ 457228 h 2093261"/>
                <a:gd name="connsiteX25" fmla="*/ 347781 w 388748"/>
                <a:gd name="connsiteY25" fmla="*/ 500738 h 2093261"/>
                <a:gd name="connsiteX26" fmla="*/ 347781 w 388748"/>
                <a:gd name="connsiteY26" fmla="*/ 787066 h 2093261"/>
                <a:gd name="connsiteX27" fmla="*/ 391739 w 388748"/>
                <a:gd name="connsiteY27" fmla="*/ 831025 h 2093261"/>
                <a:gd name="connsiteX28" fmla="*/ 391739 w 388748"/>
                <a:gd name="connsiteY28" fmla="*/ 1240257 h 2093261"/>
                <a:gd name="connsiteX29" fmla="*/ 355257 w 388748"/>
                <a:gd name="connsiteY29" fmla="*/ 1276740 h 2093261"/>
                <a:gd name="connsiteX30" fmla="*/ 355257 w 388748"/>
                <a:gd name="connsiteY30" fmla="*/ 1563218 h 2093261"/>
                <a:gd name="connsiteX31" fmla="*/ 388749 w 388748"/>
                <a:gd name="connsiteY31" fmla="*/ 1596710 h 2093261"/>
                <a:gd name="connsiteX32" fmla="*/ 388749 w 388748"/>
                <a:gd name="connsiteY32" fmla="*/ 1669227 h 2093261"/>
                <a:gd name="connsiteX33" fmla="*/ 79993 w 388748"/>
                <a:gd name="connsiteY33" fmla="*/ 1977983 h 2093261"/>
                <a:gd name="connsiteX34" fmla="*/ 79993 w 388748"/>
                <a:gd name="connsiteY34" fmla="*/ 2105373 h 2093261"/>
                <a:gd name="connsiteX35" fmla="*/ 87319 w 388748"/>
                <a:gd name="connsiteY35" fmla="*/ 2105373 h 2093261"/>
                <a:gd name="connsiteX36" fmla="*/ 87319 w 388748"/>
                <a:gd name="connsiteY36" fmla="*/ 1980973 h 2093261"/>
                <a:gd name="connsiteX37" fmla="*/ 396075 w 388748"/>
                <a:gd name="connsiteY37" fmla="*/ 1672217 h 2093261"/>
                <a:gd name="connsiteX38" fmla="*/ 396075 w 388748"/>
                <a:gd name="connsiteY38" fmla="*/ 1593421 h 209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8748" h="2093261">
                  <a:moveTo>
                    <a:pt x="396075" y="1593421"/>
                  </a:moveTo>
                  <a:lnTo>
                    <a:pt x="362583" y="1559929"/>
                  </a:lnTo>
                  <a:lnTo>
                    <a:pt x="362583" y="1279581"/>
                  </a:lnTo>
                  <a:lnTo>
                    <a:pt x="399065" y="1243098"/>
                  </a:lnTo>
                  <a:lnTo>
                    <a:pt x="399065" y="827885"/>
                  </a:lnTo>
                  <a:lnTo>
                    <a:pt x="355107" y="783926"/>
                  </a:lnTo>
                  <a:lnTo>
                    <a:pt x="355107" y="503728"/>
                  </a:lnTo>
                  <a:lnTo>
                    <a:pt x="398617" y="460219"/>
                  </a:lnTo>
                  <a:lnTo>
                    <a:pt x="398617" y="116326"/>
                  </a:lnTo>
                  <a:lnTo>
                    <a:pt x="282291" y="0"/>
                  </a:lnTo>
                  <a:lnTo>
                    <a:pt x="244314" y="0"/>
                  </a:lnTo>
                  <a:lnTo>
                    <a:pt x="187347" y="56967"/>
                  </a:lnTo>
                  <a:lnTo>
                    <a:pt x="66685" y="56967"/>
                  </a:lnTo>
                  <a:lnTo>
                    <a:pt x="41566" y="82086"/>
                  </a:lnTo>
                  <a:cubicBezTo>
                    <a:pt x="37230" y="78796"/>
                    <a:pt x="31848" y="76853"/>
                    <a:pt x="26016" y="76853"/>
                  </a:cubicBezTo>
                  <a:cubicBezTo>
                    <a:pt x="11662" y="76853"/>
                    <a:pt x="0" y="88515"/>
                    <a:pt x="0" y="102869"/>
                  </a:cubicBezTo>
                  <a:cubicBezTo>
                    <a:pt x="0" y="117223"/>
                    <a:pt x="11662" y="128885"/>
                    <a:pt x="26016" y="128885"/>
                  </a:cubicBezTo>
                  <a:cubicBezTo>
                    <a:pt x="40370" y="128885"/>
                    <a:pt x="52033" y="117223"/>
                    <a:pt x="52033" y="102869"/>
                  </a:cubicBezTo>
                  <a:cubicBezTo>
                    <a:pt x="52033" y="97038"/>
                    <a:pt x="50089" y="91655"/>
                    <a:pt x="46799" y="87319"/>
                  </a:cubicBezTo>
                  <a:lnTo>
                    <a:pt x="69676" y="64443"/>
                  </a:lnTo>
                  <a:lnTo>
                    <a:pt x="190337" y="64443"/>
                  </a:lnTo>
                  <a:lnTo>
                    <a:pt x="247304" y="7476"/>
                  </a:lnTo>
                  <a:lnTo>
                    <a:pt x="279301" y="7476"/>
                  </a:lnTo>
                  <a:lnTo>
                    <a:pt x="391290" y="119466"/>
                  </a:lnTo>
                  <a:lnTo>
                    <a:pt x="391290" y="457228"/>
                  </a:lnTo>
                  <a:lnTo>
                    <a:pt x="347781" y="500738"/>
                  </a:lnTo>
                  <a:lnTo>
                    <a:pt x="347781" y="787066"/>
                  </a:lnTo>
                  <a:lnTo>
                    <a:pt x="391739" y="831025"/>
                  </a:lnTo>
                  <a:lnTo>
                    <a:pt x="391739" y="1240257"/>
                  </a:lnTo>
                  <a:lnTo>
                    <a:pt x="355257" y="1276740"/>
                  </a:lnTo>
                  <a:lnTo>
                    <a:pt x="355257" y="1563218"/>
                  </a:lnTo>
                  <a:lnTo>
                    <a:pt x="388749" y="1596710"/>
                  </a:lnTo>
                  <a:lnTo>
                    <a:pt x="388749" y="1669227"/>
                  </a:lnTo>
                  <a:lnTo>
                    <a:pt x="79993" y="1977983"/>
                  </a:lnTo>
                  <a:lnTo>
                    <a:pt x="79993" y="2105373"/>
                  </a:lnTo>
                  <a:lnTo>
                    <a:pt x="87319" y="2105373"/>
                  </a:lnTo>
                  <a:lnTo>
                    <a:pt x="87319" y="1980973"/>
                  </a:lnTo>
                  <a:lnTo>
                    <a:pt x="396075" y="1672217"/>
                  </a:lnTo>
                  <a:lnTo>
                    <a:pt x="396075" y="1593421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7" name="任意多边形: 形状 96"/>
            <p:cNvSpPr/>
            <p:nvPr/>
          </p:nvSpPr>
          <p:spPr>
            <a:xfrm>
              <a:off x="5928380" y="-911331"/>
              <a:ext cx="463508" cy="2212877"/>
            </a:xfrm>
            <a:custGeom>
              <a:avLst/>
              <a:gdLst>
                <a:gd name="connsiteX0" fmla="*/ 7326 w 463507"/>
                <a:gd name="connsiteY0" fmla="*/ 1772843 h 2212876"/>
                <a:gd name="connsiteX1" fmla="*/ 72218 w 463507"/>
                <a:gd name="connsiteY1" fmla="*/ 1707952 h 2212876"/>
                <a:gd name="connsiteX2" fmla="*/ 72218 w 463507"/>
                <a:gd name="connsiteY2" fmla="*/ 1588935 h 2212876"/>
                <a:gd name="connsiteX3" fmla="*/ 108401 w 463507"/>
                <a:gd name="connsiteY3" fmla="*/ 1552752 h 2212876"/>
                <a:gd name="connsiteX4" fmla="*/ 108401 w 463507"/>
                <a:gd name="connsiteY4" fmla="*/ 1194206 h 2212876"/>
                <a:gd name="connsiteX5" fmla="*/ 9719 w 463507"/>
                <a:gd name="connsiteY5" fmla="*/ 1095523 h 2212876"/>
                <a:gd name="connsiteX6" fmla="*/ 9719 w 463507"/>
                <a:gd name="connsiteY6" fmla="*/ 577292 h 2212876"/>
                <a:gd name="connsiteX7" fmla="*/ 34240 w 463507"/>
                <a:gd name="connsiteY7" fmla="*/ 552771 h 2212876"/>
                <a:gd name="connsiteX8" fmla="*/ 78198 w 463507"/>
                <a:gd name="connsiteY8" fmla="*/ 552771 h 2212876"/>
                <a:gd name="connsiteX9" fmla="*/ 230857 w 463507"/>
                <a:gd name="connsiteY9" fmla="*/ 400112 h 2212876"/>
                <a:gd name="connsiteX10" fmla="*/ 230857 w 463507"/>
                <a:gd name="connsiteY10" fmla="*/ 350621 h 2212876"/>
                <a:gd name="connsiteX11" fmla="*/ 316382 w 463507"/>
                <a:gd name="connsiteY11" fmla="*/ 265097 h 2212876"/>
                <a:gd name="connsiteX12" fmla="*/ 316382 w 463507"/>
                <a:gd name="connsiteY12" fmla="*/ 154901 h 2212876"/>
                <a:gd name="connsiteX13" fmla="*/ 424484 w 463507"/>
                <a:gd name="connsiteY13" fmla="*/ 46799 h 2212876"/>
                <a:gd name="connsiteX14" fmla="*/ 440033 w 463507"/>
                <a:gd name="connsiteY14" fmla="*/ 52032 h 2212876"/>
                <a:gd name="connsiteX15" fmla="*/ 466050 w 463507"/>
                <a:gd name="connsiteY15" fmla="*/ 26016 h 2212876"/>
                <a:gd name="connsiteX16" fmla="*/ 440033 w 463507"/>
                <a:gd name="connsiteY16" fmla="*/ 0 h 2212876"/>
                <a:gd name="connsiteX17" fmla="*/ 414017 w 463507"/>
                <a:gd name="connsiteY17" fmla="*/ 26016 h 2212876"/>
                <a:gd name="connsiteX18" fmla="*/ 419250 w 463507"/>
                <a:gd name="connsiteY18" fmla="*/ 41566 h 2212876"/>
                <a:gd name="connsiteX19" fmla="*/ 309055 w 463507"/>
                <a:gd name="connsiteY19" fmla="*/ 151761 h 2212876"/>
                <a:gd name="connsiteX20" fmla="*/ 309055 w 463507"/>
                <a:gd name="connsiteY20" fmla="*/ 261957 h 2212876"/>
                <a:gd name="connsiteX21" fmla="*/ 223530 w 463507"/>
                <a:gd name="connsiteY21" fmla="*/ 347481 h 2212876"/>
                <a:gd name="connsiteX22" fmla="*/ 223530 w 463507"/>
                <a:gd name="connsiteY22" fmla="*/ 396972 h 2212876"/>
                <a:gd name="connsiteX23" fmla="*/ 75208 w 463507"/>
                <a:gd name="connsiteY23" fmla="*/ 545295 h 2212876"/>
                <a:gd name="connsiteX24" fmla="*/ 31249 w 463507"/>
                <a:gd name="connsiteY24" fmla="*/ 545295 h 2212876"/>
                <a:gd name="connsiteX25" fmla="*/ 2392 w 463507"/>
                <a:gd name="connsiteY25" fmla="*/ 574152 h 2212876"/>
                <a:gd name="connsiteX26" fmla="*/ 2392 w 463507"/>
                <a:gd name="connsiteY26" fmla="*/ 1098514 h 2212876"/>
                <a:gd name="connsiteX27" fmla="*/ 101075 w 463507"/>
                <a:gd name="connsiteY27" fmla="*/ 1197196 h 2212876"/>
                <a:gd name="connsiteX28" fmla="*/ 101075 w 463507"/>
                <a:gd name="connsiteY28" fmla="*/ 1549611 h 2212876"/>
                <a:gd name="connsiteX29" fmla="*/ 64891 w 463507"/>
                <a:gd name="connsiteY29" fmla="*/ 1585795 h 2212876"/>
                <a:gd name="connsiteX30" fmla="*/ 64891 w 463507"/>
                <a:gd name="connsiteY30" fmla="*/ 1704812 h 2212876"/>
                <a:gd name="connsiteX31" fmla="*/ 0 w 463507"/>
                <a:gd name="connsiteY31" fmla="*/ 1769703 h 2212876"/>
                <a:gd name="connsiteX32" fmla="*/ 0 w 463507"/>
                <a:gd name="connsiteY32" fmla="*/ 2038837 h 2212876"/>
                <a:gd name="connsiteX33" fmla="*/ 146229 w 463507"/>
                <a:gd name="connsiteY33" fmla="*/ 2185066 h 2212876"/>
                <a:gd name="connsiteX34" fmla="*/ 146229 w 463507"/>
                <a:gd name="connsiteY34" fmla="*/ 2227380 h 2212876"/>
                <a:gd name="connsiteX35" fmla="*/ 153556 w 463507"/>
                <a:gd name="connsiteY35" fmla="*/ 2227380 h 2212876"/>
                <a:gd name="connsiteX36" fmla="*/ 153556 w 463507"/>
                <a:gd name="connsiteY36" fmla="*/ 2182076 h 2212876"/>
                <a:gd name="connsiteX37" fmla="*/ 7326 w 463507"/>
                <a:gd name="connsiteY37" fmla="*/ 2035847 h 2212876"/>
                <a:gd name="connsiteX38" fmla="*/ 7326 w 463507"/>
                <a:gd name="connsiteY38" fmla="*/ 1772843 h 221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3507" h="2212876">
                  <a:moveTo>
                    <a:pt x="7326" y="1772843"/>
                  </a:moveTo>
                  <a:lnTo>
                    <a:pt x="72218" y="1707952"/>
                  </a:lnTo>
                  <a:lnTo>
                    <a:pt x="72218" y="1588935"/>
                  </a:lnTo>
                  <a:lnTo>
                    <a:pt x="108401" y="1552752"/>
                  </a:lnTo>
                  <a:lnTo>
                    <a:pt x="108401" y="1194206"/>
                  </a:lnTo>
                  <a:lnTo>
                    <a:pt x="9719" y="1095523"/>
                  </a:lnTo>
                  <a:lnTo>
                    <a:pt x="9719" y="577292"/>
                  </a:lnTo>
                  <a:lnTo>
                    <a:pt x="34240" y="552771"/>
                  </a:lnTo>
                  <a:lnTo>
                    <a:pt x="78198" y="552771"/>
                  </a:lnTo>
                  <a:lnTo>
                    <a:pt x="230857" y="400112"/>
                  </a:lnTo>
                  <a:lnTo>
                    <a:pt x="230857" y="350621"/>
                  </a:lnTo>
                  <a:lnTo>
                    <a:pt x="316382" y="265097"/>
                  </a:lnTo>
                  <a:lnTo>
                    <a:pt x="316382" y="154901"/>
                  </a:lnTo>
                  <a:lnTo>
                    <a:pt x="424484" y="46799"/>
                  </a:lnTo>
                  <a:cubicBezTo>
                    <a:pt x="428820" y="50089"/>
                    <a:pt x="434202" y="52032"/>
                    <a:pt x="440033" y="52032"/>
                  </a:cubicBezTo>
                  <a:cubicBezTo>
                    <a:pt x="454387" y="52032"/>
                    <a:pt x="466050" y="40370"/>
                    <a:pt x="466050" y="26016"/>
                  </a:cubicBezTo>
                  <a:cubicBezTo>
                    <a:pt x="466050" y="11662"/>
                    <a:pt x="454387" y="0"/>
                    <a:pt x="440033" y="0"/>
                  </a:cubicBezTo>
                  <a:cubicBezTo>
                    <a:pt x="425680" y="0"/>
                    <a:pt x="414017" y="11662"/>
                    <a:pt x="414017" y="26016"/>
                  </a:cubicBezTo>
                  <a:cubicBezTo>
                    <a:pt x="414017" y="31848"/>
                    <a:pt x="415961" y="37230"/>
                    <a:pt x="419250" y="41566"/>
                  </a:cubicBezTo>
                  <a:lnTo>
                    <a:pt x="309055" y="151761"/>
                  </a:lnTo>
                  <a:lnTo>
                    <a:pt x="309055" y="261957"/>
                  </a:lnTo>
                  <a:lnTo>
                    <a:pt x="223530" y="347481"/>
                  </a:lnTo>
                  <a:lnTo>
                    <a:pt x="223530" y="396972"/>
                  </a:lnTo>
                  <a:lnTo>
                    <a:pt x="75208" y="545295"/>
                  </a:lnTo>
                  <a:lnTo>
                    <a:pt x="31249" y="545295"/>
                  </a:lnTo>
                  <a:lnTo>
                    <a:pt x="2392" y="574152"/>
                  </a:lnTo>
                  <a:lnTo>
                    <a:pt x="2392" y="1098514"/>
                  </a:lnTo>
                  <a:lnTo>
                    <a:pt x="101075" y="1197196"/>
                  </a:lnTo>
                  <a:lnTo>
                    <a:pt x="101075" y="1549611"/>
                  </a:lnTo>
                  <a:lnTo>
                    <a:pt x="64891" y="1585795"/>
                  </a:lnTo>
                  <a:lnTo>
                    <a:pt x="64891" y="1704812"/>
                  </a:lnTo>
                  <a:lnTo>
                    <a:pt x="0" y="1769703"/>
                  </a:lnTo>
                  <a:lnTo>
                    <a:pt x="0" y="2038837"/>
                  </a:lnTo>
                  <a:lnTo>
                    <a:pt x="146229" y="2185066"/>
                  </a:lnTo>
                  <a:lnTo>
                    <a:pt x="146229" y="2227380"/>
                  </a:lnTo>
                  <a:lnTo>
                    <a:pt x="153556" y="2227380"/>
                  </a:lnTo>
                  <a:lnTo>
                    <a:pt x="153556" y="2182076"/>
                  </a:lnTo>
                  <a:lnTo>
                    <a:pt x="7326" y="2035847"/>
                  </a:lnTo>
                  <a:lnTo>
                    <a:pt x="7326" y="1772843"/>
                  </a:ln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8" name="任意多边形: 形状 97"/>
            <p:cNvSpPr/>
            <p:nvPr/>
          </p:nvSpPr>
          <p:spPr>
            <a:xfrm>
              <a:off x="5046519" y="-380391"/>
              <a:ext cx="313989" cy="1689561"/>
            </a:xfrm>
            <a:custGeom>
              <a:avLst/>
              <a:gdLst>
                <a:gd name="connsiteX0" fmla="*/ 62499 w 313989"/>
                <a:gd name="connsiteY0" fmla="*/ 1466180 h 1689561"/>
                <a:gd name="connsiteX1" fmla="*/ 233399 w 313989"/>
                <a:gd name="connsiteY1" fmla="*/ 1295280 h 1689561"/>
                <a:gd name="connsiteX2" fmla="*/ 265396 w 313989"/>
                <a:gd name="connsiteY2" fmla="*/ 1295280 h 1689561"/>
                <a:gd name="connsiteX3" fmla="*/ 308158 w 313989"/>
                <a:gd name="connsiteY3" fmla="*/ 1252518 h 1689561"/>
                <a:gd name="connsiteX4" fmla="*/ 308158 w 313989"/>
                <a:gd name="connsiteY4" fmla="*/ 1197794 h 1689561"/>
                <a:gd name="connsiteX5" fmla="*/ 278553 w 313989"/>
                <a:gd name="connsiteY5" fmla="*/ 1168189 h 1689561"/>
                <a:gd name="connsiteX6" fmla="*/ 278553 w 313989"/>
                <a:gd name="connsiteY6" fmla="*/ 854649 h 1689561"/>
                <a:gd name="connsiteX7" fmla="*/ 321465 w 313989"/>
                <a:gd name="connsiteY7" fmla="*/ 811737 h 1689561"/>
                <a:gd name="connsiteX8" fmla="*/ 321465 w 313989"/>
                <a:gd name="connsiteY8" fmla="*/ 469788 h 1689561"/>
                <a:gd name="connsiteX9" fmla="*/ 274068 w 313989"/>
                <a:gd name="connsiteY9" fmla="*/ 422390 h 1689561"/>
                <a:gd name="connsiteX10" fmla="*/ 274068 w 313989"/>
                <a:gd name="connsiteY10" fmla="*/ 340604 h 1689561"/>
                <a:gd name="connsiteX11" fmla="*/ 44257 w 313989"/>
                <a:gd name="connsiteY11" fmla="*/ 110793 h 1689561"/>
                <a:gd name="connsiteX12" fmla="*/ 44257 w 313989"/>
                <a:gd name="connsiteY12" fmla="*/ 51584 h 1689561"/>
                <a:gd name="connsiteX13" fmla="*/ 65489 w 313989"/>
                <a:gd name="connsiteY13" fmla="*/ 26016 h 1689561"/>
                <a:gd name="connsiteX14" fmla="*/ 39473 w 313989"/>
                <a:gd name="connsiteY14" fmla="*/ 0 h 1689561"/>
                <a:gd name="connsiteX15" fmla="*/ 13457 w 313989"/>
                <a:gd name="connsiteY15" fmla="*/ 26016 h 1689561"/>
                <a:gd name="connsiteX16" fmla="*/ 36781 w 313989"/>
                <a:gd name="connsiteY16" fmla="*/ 51734 h 1689561"/>
                <a:gd name="connsiteX17" fmla="*/ 36781 w 313989"/>
                <a:gd name="connsiteY17" fmla="*/ 113784 h 1689561"/>
                <a:gd name="connsiteX18" fmla="*/ 266592 w 313989"/>
                <a:gd name="connsiteY18" fmla="*/ 343594 h 1689561"/>
                <a:gd name="connsiteX19" fmla="*/ 266592 w 313989"/>
                <a:gd name="connsiteY19" fmla="*/ 425381 h 1689561"/>
                <a:gd name="connsiteX20" fmla="*/ 313989 w 313989"/>
                <a:gd name="connsiteY20" fmla="*/ 472778 h 1689561"/>
                <a:gd name="connsiteX21" fmla="*/ 313989 w 313989"/>
                <a:gd name="connsiteY21" fmla="*/ 808597 h 1689561"/>
                <a:gd name="connsiteX22" fmla="*/ 271077 w 313989"/>
                <a:gd name="connsiteY22" fmla="*/ 851509 h 1689561"/>
                <a:gd name="connsiteX23" fmla="*/ 271077 w 313989"/>
                <a:gd name="connsiteY23" fmla="*/ 1171180 h 1689561"/>
                <a:gd name="connsiteX24" fmla="*/ 300682 w 313989"/>
                <a:gd name="connsiteY24" fmla="*/ 1200785 h 1689561"/>
                <a:gd name="connsiteX25" fmla="*/ 300682 w 313989"/>
                <a:gd name="connsiteY25" fmla="*/ 1249378 h 1689561"/>
                <a:gd name="connsiteX26" fmla="*/ 262256 w 313989"/>
                <a:gd name="connsiteY26" fmla="*/ 1287804 h 1689561"/>
                <a:gd name="connsiteX27" fmla="*/ 230259 w 313989"/>
                <a:gd name="connsiteY27" fmla="*/ 1287804 h 1689561"/>
                <a:gd name="connsiteX28" fmla="*/ 55023 w 313989"/>
                <a:gd name="connsiteY28" fmla="*/ 1463040 h 1689561"/>
                <a:gd name="connsiteX29" fmla="*/ 55023 w 313989"/>
                <a:gd name="connsiteY29" fmla="*/ 1494439 h 1689561"/>
                <a:gd name="connsiteX30" fmla="*/ 0 w 313989"/>
                <a:gd name="connsiteY30" fmla="*/ 1549462 h 1689561"/>
                <a:gd name="connsiteX31" fmla="*/ 0 w 313989"/>
                <a:gd name="connsiteY31" fmla="*/ 1696140 h 1689561"/>
                <a:gd name="connsiteX32" fmla="*/ 7326 w 313989"/>
                <a:gd name="connsiteY32" fmla="*/ 1696140 h 1689561"/>
                <a:gd name="connsiteX33" fmla="*/ 7326 w 313989"/>
                <a:gd name="connsiteY33" fmla="*/ 1552602 h 1689561"/>
                <a:gd name="connsiteX34" fmla="*/ 62349 w 313989"/>
                <a:gd name="connsiteY34" fmla="*/ 1497430 h 1689561"/>
                <a:gd name="connsiteX35" fmla="*/ 62349 w 313989"/>
                <a:gd name="connsiteY35" fmla="*/ 1466180 h 1689561"/>
                <a:gd name="connsiteX36" fmla="*/ 20933 w 313989"/>
                <a:gd name="connsiteY36" fmla="*/ 26016 h 1689561"/>
                <a:gd name="connsiteX37" fmla="*/ 39622 w 313989"/>
                <a:gd name="connsiteY37" fmla="*/ 7326 h 1689561"/>
                <a:gd name="connsiteX38" fmla="*/ 58312 w 313989"/>
                <a:gd name="connsiteY38" fmla="*/ 26016 h 1689561"/>
                <a:gd name="connsiteX39" fmla="*/ 39622 w 313989"/>
                <a:gd name="connsiteY39" fmla="*/ 44706 h 1689561"/>
                <a:gd name="connsiteX40" fmla="*/ 20933 w 313989"/>
                <a:gd name="connsiteY40" fmla="*/ 26016 h 1689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13989" h="1689561">
                  <a:moveTo>
                    <a:pt x="62499" y="1466180"/>
                  </a:moveTo>
                  <a:lnTo>
                    <a:pt x="233399" y="1295280"/>
                  </a:lnTo>
                  <a:lnTo>
                    <a:pt x="265396" y="1295280"/>
                  </a:lnTo>
                  <a:lnTo>
                    <a:pt x="308158" y="1252518"/>
                  </a:lnTo>
                  <a:lnTo>
                    <a:pt x="308158" y="1197794"/>
                  </a:lnTo>
                  <a:lnTo>
                    <a:pt x="278553" y="1168189"/>
                  </a:lnTo>
                  <a:lnTo>
                    <a:pt x="278553" y="854649"/>
                  </a:lnTo>
                  <a:lnTo>
                    <a:pt x="321465" y="811737"/>
                  </a:lnTo>
                  <a:lnTo>
                    <a:pt x="321465" y="469788"/>
                  </a:lnTo>
                  <a:lnTo>
                    <a:pt x="274068" y="422390"/>
                  </a:lnTo>
                  <a:lnTo>
                    <a:pt x="274068" y="340604"/>
                  </a:lnTo>
                  <a:lnTo>
                    <a:pt x="44257" y="110793"/>
                  </a:lnTo>
                  <a:lnTo>
                    <a:pt x="44257" y="51584"/>
                  </a:lnTo>
                  <a:cubicBezTo>
                    <a:pt x="56368" y="49341"/>
                    <a:pt x="65489" y="38725"/>
                    <a:pt x="65489" y="26016"/>
                  </a:cubicBezTo>
                  <a:cubicBezTo>
                    <a:pt x="65489" y="11662"/>
                    <a:pt x="53827" y="0"/>
                    <a:pt x="39473" y="0"/>
                  </a:cubicBezTo>
                  <a:cubicBezTo>
                    <a:pt x="25119" y="0"/>
                    <a:pt x="13457" y="11662"/>
                    <a:pt x="13457" y="26016"/>
                  </a:cubicBezTo>
                  <a:cubicBezTo>
                    <a:pt x="13457" y="39473"/>
                    <a:pt x="23773" y="50388"/>
                    <a:pt x="36781" y="51734"/>
                  </a:cubicBezTo>
                  <a:lnTo>
                    <a:pt x="36781" y="113784"/>
                  </a:lnTo>
                  <a:lnTo>
                    <a:pt x="266592" y="343594"/>
                  </a:lnTo>
                  <a:lnTo>
                    <a:pt x="266592" y="425381"/>
                  </a:lnTo>
                  <a:lnTo>
                    <a:pt x="313989" y="472778"/>
                  </a:lnTo>
                  <a:lnTo>
                    <a:pt x="313989" y="808597"/>
                  </a:lnTo>
                  <a:lnTo>
                    <a:pt x="271077" y="851509"/>
                  </a:lnTo>
                  <a:lnTo>
                    <a:pt x="271077" y="1171180"/>
                  </a:lnTo>
                  <a:lnTo>
                    <a:pt x="300682" y="1200785"/>
                  </a:lnTo>
                  <a:lnTo>
                    <a:pt x="300682" y="1249378"/>
                  </a:lnTo>
                  <a:lnTo>
                    <a:pt x="262256" y="1287804"/>
                  </a:lnTo>
                  <a:lnTo>
                    <a:pt x="230259" y="1287804"/>
                  </a:lnTo>
                  <a:lnTo>
                    <a:pt x="55023" y="1463040"/>
                  </a:lnTo>
                  <a:lnTo>
                    <a:pt x="55023" y="1494439"/>
                  </a:lnTo>
                  <a:lnTo>
                    <a:pt x="0" y="1549462"/>
                  </a:lnTo>
                  <a:lnTo>
                    <a:pt x="0" y="1696140"/>
                  </a:lnTo>
                  <a:lnTo>
                    <a:pt x="7326" y="1696140"/>
                  </a:lnTo>
                  <a:lnTo>
                    <a:pt x="7326" y="1552602"/>
                  </a:lnTo>
                  <a:lnTo>
                    <a:pt x="62349" y="1497430"/>
                  </a:lnTo>
                  <a:lnTo>
                    <a:pt x="62349" y="1466180"/>
                  </a:lnTo>
                  <a:close/>
                  <a:moveTo>
                    <a:pt x="20933" y="26016"/>
                  </a:moveTo>
                  <a:cubicBezTo>
                    <a:pt x="20933" y="15700"/>
                    <a:pt x="29306" y="7326"/>
                    <a:pt x="39622" y="7326"/>
                  </a:cubicBezTo>
                  <a:cubicBezTo>
                    <a:pt x="49939" y="7326"/>
                    <a:pt x="58312" y="15700"/>
                    <a:pt x="58312" y="26016"/>
                  </a:cubicBezTo>
                  <a:cubicBezTo>
                    <a:pt x="58312" y="36333"/>
                    <a:pt x="49939" y="44706"/>
                    <a:pt x="39622" y="44706"/>
                  </a:cubicBezTo>
                  <a:cubicBezTo>
                    <a:pt x="29306" y="44706"/>
                    <a:pt x="20933" y="36333"/>
                    <a:pt x="20933" y="2601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99" name="任意多边形: 形状 98"/>
            <p:cNvSpPr/>
            <p:nvPr/>
          </p:nvSpPr>
          <p:spPr>
            <a:xfrm>
              <a:off x="5959330" y="-828797"/>
              <a:ext cx="568171" cy="2138117"/>
            </a:xfrm>
            <a:custGeom>
              <a:avLst/>
              <a:gdLst>
                <a:gd name="connsiteX0" fmla="*/ 7476 w 568171"/>
                <a:gd name="connsiteY0" fmla="*/ 1714979 h 2138117"/>
                <a:gd name="connsiteX1" fmla="*/ 70722 w 568171"/>
                <a:gd name="connsiteY1" fmla="*/ 1651733 h 2138117"/>
                <a:gd name="connsiteX2" fmla="*/ 70722 w 568171"/>
                <a:gd name="connsiteY2" fmla="*/ 1526137 h 2138117"/>
                <a:gd name="connsiteX3" fmla="*/ 118718 w 568171"/>
                <a:gd name="connsiteY3" fmla="*/ 1478142 h 2138117"/>
                <a:gd name="connsiteX4" fmla="*/ 118718 w 568171"/>
                <a:gd name="connsiteY4" fmla="*/ 1100906 h 2138117"/>
                <a:gd name="connsiteX5" fmla="*/ 152509 w 568171"/>
                <a:gd name="connsiteY5" fmla="*/ 1067115 h 2138117"/>
                <a:gd name="connsiteX6" fmla="*/ 152509 w 568171"/>
                <a:gd name="connsiteY6" fmla="*/ 579833 h 2138117"/>
                <a:gd name="connsiteX7" fmla="*/ 121858 w 568171"/>
                <a:gd name="connsiteY7" fmla="*/ 549182 h 2138117"/>
                <a:gd name="connsiteX8" fmla="*/ 121858 w 568171"/>
                <a:gd name="connsiteY8" fmla="*/ 444968 h 2138117"/>
                <a:gd name="connsiteX9" fmla="*/ 223231 w 568171"/>
                <a:gd name="connsiteY9" fmla="*/ 343594 h 2138117"/>
                <a:gd name="connsiteX10" fmla="*/ 223231 w 568171"/>
                <a:gd name="connsiteY10" fmla="*/ 296346 h 2138117"/>
                <a:gd name="connsiteX11" fmla="*/ 315634 w 568171"/>
                <a:gd name="connsiteY11" fmla="*/ 203943 h 2138117"/>
                <a:gd name="connsiteX12" fmla="*/ 315634 w 568171"/>
                <a:gd name="connsiteY12" fmla="*/ 102570 h 2138117"/>
                <a:gd name="connsiteX13" fmla="*/ 345089 w 568171"/>
                <a:gd name="connsiteY13" fmla="*/ 73115 h 2138117"/>
                <a:gd name="connsiteX14" fmla="*/ 506121 w 568171"/>
                <a:gd name="connsiteY14" fmla="*/ 73115 h 2138117"/>
                <a:gd name="connsiteX15" fmla="*/ 532586 w 568171"/>
                <a:gd name="connsiteY15" fmla="*/ 46650 h 2138117"/>
                <a:gd name="connsiteX16" fmla="*/ 548285 w 568171"/>
                <a:gd name="connsiteY16" fmla="*/ 52032 h 2138117"/>
                <a:gd name="connsiteX17" fmla="*/ 574301 w 568171"/>
                <a:gd name="connsiteY17" fmla="*/ 26016 h 2138117"/>
                <a:gd name="connsiteX18" fmla="*/ 548285 w 568171"/>
                <a:gd name="connsiteY18" fmla="*/ 0 h 2138117"/>
                <a:gd name="connsiteX19" fmla="*/ 522269 w 568171"/>
                <a:gd name="connsiteY19" fmla="*/ 26016 h 2138117"/>
                <a:gd name="connsiteX20" fmla="*/ 527352 w 568171"/>
                <a:gd name="connsiteY20" fmla="*/ 41417 h 2138117"/>
                <a:gd name="connsiteX21" fmla="*/ 502981 w 568171"/>
                <a:gd name="connsiteY21" fmla="*/ 65788 h 2138117"/>
                <a:gd name="connsiteX22" fmla="*/ 341949 w 568171"/>
                <a:gd name="connsiteY22" fmla="*/ 65788 h 2138117"/>
                <a:gd name="connsiteX23" fmla="*/ 308158 w 568171"/>
                <a:gd name="connsiteY23" fmla="*/ 99579 h 2138117"/>
                <a:gd name="connsiteX24" fmla="*/ 308158 w 568171"/>
                <a:gd name="connsiteY24" fmla="*/ 200953 h 2138117"/>
                <a:gd name="connsiteX25" fmla="*/ 215755 w 568171"/>
                <a:gd name="connsiteY25" fmla="*/ 293356 h 2138117"/>
                <a:gd name="connsiteX26" fmla="*/ 215755 w 568171"/>
                <a:gd name="connsiteY26" fmla="*/ 340604 h 2138117"/>
                <a:gd name="connsiteX27" fmla="*/ 114382 w 568171"/>
                <a:gd name="connsiteY27" fmla="*/ 441977 h 2138117"/>
                <a:gd name="connsiteX28" fmla="*/ 114382 w 568171"/>
                <a:gd name="connsiteY28" fmla="*/ 552322 h 2138117"/>
                <a:gd name="connsiteX29" fmla="*/ 145033 w 568171"/>
                <a:gd name="connsiteY29" fmla="*/ 582973 h 2138117"/>
                <a:gd name="connsiteX30" fmla="*/ 145033 w 568171"/>
                <a:gd name="connsiteY30" fmla="*/ 1064124 h 2138117"/>
                <a:gd name="connsiteX31" fmla="*/ 111242 w 568171"/>
                <a:gd name="connsiteY31" fmla="*/ 1097916 h 2138117"/>
                <a:gd name="connsiteX32" fmla="*/ 111242 w 568171"/>
                <a:gd name="connsiteY32" fmla="*/ 1475151 h 2138117"/>
                <a:gd name="connsiteX33" fmla="*/ 63246 w 568171"/>
                <a:gd name="connsiteY33" fmla="*/ 1523147 h 2138117"/>
                <a:gd name="connsiteX34" fmla="*/ 63246 w 568171"/>
                <a:gd name="connsiteY34" fmla="*/ 1648743 h 2138117"/>
                <a:gd name="connsiteX35" fmla="*/ 0 w 568171"/>
                <a:gd name="connsiteY35" fmla="*/ 1711989 h 2138117"/>
                <a:gd name="connsiteX36" fmla="*/ 0 w 568171"/>
                <a:gd name="connsiteY36" fmla="*/ 1946584 h 2138117"/>
                <a:gd name="connsiteX37" fmla="*/ 142940 w 568171"/>
                <a:gd name="connsiteY37" fmla="*/ 2089523 h 2138117"/>
                <a:gd name="connsiteX38" fmla="*/ 142940 w 568171"/>
                <a:gd name="connsiteY38" fmla="*/ 2144995 h 2138117"/>
                <a:gd name="connsiteX39" fmla="*/ 150266 w 568171"/>
                <a:gd name="connsiteY39" fmla="*/ 2144995 h 2138117"/>
                <a:gd name="connsiteX40" fmla="*/ 150266 w 568171"/>
                <a:gd name="connsiteY40" fmla="*/ 2086384 h 2138117"/>
                <a:gd name="connsiteX41" fmla="*/ 7326 w 568171"/>
                <a:gd name="connsiteY41" fmla="*/ 1943444 h 2138117"/>
                <a:gd name="connsiteX42" fmla="*/ 7326 w 568171"/>
                <a:gd name="connsiteY42" fmla="*/ 1714979 h 2138117"/>
                <a:gd name="connsiteX43" fmla="*/ 548435 w 568171"/>
                <a:gd name="connsiteY43" fmla="*/ 7177 h 2138117"/>
                <a:gd name="connsiteX44" fmla="*/ 567124 w 568171"/>
                <a:gd name="connsiteY44" fmla="*/ 25867 h 2138117"/>
                <a:gd name="connsiteX45" fmla="*/ 548435 w 568171"/>
                <a:gd name="connsiteY45" fmla="*/ 44557 h 2138117"/>
                <a:gd name="connsiteX46" fmla="*/ 529745 w 568171"/>
                <a:gd name="connsiteY46" fmla="*/ 25867 h 2138117"/>
                <a:gd name="connsiteX47" fmla="*/ 548435 w 568171"/>
                <a:gd name="connsiteY47" fmla="*/ 7177 h 213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68171" h="2138117">
                  <a:moveTo>
                    <a:pt x="7476" y="1714979"/>
                  </a:moveTo>
                  <a:lnTo>
                    <a:pt x="70722" y="1651733"/>
                  </a:lnTo>
                  <a:lnTo>
                    <a:pt x="70722" y="1526137"/>
                  </a:lnTo>
                  <a:lnTo>
                    <a:pt x="118718" y="1478142"/>
                  </a:lnTo>
                  <a:lnTo>
                    <a:pt x="118718" y="1100906"/>
                  </a:lnTo>
                  <a:lnTo>
                    <a:pt x="152509" y="1067115"/>
                  </a:lnTo>
                  <a:lnTo>
                    <a:pt x="152509" y="579833"/>
                  </a:lnTo>
                  <a:lnTo>
                    <a:pt x="121858" y="549182"/>
                  </a:lnTo>
                  <a:lnTo>
                    <a:pt x="121858" y="444968"/>
                  </a:lnTo>
                  <a:lnTo>
                    <a:pt x="223231" y="343594"/>
                  </a:lnTo>
                  <a:lnTo>
                    <a:pt x="223231" y="296346"/>
                  </a:lnTo>
                  <a:lnTo>
                    <a:pt x="315634" y="203943"/>
                  </a:lnTo>
                  <a:lnTo>
                    <a:pt x="315634" y="102570"/>
                  </a:lnTo>
                  <a:lnTo>
                    <a:pt x="345089" y="73115"/>
                  </a:lnTo>
                  <a:lnTo>
                    <a:pt x="506121" y="73115"/>
                  </a:lnTo>
                  <a:lnTo>
                    <a:pt x="532586" y="46650"/>
                  </a:lnTo>
                  <a:cubicBezTo>
                    <a:pt x="536922" y="49939"/>
                    <a:pt x="542304" y="52032"/>
                    <a:pt x="548285" y="52032"/>
                  </a:cubicBezTo>
                  <a:cubicBezTo>
                    <a:pt x="562639" y="52032"/>
                    <a:pt x="574301" y="40370"/>
                    <a:pt x="574301" y="26016"/>
                  </a:cubicBezTo>
                  <a:cubicBezTo>
                    <a:pt x="574301" y="11662"/>
                    <a:pt x="562639" y="0"/>
                    <a:pt x="548285" y="0"/>
                  </a:cubicBezTo>
                  <a:cubicBezTo>
                    <a:pt x="533931" y="0"/>
                    <a:pt x="522269" y="11662"/>
                    <a:pt x="522269" y="26016"/>
                  </a:cubicBezTo>
                  <a:cubicBezTo>
                    <a:pt x="522269" y="31847"/>
                    <a:pt x="524213" y="37081"/>
                    <a:pt x="527352" y="41417"/>
                  </a:cubicBezTo>
                  <a:lnTo>
                    <a:pt x="502981" y="65788"/>
                  </a:lnTo>
                  <a:lnTo>
                    <a:pt x="341949" y="65788"/>
                  </a:lnTo>
                  <a:lnTo>
                    <a:pt x="308158" y="99579"/>
                  </a:lnTo>
                  <a:lnTo>
                    <a:pt x="308158" y="200953"/>
                  </a:lnTo>
                  <a:lnTo>
                    <a:pt x="215755" y="293356"/>
                  </a:lnTo>
                  <a:lnTo>
                    <a:pt x="215755" y="340604"/>
                  </a:lnTo>
                  <a:lnTo>
                    <a:pt x="114382" y="441977"/>
                  </a:lnTo>
                  <a:lnTo>
                    <a:pt x="114382" y="552322"/>
                  </a:lnTo>
                  <a:lnTo>
                    <a:pt x="145033" y="582973"/>
                  </a:lnTo>
                  <a:lnTo>
                    <a:pt x="145033" y="1064124"/>
                  </a:lnTo>
                  <a:lnTo>
                    <a:pt x="111242" y="1097916"/>
                  </a:lnTo>
                  <a:lnTo>
                    <a:pt x="111242" y="1475151"/>
                  </a:lnTo>
                  <a:lnTo>
                    <a:pt x="63246" y="1523147"/>
                  </a:lnTo>
                  <a:lnTo>
                    <a:pt x="63246" y="1648743"/>
                  </a:lnTo>
                  <a:lnTo>
                    <a:pt x="0" y="1711989"/>
                  </a:lnTo>
                  <a:lnTo>
                    <a:pt x="0" y="1946584"/>
                  </a:lnTo>
                  <a:lnTo>
                    <a:pt x="142940" y="2089523"/>
                  </a:lnTo>
                  <a:lnTo>
                    <a:pt x="142940" y="2144995"/>
                  </a:lnTo>
                  <a:lnTo>
                    <a:pt x="150266" y="2144995"/>
                  </a:lnTo>
                  <a:lnTo>
                    <a:pt x="150266" y="2086384"/>
                  </a:lnTo>
                  <a:lnTo>
                    <a:pt x="7326" y="1943444"/>
                  </a:lnTo>
                  <a:lnTo>
                    <a:pt x="7326" y="1714979"/>
                  </a:lnTo>
                  <a:close/>
                  <a:moveTo>
                    <a:pt x="548435" y="7177"/>
                  </a:moveTo>
                  <a:cubicBezTo>
                    <a:pt x="558751" y="7177"/>
                    <a:pt x="567124" y="15550"/>
                    <a:pt x="567124" y="25867"/>
                  </a:cubicBezTo>
                  <a:cubicBezTo>
                    <a:pt x="567124" y="36183"/>
                    <a:pt x="558751" y="44557"/>
                    <a:pt x="548435" y="44557"/>
                  </a:cubicBezTo>
                  <a:cubicBezTo>
                    <a:pt x="538118" y="44557"/>
                    <a:pt x="529745" y="36183"/>
                    <a:pt x="529745" y="25867"/>
                  </a:cubicBezTo>
                  <a:cubicBezTo>
                    <a:pt x="529894" y="15400"/>
                    <a:pt x="538267" y="7177"/>
                    <a:pt x="548435" y="717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100" name="任意多边形: 形状 99"/>
            <p:cNvSpPr/>
            <p:nvPr/>
          </p:nvSpPr>
          <p:spPr>
            <a:xfrm>
              <a:off x="5997457" y="-682568"/>
              <a:ext cx="373797" cy="1988598"/>
            </a:xfrm>
            <a:custGeom>
              <a:avLst/>
              <a:gdLst>
                <a:gd name="connsiteX0" fmla="*/ 7476 w 373796"/>
                <a:gd name="connsiteY0" fmla="*/ 1586842 h 1988598"/>
                <a:gd name="connsiteX1" fmla="*/ 72965 w 373796"/>
                <a:gd name="connsiteY1" fmla="*/ 1521352 h 1988598"/>
                <a:gd name="connsiteX2" fmla="*/ 72965 w 373796"/>
                <a:gd name="connsiteY2" fmla="*/ 1399644 h 1988598"/>
                <a:gd name="connsiteX3" fmla="*/ 111541 w 373796"/>
                <a:gd name="connsiteY3" fmla="*/ 1361068 h 1988598"/>
                <a:gd name="connsiteX4" fmla="*/ 111541 w 373796"/>
                <a:gd name="connsiteY4" fmla="*/ 992355 h 1988598"/>
                <a:gd name="connsiteX5" fmla="*/ 155948 w 373796"/>
                <a:gd name="connsiteY5" fmla="*/ 947949 h 1988598"/>
                <a:gd name="connsiteX6" fmla="*/ 155948 w 373796"/>
                <a:gd name="connsiteY6" fmla="*/ 405644 h 1988598"/>
                <a:gd name="connsiteX7" fmla="*/ 387552 w 373796"/>
                <a:gd name="connsiteY7" fmla="*/ 174040 h 1988598"/>
                <a:gd name="connsiteX8" fmla="*/ 387552 w 373796"/>
                <a:gd name="connsiteY8" fmla="*/ 119017 h 1988598"/>
                <a:gd name="connsiteX9" fmla="*/ 350023 w 373796"/>
                <a:gd name="connsiteY9" fmla="*/ 81488 h 1988598"/>
                <a:gd name="connsiteX10" fmla="*/ 350023 w 373796"/>
                <a:gd name="connsiteY10" fmla="*/ 51733 h 1988598"/>
                <a:gd name="connsiteX11" fmla="*/ 373348 w 373796"/>
                <a:gd name="connsiteY11" fmla="*/ 26016 h 1988598"/>
                <a:gd name="connsiteX12" fmla="*/ 347332 w 373796"/>
                <a:gd name="connsiteY12" fmla="*/ 0 h 1988598"/>
                <a:gd name="connsiteX13" fmla="*/ 321316 w 373796"/>
                <a:gd name="connsiteY13" fmla="*/ 26016 h 1988598"/>
                <a:gd name="connsiteX14" fmla="*/ 342547 w 373796"/>
                <a:gd name="connsiteY14" fmla="*/ 51584 h 1988598"/>
                <a:gd name="connsiteX15" fmla="*/ 342547 w 373796"/>
                <a:gd name="connsiteY15" fmla="*/ 84627 h 1988598"/>
                <a:gd name="connsiteX16" fmla="*/ 380077 w 373796"/>
                <a:gd name="connsiteY16" fmla="*/ 122157 h 1988598"/>
                <a:gd name="connsiteX17" fmla="*/ 380077 w 373796"/>
                <a:gd name="connsiteY17" fmla="*/ 171049 h 1988598"/>
                <a:gd name="connsiteX18" fmla="*/ 148472 w 373796"/>
                <a:gd name="connsiteY18" fmla="*/ 402654 h 1988598"/>
                <a:gd name="connsiteX19" fmla="*/ 148472 w 373796"/>
                <a:gd name="connsiteY19" fmla="*/ 944958 h 1988598"/>
                <a:gd name="connsiteX20" fmla="*/ 104065 w 373796"/>
                <a:gd name="connsiteY20" fmla="*/ 989365 h 1988598"/>
                <a:gd name="connsiteX21" fmla="*/ 104065 w 373796"/>
                <a:gd name="connsiteY21" fmla="*/ 1358078 h 1988598"/>
                <a:gd name="connsiteX22" fmla="*/ 65489 w 373796"/>
                <a:gd name="connsiteY22" fmla="*/ 1396654 h 1988598"/>
                <a:gd name="connsiteX23" fmla="*/ 65489 w 373796"/>
                <a:gd name="connsiteY23" fmla="*/ 1518362 h 1988598"/>
                <a:gd name="connsiteX24" fmla="*/ 0 w 373796"/>
                <a:gd name="connsiteY24" fmla="*/ 1583852 h 1988598"/>
                <a:gd name="connsiteX25" fmla="*/ 0 w 373796"/>
                <a:gd name="connsiteY25" fmla="*/ 1773890 h 1988598"/>
                <a:gd name="connsiteX26" fmla="*/ 193029 w 373796"/>
                <a:gd name="connsiteY26" fmla="*/ 1966918 h 1988598"/>
                <a:gd name="connsiteX27" fmla="*/ 193029 w 373796"/>
                <a:gd name="connsiteY27" fmla="*/ 1998766 h 1988598"/>
                <a:gd name="connsiteX28" fmla="*/ 200355 w 373796"/>
                <a:gd name="connsiteY28" fmla="*/ 1998766 h 1988598"/>
                <a:gd name="connsiteX29" fmla="*/ 200355 w 373796"/>
                <a:gd name="connsiteY29" fmla="*/ 1963778 h 1988598"/>
                <a:gd name="connsiteX30" fmla="*/ 7326 w 373796"/>
                <a:gd name="connsiteY30" fmla="*/ 1770750 h 1988598"/>
                <a:gd name="connsiteX31" fmla="*/ 7326 w 373796"/>
                <a:gd name="connsiteY31" fmla="*/ 1586842 h 1988598"/>
                <a:gd name="connsiteX32" fmla="*/ 328792 w 373796"/>
                <a:gd name="connsiteY32" fmla="*/ 25867 h 1988598"/>
                <a:gd name="connsiteX33" fmla="*/ 347482 w 373796"/>
                <a:gd name="connsiteY33" fmla="*/ 7177 h 1988598"/>
                <a:gd name="connsiteX34" fmla="*/ 366171 w 373796"/>
                <a:gd name="connsiteY34" fmla="*/ 25867 h 1988598"/>
                <a:gd name="connsiteX35" fmla="*/ 347482 w 373796"/>
                <a:gd name="connsiteY35" fmla="*/ 44557 h 1988598"/>
                <a:gd name="connsiteX36" fmla="*/ 328792 w 373796"/>
                <a:gd name="connsiteY36" fmla="*/ 25867 h 198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73796" h="1988598">
                  <a:moveTo>
                    <a:pt x="7476" y="1586842"/>
                  </a:moveTo>
                  <a:lnTo>
                    <a:pt x="72965" y="1521352"/>
                  </a:lnTo>
                  <a:lnTo>
                    <a:pt x="72965" y="1399644"/>
                  </a:lnTo>
                  <a:lnTo>
                    <a:pt x="111541" y="1361068"/>
                  </a:lnTo>
                  <a:lnTo>
                    <a:pt x="111541" y="992355"/>
                  </a:lnTo>
                  <a:lnTo>
                    <a:pt x="155948" y="947949"/>
                  </a:lnTo>
                  <a:lnTo>
                    <a:pt x="155948" y="405644"/>
                  </a:lnTo>
                  <a:lnTo>
                    <a:pt x="387552" y="174040"/>
                  </a:lnTo>
                  <a:lnTo>
                    <a:pt x="387552" y="119017"/>
                  </a:lnTo>
                  <a:lnTo>
                    <a:pt x="350023" y="81488"/>
                  </a:lnTo>
                  <a:lnTo>
                    <a:pt x="350023" y="51733"/>
                  </a:lnTo>
                  <a:cubicBezTo>
                    <a:pt x="363181" y="50388"/>
                    <a:pt x="373348" y="39473"/>
                    <a:pt x="373348" y="26016"/>
                  </a:cubicBezTo>
                  <a:cubicBezTo>
                    <a:pt x="373348" y="11662"/>
                    <a:pt x="361686" y="0"/>
                    <a:pt x="347332" y="0"/>
                  </a:cubicBezTo>
                  <a:cubicBezTo>
                    <a:pt x="332978" y="0"/>
                    <a:pt x="321316" y="11662"/>
                    <a:pt x="321316" y="26016"/>
                  </a:cubicBezTo>
                  <a:cubicBezTo>
                    <a:pt x="321316" y="38725"/>
                    <a:pt x="330436" y="49341"/>
                    <a:pt x="342547" y="51584"/>
                  </a:cubicBezTo>
                  <a:lnTo>
                    <a:pt x="342547" y="84627"/>
                  </a:lnTo>
                  <a:lnTo>
                    <a:pt x="380077" y="122157"/>
                  </a:lnTo>
                  <a:lnTo>
                    <a:pt x="380077" y="171049"/>
                  </a:lnTo>
                  <a:lnTo>
                    <a:pt x="148472" y="402654"/>
                  </a:lnTo>
                  <a:lnTo>
                    <a:pt x="148472" y="944958"/>
                  </a:lnTo>
                  <a:lnTo>
                    <a:pt x="104065" y="989365"/>
                  </a:lnTo>
                  <a:lnTo>
                    <a:pt x="104065" y="1358078"/>
                  </a:lnTo>
                  <a:lnTo>
                    <a:pt x="65489" y="1396654"/>
                  </a:lnTo>
                  <a:lnTo>
                    <a:pt x="65489" y="1518362"/>
                  </a:lnTo>
                  <a:lnTo>
                    <a:pt x="0" y="1583852"/>
                  </a:lnTo>
                  <a:lnTo>
                    <a:pt x="0" y="1773890"/>
                  </a:lnTo>
                  <a:lnTo>
                    <a:pt x="193029" y="1966918"/>
                  </a:lnTo>
                  <a:lnTo>
                    <a:pt x="193029" y="1998766"/>
                  </a:lnTo>
                  <a:lnTo>
                    <a:pt x="200355" y="1998766"/>
                  </a:lnTo>
                  <a:lnTo>
                    <a:pt x="200355" y="1963778"/>
                  </a:lnTo>
                  <a:lnTo>
                    <a:pt x="7326" y="1770750"/>
                  </a:lnTo>
                  <a:lnTo>
                    <a:pt x="7326" y="1586842"/>
                  </a:lnTo>
                  <a:close/>
                  <a:moveTo>
                    <a:pt x="328792" y="25867"/>
                  </a:moveTo>
                  <a:cubicBezTo>
                    <a:pt x="328792" y="15550"/>
                    <a:pt x="337165" y="7177"/>
                    <a:pt x="347482" y="7177"/>
                  </a:cubicBezTo>
                  <a:cubicBezTo>
                    <a:pt x="357798" y="7177"/>
                    <a:pt x="366171" y="15550"/>
                    <a:pt x="366171" y="25867"/>
                  </a:cubicBezTo>
                  <a:cubicBezTo>
                    <a:pt x="366171" y="36183"/>
                    <a:pt x="357798" y="44557"/>
                    <a:pt x="347482" y="44557"/>
                  </a:cubicBezTo>
                  <a:cubicBezTo>
                    <a:pt x="337165" y="44557"/>
                    <a:pt x="328792" y="36034"/>
                    <a:pt x="328792" y="2586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101" name="任意多边形: 形状 100"/>
            <p:cNvSpPr/>
            <p:nvPr/>
          </p:nvSpPr>
          <p:spPr>
            <a:xfrm>
              <a:off x="6129333" y="-616929"/>
              <a:ext cx="508364" cy="1928791"/>
            </a:xfrm>
            <a:custGeom>
              <a:avLst/>
              <a:gdLst>
                <a:gd name="connsiteX0" fmla="*/ 483843 w 508363"/>
                <a:gd name="connsiteY0" fmla="*/ 0 h 1928791"/>
                <a:gd name="connsiteX1" fmla="*/ 457826 w 508363"/>
                <a:gd name="connsiteY1" fmla="*/ 26016 h 1928791"/>
                <a:gd name="connsiteX2" fmla="*/ 462162 w 508363"/>
                <a:gd name="connsiteY2" fmla="*/ 40370 h 1928791"/>
                <a:gd name="connsiteX3" fmla="*/ 428521 w 508363"/>
                <a:gd name="connsiteY3" fmla="*/ 74012 h 1928791"/>
                <a:gd name="connsiteX4" fmla="*/ 329988 w 508363"/>
                <a:gd name="connsiteY4" fmla="*/ 74012 h 1928791"/>
                <a:gd name="connsiteX5" fmla="*/ 61751 w 508363"/>
                <a:gd name="connsiteY5" fmla="*/ 342248 h 1928791"/>
                <a:gd name="connsiteX6" fmla="*/ 61751 w 508363"/>
                <a:gd name="connsiteY6" fmla="*/ 473376 h 1928791"/>
                <a:gd name="connsiteX7" fmla="*/ 82086 w 508363"/>
                <a:gd name="connsiteY7" fmla="*/ 493711 h 1928791"/>
                <a:gd name="connsiteX8" fmla="*/ 82086 w 508363"/>
                <a:gd name="connsiteY8" fmla="*/ 804111 h 1928791"/>
                <a:gd name="connsiteX9" fmla="*/ 55322 w 508363"/>
                <a:gd name="connsiteY9" fmla="*/ 830875 h 1928791"/>
                <a:gd name="connsiteX10" fmla="*/ 55322 w 508363"/>
                <a:gd name="connsiteY10" fmla="*/ 901000 h 1928791"/>
                <a:gd name="connsiteX11" fmla="*/ 0 w 508363"/>
                <a:gd name="connsiteY11" fmla="*/ 956321 h 1928791"/>
                <a:gd name="connsiteX12" fmla="*/ 0 w 508363"/>
                <a:gd name="connsiteY12" fmla="*/ 1346266 h 1928791"/>
                <a:gd name="connsiteX13" fmla="*/ 298140 w 508363"/>
                <a:gd name="connsiteY13" fmla="*/ 1644406 h 1928791"/>
                <a:gd name="connsiteX14" fmla="*/ 298140 w 508363"/>
                <a:gd name="connsiteY14" fmla="*/ 1932978 h 1928791"/>
                <a:gd name="connsiteX15" fmla="*/ 305467 w 508363"/>
                <a:gd name="connsiteY15" fmla="*/ 1932978 h 1928791"/>
                <a:gd name="connsiteX16" fmla="*/ 305467 w 508363"/>
                <a:gd name="connsiteY16" fmla="*/ 1641266 h 1928791"/>
                <a:gd name="connsiteX17" fmla="*/ 7326 w 508363"/>
                <a:gd name="connsiteY17" fmla="*/ 1343126 h 1928791"/>
                <a:gd name="connsiteX18" fmla="*/ 7326 w 508363"/>
                <a:gd name="connsiteY18" fmla="*/ 959312 h 1928791"/>
                <a:gd name="connsiteX19" fmla="*/ 62648 w 508363"/>
                <a:gd name="connsiteY19" fmla="*/ 903990 h 1928791"/>
                <a:gd name="connsiteX20" fmla="*/ 62648 w 508363"/>
                <a:gd name="connsiteY20" fmla="*/ 833866 h 1928791"/>
                <a:gd name="connsiteX21" fmla="*/ 89412 w 508363"/>
                <a:gd name="connsiteY21" fmla="*/ 807102 h 1928791"/>
                <a:gd name="connsiteX22" fmla="*/ 89412 w 508363"/>
                <a:gd name="connsiteY22" fmla="*/ 490571 h 1928791"/>
                <a:gd name="connsiteX23" fmla="*/ 69078 w 508363"/>
                <a:gd name="connsiteY23" fmla="*/ 470236 h 1928791"/>
                <a:gd name="connsiteX24" fmla="*/ 69078 w 508363"/>
                <a:gd name="connsiteY24" fmla="*/ 345239 h 1928791"/>
                <a:gd name="connsiteX25" fmla="*/ 332978 w 508363"/>
                <a:gd name="connsiteY25" fmla="*/ 81338 h 1928791"/>
                <a:gd name="connsiteX26" fmla="*/ 431511 w 508363"/>
                <a:gd name="connsiteY26" fmla="*/ 81338 h 1928791"/>
                <a:gd name="connsiteX27" fmla="*/ 467096 w 508363"/>
                <a:gd name="connsiteY27" fmla="*/ 45753 h 1928791"/>
                <a:gd name="connsiteX28" fmla="*/ 483843 w 508363"/>
                <a:gd name="connsiteY28" fmla="*/ 52032 h 1928791"/>
                <a:gd name="connsiteX29" fmla="*/ 509859 w 508363"/>
                <a:gd name="connsiteY29" fmla="*/ 26016 h 1928791"/>
                <a:gd name="connsiteX30" fmla="*/ 483843 w 508363"/>
                <a:gd name="connsiteY30" fmla="*/ 0 h 1928791"/>
                <a:gd name="connsiteX31" fmla="*/ 483843 w 508363"/>
                <a:gd name="connsiteY31" fmla="*/ 44706 h 1928791"/>
                <a:gd name="connsiteX32" fmla="*/ 465153 w 508363"/>
                <a:gd name="connsiteY32" fmla="*/ 26016 h 1928791"/>
                <a:gd name="connsiteX33" fmla="*/ 483843 w 508363"/>
                <a:gd name="connsiteY33" fmla="*/ 7326 h 1928791"/>
                <a:gd name="connsiteX34" fmla="*/ 502532 w 508363"/>
                <a:gd name="connsiteY34" fmla="*/ 26016 h 1928791"/>
                <a:gd name="connsiteX35" fmla="*/ 483843 w 508363"/>
                <a:gd name="connsiteY35" fmla="*/ 44706 h 192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08363" h="1928791">
                  <a:moveTo>
                    <a:pt x="483843" y="0"/>
                  </a:moveTo>
                  <a:cubicBezTo>
                    <a:pt x="469489" y="0"/>
                    <a:pt x="457826" y="11662"/>
                    <a:pt x="457826" y="26016"/>
                  </a:cubicBezTo>
                  <a:cubicBezTo>
                    <a:pt x="457826" y="31249"/>
                    <a:pt x="459471" y="36183"/>
                    <a:pt x="462162" y="40370"/>
                  </a:cubicBezTo>
                  <a:lnTo>
                    <a:pt x="428521" y="74012"/>
                  </a:lnTo>
                  <a:lnTo>
                    <a:pt x="329988" y="74012"/>
                  </a:lnTo>
                  <a:lnTo>
                    <a:pt x="61751" y="342248"/>
                  </a:lnTo>
                  <a:lnTo>
                    <a:pt x="61751" y="473376"/>
                  </a:lnTo>
                  <a:lnTo>
                    <a:pt x="82086" y="493711"/>
                  </a:lnTo>
                  <a:lnTo>
                    <a:pt x="82086" y="804111"/>
                  </a:lnTo>
                  <a:lnTo>
                    <a:pt x="55322" y="830875"/>
                  </a:lnTo>
                  <a:lnTo>
                    <a:pt x="55322" y="901000"/>
                  </a:lnTo>
                  <a:lnTo>
                    <a:pt x="0" y="956321"/>
                  </a:lnTo>
                  <a:lnTo>
                    <a:pt x="0" y="1346266"/>
                  </a:lnTo>
                  <a:lnTo>
                    <a:pt x="298140" y="1644406"/>
                  </a:lnTo>
                  <a:lnTo>
                    <a:pt x="298140" y="1932978"/>
                  </a:lnTo>
                  <a:lnTo>
                    <a:pt x="305467" y="1932978"/>
                  </a:lnTo>
                  <a:lnTo>
                    <a:pt x="305467" y="1641266"/>
                  </a:lnTo>
                  <a:lnTo>
                    <a:pt x="7326" y="1343126"/>
                  </a:lnTo>
                  <a:lnTo>
                    <a:pt x="7326" y="959312"/>
                  </a:lnTo>
                  <a:lnTo>
                    <a:pt x="62648" y="903990"/>
                  </a:lnTo>
                  <a:lnTo>
                    <a:pt x="62648" y="833866"/>
                  </a:lnTo>
                  <a:lnTo>
                    <a:pt x="89412" y="807102"/>
                  </a:lnTo>
                  <a:lnTo>
                    <a:pt x="89412" y="490571"/>
                  </a:lnTo>
                  <a:lnTo>
                    <a:pt x="69078" y="470236"/>
                  </a:lnTo>
                  <a:lnTo>
                    <a:pt x="69078" y="345239"/>
                  </a:lnTo>
                  <a:lnTo>
                    <a:pt x="332978" y="81338"/>
                  </a:lnTo>
                  <a:lnTo>
                    <a:pt x="431511" y="81338"/>
                  </a:lnTo>
                  <a:lnTo>
                    <a:pt x="467096" y="45753"/>
                  </a:lnTo>
                  <a:cubicBezTo>
                    <a:pt x="471582" y="49640"/>
                    <a:pt x="477413" y="52032"/>
                    <a:pt x="483843" y="52032"/>
                  </a:cubicBezTo>
                  <a:cubicBezTo>
                    <a:pt x="498196" y="52032"/>
                    <a:pt x="509859" y="40370"/>
                    <a:pt x="509859" y="26016"/>
                  </a:cubicBezTo>
                  <a:cubicBezTo>
                    <a:pt x="509859" y="11662"/>
                    <a:pt x="498196" y="0"/>
                    <a:pt x="483843" y="0"/>
                  </a:cubicBezTo>
                  <a:close/>
                  <a:moveTo>
                    <a:pt x="483843" y="44706"/>
                  </a:moveTo>
                  <a:cubicBezTo>
                    <a:pt x="473526" y="44706"/>
                    <a:pt x="465153" y="36333"/>
                    <a:pt x="465153" y="26016"/>
                  </a:cubicBezTo>
                  <a:cubicBezTo>
                    <a:pt x="465153" y="15699"/>
                    <a:pt x="473526" y="7326"/>
                    <a:pt x="483843" y="7326"/>
                  </a:cubicBezTo>
                  <a:cubicBezTo>
                    <a:pt x="494159" y="7326"/>
                    <a:pt x="502532" y="15699"/>
                    <a:pt x="502532" y="26016"/>
                  </a:cubicBezTo>
                  <a:cubicBezTo>
                    <a:pt x="502383" y="36333"/>
                    <a:pt x="494010" y="44706"/>
                    <a:pt x="483843" y="4470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102" name="任意多边形: 形状 101"/>
            <p:cNvSpPr/>
            <p:nvPr/>
          </p:nvSpPr>
          <p:spPr>
            <a:xfrm>
              <a:off x="6174039" y="-357664"/>
              <a:ext cx="313989" cy="1659657"/>
            </a:xfrm>
            <a:custGeom>
              <a:avLst/>
              <a:gdLst>
                <a:gd name="connsiteX0" fmla="*/ 296197 w 313989"/>
                <a:gd name="connsiteY0" fmla="*/ 0 h 1659657"/>
                <a:gd name="connsiteX1" fmla="*/ 270180 w 313989"/>
                <a:gd name="connsiteY1" fmla="*/ 26016 h 1659657"/>
                <a:gd name="connsiteX2" fmla="*/ 292459 w 313989"/>
                <a:gd name="connsiteY2" fmla="*/ 51584 h 1659657"/>
                <a:gd name="connsiteX3" fmla="*/ 292459 w 313989"/>
                <a:gd name="connsiteY3" fmla="*/ 103018 h 1659657"/>
                <a:gd name="connsiteX4" fmla="*/ 95094 w 313989"/>
                <a:gd name="connsiteY4" fmla="*/ 300383 h 1659657"/>
                <a:gd name="connsiteX5" fmla="*/ 95094 w 313989"/>
                <a:gd name="connsiteY5" fmla="*/ 603607 h 1659657"/>
                <a:gd name="connsiteX6" fmla="*/ 46052 w 313989"/>
                <a:gd name="connsiteY6" fmla="*/ 652649 h 1659657"/>
                <a:gd name="connsiteX7" fmla="*/ 46052 w 313989"/>
                <a:gd name="connsiteY7" fmla="*/ 692870 h 1659657"/>
                <a:gd name="connsiteX8" fmla="*/ 0 w 313989"/>
                <a:gd name="connsiteY8" fmla="*/ 738922 h 1659657"/>
                <a:gd name="connsiteX9" fmla="*/ 0 w 313989"/>
                <a:gd name="connsiteY9" fmla="*/ 1067115 h 1659657"/>
                <a:gd name="connsiteX10" fmla="*/ 29007 w 313989"/>
                <a:gd name="connsiteY10" fmla="*/ 1096121 h 1659657"/>
                <a:gd name="connsiteX11" fmla="*/ 71919 w 313989"/>
                <a:gd name="connsiteY11" fmla="*/ 1096121 h 1659657"/>
                <a:gd name="connsiteX12" fmla="*/ 244762 w 313989"/>
                <a:gd name="connsiteY12" fmla="*/ 1269115 h 1659657"/>
                <a:gd name="connsiteX13" fmla="*/ 244762 w 313989"/>
                <a:gd name="connsiteY13" fmla="*/ 1317110 h 1659657"/>
                <a:gd name="connsiteX14" fmla="*/ 280497 w 313989"/>
                <a:gd name="connsiteY14" fmla="*/ 1352845 h 1659657"/>
                <a:gd name="connsiteX15" fmla="*/ 280497 w 313989"/>
                <a:gd name="connsiteY15" fmla="*/ 1673413 h 1659657"/>
                <a:gd name="connsiteX16" fmla="*/ 287824 w 313989"/>
                <a:gd name="connsiteY16" fmla="*/ 1673413 h 1659657"/>
                <a:gd name="connsiteX17" fmla="*/ 287824 w 313989"/>
                <a:gd name="connsiteY17" fmla="*/ 1349705 h 1659657"/>
                <a:gd name="connsiteX18" fmla="*/ 252089 w 313989"/>
                <a:gd name="connsiteY18" fmla="*/ 1313970 h 1659657"/>
                <a:gd name="connsiteX19" fmla="*/ 252089 w 313989"/>
                <a:gd name="connsiteY19" fmla="*/ 1265975 h 1659657"/>
                <a:gd name="connsiteX20" fmla="*/ 74909 w 313989"/>
                <a:gd name="connsiteY20" fmla="*/ 1088646 h 1659657"/>
                <a:gd name="connsiteX21" fmla="*/ 31997 w 313989"/>
                <a:gd name="connsiteY21" fmla="*/ 1088646 h 1659657"/>
                <a:gd name="connsiteX22" fmla="*/ 7326 w 313989"/>
                <a:gd name="connsiteY22" fmla="*/ 1063975 h 1659657"/>
                <a:gd name="connsiteX23" fmla="*/ 7326 w 313989"/>
                <a:gd name="connsiteY23" fmla="*/ 742061 h 1659657"/>
                <a:gd name="connsiteX24" fmla="*/ 53378 w 313989"/>
                <a:gd name="connsiteY24" fmla="*/ 696009 h 1659657"/>
                <a:gd name="connsiteX25" fmla="*/ 53378 w 313989"/>
                <a:gd name="connsiteY25" fmla="*/ 655789 h 1659657"/>
                <a:gd name="connsiteX26" fmla="*/ 102420 w 313989"/>
                <a:gd name="connsiteY26" fmla="*/ 606747 h 1659657"/>
                <a:gd name="connsiteX27" fmla="*/ 102420 w 313989"/>
                <a:gd name="connsiteY27" fmla="*/ 303523 h 1659657"/>
                <a:gd name="connsiteX28" fmla="*/ 299935 w 313989"/>
                <a:gd name="connsiteY28" fmla="*/ 106158 h 1659657"/>
                <a:gd name="connsiteX29" fmla="*/ 299935 w 313989"/>
                <a:gd name="connsiteY29" fmla="*/ 51584 h 1659657"/>
                <a:gd name="connsiteX30" fmla="*/ 322213 w 313989"/>
                <a:gd name="connsiteY30" fmla="*/ 26016 h 1659657"/>
                <a:gd name="connsiteX31" fmla="*/ 296197 w 313989"/>
                <a:gd name="connsiteY31" fmla="*/ 0 h 1659657"/>
                <a:gd name="connsiteX32" fmla="*/ 296197 w 313989"/>
                <a:gd name="connsiteY32" fmla="*/ 44557 h 1659657"/>
                <a:gd name="connsiteX33" fmla="*/ 277507 w 313989"/>
                <a:gd name="connsiteY33" fmla="*/ 25867 h 1659657"/>
                <a:gd name="connsiteX34" fmla="*/ 296197 w 313989"/>
                <a:gd name="connsiteY34" fmla="*/ 7177 h 1659657"/>
                <a:gd name="connsiteX35" fmla="*/ 314887 w 313989"/>
                <a:gd name="connsiteY35" fmla="*/ 25867 h 1659657"/>
                <a:gd name="connsiteX36" fmla="*/ 296197 w 313989"/>
                <a:gd name="connsiteY36" fmla="*/ 44557 h 1659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13989" h="1659657">
                  <a:moveTo>
                    <a:pt x="296197" y="0"/>
                  </a:moveTo>
                  <a:cubicBezTo>
                    <a:pt x="281843" y="0"/>
                    <a:pt x="270180" y="11662"/>
                    <a:pt x="270180" y="26016"/>
                  </a:cubicBezTo>
                  <a:cubicBezTo>
                    <a:pt x="270180" y="39174"/>
                    <a:pt x="279899" y="49790"/>
                    <a:pt x="292459" y="51584"/>
                  </a:cubicBezTo>
                  <a:lnTo>
                    <a:pt x="292459" y="103018"/>
                  </a:lnTo>
                  <a:lnTo>
                    <a:pt x="95094" y="300383"/>
                  </a:lnTo>
                  <a:lnTo>
                    <a:pt x="95094" y="603607"/>
                  </a:lnTo>
                  <a:lnTo>
                    <a:pt x="46052" y="652649"/>
                  </a:lnTo>
                  <a:lnTo>
                    <a:pt x="46052" y="692870"/>
                  </a:lnTo>
                  <a:lnTo>
                    <a:pt x="0" y="738922"/>
                  </a:lnTo>
                  <a:lnTo>
                    <a:pt x="0" y="1067115"/>
                  </a:lnTo>
                  <a:lnTo>
                    <a:pt x="29007" y="1096121"/>
                  </a:lnTo>
                  <a:lnTo>
                    <a:pt x="71919" y="1096121"/>
                  </a:lnTo>
                  <a:lnTo>
                    <a:pt x="244762" y="1269115"/>
                  </a:lnTo>
                  <a:lnTo>
                    <a:pt x="244762" y="1317110"/>
                  </a:lnTo>
                  <a:lnTo>
                    <a:pt x="280497" y="1352845"/>
                  </a:lnTo>
                  <a:lnTo>
                    <a:pt x="280497" y="1673413"/>
                  </a:lnTo>
                  <a:lnTo>
                    <a:pt x="287824" y="1673413"/>
                  </a:lnTo>
                  <a:lnTo>
                    <a:pt x="287824" y="1349705"/>
                  </a:lnTo>
                  <a:lnTo>
                    <a:pt x="252089" y="1313970"/>
                  </a:lnTo>
                  <a:lnTo>
                    <a:pt x="252089" y="1265975"/>
                  </a:lnTo>
                  <a:lnTo>
                    <a:pt x="74909" y="1088646"/>
                  </a:lnTo>
                  <a:lnTo>
                    <a:pt x="31997" y="1088646"/>
                  </a:lnTo>
                  <a:lnTo>
                    <a:pt x="7326" y="1063975"/>
                  </a:lnTo>
                  <a:lnTo>
                    <a:pt x="7326" y="742061"/>
                  </a:lnTo>
                  <a:lnTo>
                    <a:pt x="53378" y="696009"/>
                  </a:lnTo>
                  <a:lnTo>
                    <a:pt x="53378" y="655789"/>
                  </a:lnTo>
                  <a:lnTo>
                    <a:pt x="102420" y="606747"/>
                  </a:lnTo>
                  <a:lnTo>
                    <a:pt x="102420" y="303523"/>
                  </a:lnTo>
                  <a:lnTo>
                    <a:pt x="299935" y="106158"/>
                  </a:lnTo>
                  <a:lnTo>
                    <a:pt x="299935" y="51584"/>
                  </a:lnTo>
                  <a:cubicBezTo>
                    <a:pt x="312494" y="49790"/>
                    <a:pt x="322213" y="39024"/>
                    <a:pt x="322213" y="26016"/>
                  </a:cubicBezTo>
                  <a:cubicBezTo>
                    <a:pt x="322213" y="11662"/>
                    <a:pt x="310550" y="0"/>
                    <a:pt x="296197" y="0"/>
                  </a:cubicBezTo>
                  <a:close/>
                  <a:moveTo>
                    <a:pt x="296197" y="44557"/>
                  </a:moveTo>
                  <a:cubicBezTo>
                    <a:pt x="285880" y="44557"/>
                    <a:pt x="277507" y="36183"/>
                    <a:pt x="277507" y="25867"/>
                  </a:cubicBezTo>
                  <a:cubicBezTo>
                    <a:pt x="277507" y="15550"/>
                    <a:pt x="285880" y="7177"/>
                    <a:pt x="296197" y="7177"/>
                  </a:cubicBezTo>
                  <a:cubicBezTo>
                    <a:pt x="306513" y="7177"/>
                    <a:pt x="314887" y="15550"/>
                    <a:pt x="314887" y="25867"/>
                  </a:cubicBezTo>
                  <a:cubicBezTo>
                    <a:pt x="314887" y="36183"/>
                    <a:pt x="306513" y="44557"/>
                    <a:pt x="296197" y="44557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6097934" y="767315"/>
              <a:ext cx="299037" cy="538267"/>
            </a:xfrm>
            <a:custGeom>
              <a:avLst/>
              <a:gdLst>
                <a:gd name="connsiteX0" fmla="*/ 116326 w 299037"/>
                <a:gd name="connsiteY0" fmla="*/ 115728 h 538267"/>
                <a:gd name="connsiteX1" fmla="*/ 44706 w 299037"/>
                <a:gd name="connsiteY1" fmla="*/ 44108 h 538267"/>
                <a:gd name="connsiteX2" fmla="*/ 52033 w 299037"/>
                <a:gd name="connsiteY2" fmla="*/ 26017 h 538267"/>
                <a:gd name="connsiteX3" fmla="*/ 26016 w 299037"/>
                <a:gd name="connsiteY3" fmla="*/ 0 h 538267"/>
                <a:gd name="connsiteX4" fmla="*/ 0 w 299037"/>
                <a:gd name="connsiteY4" fmla="*/ 26017 h 538267"/>
                <a:gd name="connsiteX5" fmla="*/ 26016 w 299037"/>
                <a:gd name="connsiteY5" fmla="*/ 52033 h 538267"/>
                <a:gd name="connsiteX6" fmla="*/ 38725 w 299037"/>
                <a:gd name="connsiteY6" fmla="*/ 48594 h 538267"/>
                <a:gd name="connsiteX7" fmla="*/ 113186 w 299037"/>
                <a:gd name="connsiteY7" fmla="*/ 123054 h 538267"/>
                <a:gd name="connsiteX8" fmla="*/ 138903 w 299037"/>
                <a:gd name="connsiteY8" fmla="*/ 123054 h 538267"/>
                <a:gd name="connsiteX9" fmla="*/ 298739 w 299037"/>
                <a:gd name="connsiteY9" fmla="*/ 282890 h 538267"/>
                <a:gd name="connsiteX10" fmla="*/ 298739 w 299037"/>
                <a:gd name="connsiteY10" fmla="*/ 465900 h 538267"/>
                <a:gd name="connsiteX11" fmla="*/ 266442 w 299037"/>
                <a:gd name="connsiteY11" fmla="*/ 498196 h 538267"/>
                <a:gd name="connsiteX12" fmla="*/ 266442 w 299037"/>
                <a:gd name="connsiteY12" fmla="*/ 548435 h 538267"/>
                <a:gd name="connsiteX13" fmla="*/ 273769 w 299037"/>
                <a:gd name="connsiteY13" fmla="*/ 548435 h 538267"/>
                <a:gd name="connsiteX14" fmla="*/ 273769 w 299037"/>
                <a:gd name="connsiteY14" fmla="*/ 501187 h 538267"/>
                <a:gd name="connsiteX15" fmla="*/ 306065 w 299037"/>
                <a:gd name="connsiteY15" fmla="*/ 468891 h 538267"/>
                <a:gd name="connsiteX16" fmla="*/ 306065 w 299037"/>
                <a:gd name="connsiteY16" fmla="*/ 279750 h 538267"/>
                <a:gd name="connsiteX17" fmla="*/ 141893 w 299037"/>
                <a:gd name="connsiteY17" fmla="*/ 115578 h 538267"/>
                <a:gd name="connsiteX18" fmla="*/ 116326 w 299037"/>
                <a:gd name="connsiteY18" fmla="*/ 115578 h 538267"/>
                <a:gd name="connsiteX19" fmla="*/ 26166 w 299037"/>
                <a:gd name="connsiteY19" fmla="*/ 44706 h 538267"/>
                <a:gd name="connsiteX20" fmla="*/ 7476 w 299037"/>
                <a:gd name="connsiteY20" fmla="*/ 26017 h 538267"/>
                <a:gd name="connsiteX21" fmla="*/ 26166 w 299037"/>
                <a:gd name="connsiteY21" fmla="*/ 7327 h 538267"/>
                <a:gd name="connsiteX22" fmla="*/ 44856 w 299037"/>
                <a:gd name="connsiteY22" fmla="*/ 26017 h 538267"/>
                <a:gd name="connsiteX23" fmla="*/ 26166 w 299037"/>
                <a:gd name="connsiteY23" fmla="*/ 44706 h 53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9037" h="538267">
                  <a:moveTo>
                    <a:pt x="116326" y="115728"/>
                  </a:moveTo>
                  <a:lnTo>
                    <a:pt x="44706" y="44108"/>
                  </a:lnTo>
                  <a:cubicBezTo>
                    <a:pt x="49192" y="39473"/>
                    <a:pt x="52033" y="33044"/>
                    <a:pt x="52033" y="26017"/>
                  </a:cubicBezTo>
                  <a:cubicBezTo>
                    <a:pt x="52033" y="11662"/>
                    <a:pt x="40370" y="0"/>
                    <a:pt x="26016" y="0"/>
                  </a:cubicBezTo>
                  <a:cubicBezTo>
                    <a:pt x="11662" y="0"/>
                    <a:pt x="0" y="11662"/>
                    <a:pt x="0" y="26017"/>
                  </a:cubicBezTo>
                  <a:cubicBezTo>
                    <a:pt x="0" y="40370"/>
                    <a:pt x="11662" y="52033"/>
                    <a:pt x="26016" y="52033"/>
                  </a:cubicBezTo>
                  <a:cubicBezTo>
                    <a:pt x="30651" y="52033"/>
                    <a:pt x="34987" y="50687"/>
                    <a:pt x="38725" y="48594"/>
                  </a:cubicBezTo>
                  <a:lnTo>
                    <a:pt x="113186" y="123054"/>
                  </a:lnTo>
                  <a:lnTo>
                    <a:pt x="138903" y="123054"/>
                  </a:lnTo>
                  <a:lnTo>
                    <a:pt x="298739" y="282890"/>
                  </a:lnTo>
                  <a:lnTo>
                    <a:pt x="298739" y="465900"/>
                  </a:lnTo>
                  <a:lnTo>
                    <a:pt x="266442" y="498196"/>
                  </a:lnTo>
                  <a:lnTo>
                    <a:pt x="266442" y="548435"/>
                  </a:lnTo>
                  <a:lnTo>
                    <a:pt x="273769" y="548435"/>
                  </a:lnTo>
                  <a:lnTo>
                    <a:pt x="273769" y="501187"/>
                  </a:lnTo>
                  <a:lnTo>
                    <a:pt x="306065" y="468891"/>
                  </a:lnTo>
                  <a:lnTo>
                    <a:pt x="306065" y="279750"/>
                  </a:lnTo>
                  <a:lnTo>
                    <a:pt x="141893" y="115578"/>
                  </a:lnTo>
                  <a:lnTo>
                    <a:pt x="116326" y="115578"/>
                  </a:lnTo>
                  <a:close/>
                  <a:moveTo>
                    <a:pt x="26166" y="44706"/>
                  </a:moveTo>
                  <a:cubicBezTo>
                    <a:pt x="15849" y="44706"/>
                    <a:pt x="7476" y="36333"/>
                    <a:pt x="7476" y="26017"/>
                  </a:cubicBezTo>
                  <a:cubicBezTo>
                    <a:pt x="7476" y="15700"/>
                    <a:pt x="15849" y="7327"/>
                    <a:pt x="26166" y="7327"/>
                  </a:cubicBezTo>
                  <a:cubicBezTo>
                    <a:pt x="36483" y="7327"/>
                    <a:pt x="44856" y="15700"/>
                    <a:pt x="44856" y="26017"/>
                  </a:cubicBezTo>
                  <a:cubicBezTo>
                    <a:pt x="44706" y="36333"/>
                    <a:pt x="36483" y="44706"/>
                    <a:pt x="26166" y="44706"/>
                  </a:cubicBezTo>
                  <a:close/>
                </a:path>
              </a:pathLst>
            </a:custGeom>
            <a:grpFill/>
            <a:ln w="14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2505" dirty="0">
                <a:latin typeface="思源黑体 CN Normal" panose="020B0400000000000000" pitchFamily="34" charset="-122"/>
              </a:endParaRPr>
            </a:p>
          </p:txBody>
        </p:sp>
      </p:grpSp>
      <p:sp>
        <p:nvSpPr>
          <p:cNvPr id="43" name="矩形: 圆角 42"/>
          <p:cNvSpPr/>
          <p:nvPr/>
        </p:nvSpPr>
        <p:spPr>
          <a:xfrm>
            <a:off x="348139" y="3111782"/>
            <a:ext cx="5138262" cy="3004450"/>
          </a:xfrm>
          <a:prstGeom prst="roundRect">
            <a:avLst>
              <a:gd name="adj" fmla="val 3000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13" name="矩形: 圆角 12"/>
          <p:cNvSpPr/>
          <p:nvPr/>
        </p:nvSpPr>
        <p:spPr>
          <a:xfrm>
            <a:off x="935481" y="4106061"/>
            <a:ext cx="972000" cy="36000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标注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矩形: 圆角 13"/>
          <p:cNvSpPr/>
          <p:nvPr/>
        </p:nvSpPr>
        <p:spPr>
          <a:xfrm>
            <a:off x="2431270" y="4106061"/>
            <a:ext cx="972000" cy="36000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训练</a:t>
            </a:r>
          </a:p>
        </p:txBody>
      </p:sp>
      <p:sp>
        <p:nvSpPr>
          <p:cNvPr id="15" name="矩形: 圆角 14"/>
          <p:cNvSpPr/>
          <p:nvPr/>
        </p:nvSpPr>
        <p:spPr>
          <a:xfrm>
            <a:off x="3927060" y="4106061"/>
            <a:ext cx="972000" cy="36000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测试</a:t>
            </a:r>
          </a:p>
        </p:txBody>
      </p:sp>
      <p:cxnSp>
        <p:nvCxnSpPr>
          <p:cNvPr id="16" name="直接箭头连接符 15"/>
          <p:cNvCxnSpPr/>
          <p:nvPr/>
        </p:nvCxnSpPr>
        <p:spPr>
          <a:xfrm>
            <a:off x="1907481" y="4286061"/>
            <a:ext cx="523789" cy="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/>
          <p:nvPr/>
        </p:nvCxnSpPr>
        <p:spPr>
          <a:xfrm>
            <a:off x="3403270" y="4286061"/>
            <a:ext cx="523790" cy="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766918" y="5085473"/>
            <a:ext cx="4300705" cy="663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+mn-ea"/>
              </a:rPr>
              <a:t>无平台情况下，会将数据进行全量标注</a:t>
            </a:r>
            <a:endParaRPr lang="en-US" altLang="zh-CN" sz="1600" dirty="0">
              <a:latin typeface="+mn-ea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+mn-ea"/>
              </a:rPr>
              <a:t>花费大量人力时间成本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7016357" y="4457442"/>
            <a:ext cx="2801877" cy="14700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latin typeface="+mj-ea"/>
                <a:ea typeface="+mj-ea"/>
              </a:rPr>
              <a:t>采用边学边标注方式，充分利用模型效果，对难点进行人工干预，剩下全部机器自己标注，大大减少人工及时间，整体减少</a:t>
            </a:r>
            <a:r>
              <a:rPr lang="en-US" altLang="zh-CN" sz="1400" dirty="0">
                <a:latin typeface="+mj-ea"/>
                <a:ea typeface="+mj-ea"/>
              </a:rPr>
              <a:t>90%</a:t>
            </a:r>
            <a:r>
              <a:rPr lang="zh-CN" altLang="en-US" sz="1400" dirty="0">
                <a:latin typeface="+mj-ea"/>
                <a:ea typeface="+mj-ea"/>
              </a:rPr>
              <a:t>人力，时间提高</a:t>
            </a:r>
            <a:r>
              <a:rPr lang="en-US" altLang="zh-CN" sz="1400" dirty="0">
                <a:latin typeface="+mj-ea"/>
                <a:ea typeface="+mj-ea"/>
              </a:rPr>
              <a:t>6</a:t>
            </a:r>
            <a:r>
              <a:rPr lang="zh-CN" altLang="en-US" sz="1400" dirty="0">
                <a:latin typeface="+mj-ea"/>
                <a:ea typeface="+mj-ea"/>
              </a:rPr>
              <a:t>倍</a:t>
            </a:r>
          </a:p>
        </p:txBody>
      </p:sp>
      <p:sp>
        <p:nvSpPr>
          <p:cNvPr id="29" name="任意多边形: 形状 28"/>
          <p:cNvSpPr/>
          <p:nvPr/>
        </p:nvSpPr>
        <p:spPr>
          <a:xfrm flipH="1">
            <a:off x="10151965" y="4580694"/>
            <a:ext cx="1436339" cy="332520"/>
          </a:xfrm>
          <a:custGeom>
            <a:avLst/>
            <a:gdLst>
              <a:gd name="connsiteX0" fmla="*/ 2452688 w 2452688"/>
              <a:gd name="connsiteY0" fmla="*/ 0 h 781050"/>
              <a:gd name="connsiteX1" fmla="*/ 0 w 2452688"/>
              <a:gd name="connsiteY1" fmla="*/ 781050 h 781050"/>
              <a:gd name="connsiteX0-1" fmla="*/ 2452688 w 2452688"/>
              <a:gd name="connsiteY0-2" fmla="*/ 0 h 781050"/>
              <a:gd name="connsiteX1-3" fmla="*/ 0 w 2452688"/>
              <a:gd name="connsiteY1-4" fmla="*/ 781050 h 781050"/>
              <a:gd name="connsiteX0-5" fmla="*/ 2452688 w 2452688"/>
              <a:gd name="connsiteY0-6" fmla="*/ 0 h 781050"/>
              <a:gd name="connsiteX1-7" fmla="*/ 0 w 2452688"/>
              <a:gd name="connsiteY1-8" fmla="*/ 781050 h 781050"/>
              <a:gd name="connsiteX0-9" fmla="*/ 2457450 w 2457450"/>
              <a:gd name="connsiteY0-10" fmla="*/ 0 h 781050"/>
              <a:gd name="connsiteX1-11" fmla="*/ 0 w 2457450"/>
              <a:gd name="connsiteY1-12" fmla="*/ 781050 h 7810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457450" h="781050">
                <a:moveTo>
                  <a:pt x="2457450" y="0"/>
                </a:moveTo>
                <a:cubicBezTo>
                  <a:pt x="2211387" y="417512"/>
                  <a:pt x="65088" y="496887"/>
                  <a:pt x="0" y="781050"/>
                </a:cubicBezTo>
              </a:path>
            </a:pathLst>
          </a:cu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: 形状 26"/>
          <p:cNvSpPr/>
          <p:nvPr/>
        </p:nvSpPr>
        <p:spPr>
          <a:xfrm flipH="1">
            <a:off x="10151965" y="5242651"/>
            <a:ext cx="1436339" cy="332520"/>
          </a:xfrm>
          <a:custGeom>
            <a:avLst/>
            <a:gdLst>
              <a:gd name="connsiteX0" fmla="*/ 2452688 w 2452688"/>
              <a:gd name="connsiteY0" fmla="*/ 0 h 781050"/>
              <a:gd name="connsiteX1" fmla="*/ 0 w 2452688"/>
              <a:gd name="connsiteY1" fmla="*/ 781050 h 781050"/>
              <a:gd name="connsiteX0-1" fmla="*/ 2452688 w 2452688"/>
              <a:gd name="connsiteY0-2" fmla="*/ 0 h 781050"/>
              <a:gd name="connsiteX1-3" fmla="*/ 0 w 2452688"/>
              <a:gd name="connsiteY1-4" fmla="*/ 781050 h 781050"/>
              <a:gd name="connsiteX0-5" fmla="*/ 2452688 w 2452688"/>
              <a:gd name="connsiteY0-6" fmla="*/ 0 h 781050"/>
              <a:gd name="connsiteX1-7" fmla="*/ 0 w 2452688"/>
              <a:gd name="connsiteY1-8" fmla="*/ 781050 h 781050"/>
              <a:gd name="connsiteX0-9" fmla="*/ 2457450 w 2457450"/>
              <a:gd name="connsiteY0-10" fmla="*/ 0 h 781050"/>
              <a:gd name="connsiteX1-11" fmla="*/ 0 w 2457450"/>
              <a:gd name="connsiteY1-12" fmla="*/ 781050 h 7810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457450" h="781050">
                <a:moveTo>
                  <a:pt x="2457450" y="0"/>
                </a:moveTo>
                <a:cubicBezTo>
                  <a:pt x="2211387" y="417512"/>
                  <a:pt x="65088" y="496887"/>
                  <a:pt x="0" y="781050"/>
                </a:cubicBezTo>
              </a:path>
            </a:pathLst>
          </a:cu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上 31"/>
          <p:cNvSpPr/>
          <p:nvPr/>
        </p:nvSpPr>
        <p:spPr>
          <a:xfrm flipH="1">
            <a:off x="10588100" y="3690938"/>
            <a:ext cx="560667" cy="2343150"/>
          </a:xfrm>
          <a:prstGeom prst="upArrow">
            <a:avLst/>
          </a:prstGeom>
          <a:solidFill>
            <a:srgbClr val="F8EFF0"/>
          </a:solidFill>
          <a:ln w="9525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椭圆 23"/>
          <p:cNvSpPr/>
          <p:nvPr/>
        </p:nvSpPr>
        <p:spPr>
          <a:xfrm flipH="1">
            <a:off x="10148566" y="5481308"/>
            <a:ext cx="1439738" cy="197024"/>
          </a:xfrm>
          <a:prstGeom prst="ellipse">
            <a:avLst/>
          </a:prstGeom>
          <a:noFill/>
          <a:ln w="6350">
            <a:gradFill>
              <a:gsLst>
                <a:gs pos="39000">
                  <a:schemeClr val="accent1">
                    <a:lumMod val="5000"/>
                    <a:lumOff val="95000"/>
                    <a:alpha val="0"/>
                  </a:schemeClr>
                </a:gs>
                <a:gs pos="49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27"/>
          <p:cNvSpPr/>
          <p:nvPr/>
        </p:nvSpPr>
        <p:spPr>
          <a:xfrm>
            <a:off x="10151965" y="4910542"/>
            <a:ext cx="1436339" cy="332520"/>
          </a:xfrm>
          <a:custGeom>
            <a:avLst/>
            <a:gdLst>
              <a:gd name="connsiteX0" fmla="*/ 2452688 w 2452688"/>
              <a:gd name="connsiteY0" fmla="*/ 0 h 781050"/>
              <a:gd name="connsiteX1" fmla="*/ 0 w 2452688"/>
              <a:gd name="connsiteY1" fmla="*/ 781050 h 781050"/>
              <a:gd name="connsiteX0-1" fmla="*/ 2452688 w 2452688"/>
              <a:gd name="connsiteY0-2" fmla="*/ 0 h 781050"/>
              <a:gd name="connsiteX1-3" fmla="*/ 0 w 2452688"/>
              <a:gd name="connsiteY1-4" fmla="*/ 781050 h 781050"/>
              <a:gd name="connsiteX0-5" fmla="*/ 2452688 w 2452688"/>
              <a:gd name="connsiteY0-6" fmla="*/ 0 h 781050"/>
              <a:gd name="connsiteX1-7" fmla="*/ 0 w 2452688"/>
              <a:gd name="connsiteY1-8" fmla="*/ 781050 h 781050"/>
              <a:gd name="connsiteX0-9" fmla="*/ 2457450 w 2457450"/>
              <a:gd name="connsiteY0-10" fmla="*/ 0 h 781050"/>
              <a:gd name="connsiteX1-11" fmla="*/ 0 w 2457450"/>
              <a:gd name="connsiteY1-12" fmla="*/ 781050 h 7810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457450" h="781050">
                <a:moveTo>
                  <a:pt x="2457450" y="0"/>
                </a:moveTo>
                <a:cubicBezTo>
                  <a:pt x="2211387" y="417512"/>
                  <a:pt x="65088" y="496887"/>
                  <a:pt x="0" y="781050"/>
                </a:cubicBezTo>
              </a:path>
            </a:pathLst>
          </a:cu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29"/>
          <p:cNvSpPr/>
          <p:nvPr/>
        </p:nvSpPr>
        <p:spPr>
          <a:xfrm>
            <a:off x="10151965" y="4248586"/>
            <a:ext cx="1436339" cy="332520"/>
          </a:xfrm>
          <a:custGeom>
            <a:avLst/>
            <a:gdLst>
              <a:gd name="connsiteX0" fmla="*/ 2452688 w 2452688"/>
              <a:gd name="connsiteY0" fmla="*/ 0 h 781050"/>
              <a:gd name="connsiteX1" fmla="*/ 0 w 2452688"/>
              <a:gd name="connsiteY1" fmla="*/ 781050 h 781050"/>
              <a:gd name="connsiteX0-1" fmla="*/ 2452688 w 2452688"/>
              <a:gd name="connsiteY0-2" fmla="*/ 0 h 781050"/>
              <a:gd name="connsiteX1-3" fmla="*/ 0 w 2452688"/>
              <a:gd name="connsiteY1-4" fmla="*/ 781050 h 781050"/>
              <a:gd name="connsiteX0-5" fmla="*/ 2452688 w 2452688"/>
              <a:gd name="connsiteY0-6" fmla="*/ 0 h 781050"/>
              <a:gd name="connsiteX1-7" fmla="*/ 0 w 2452688"/>
              <a:gd name="connsiteY1-8" fmla="*/ 781050 h 781050"/>
              <a:gd name="connsiteX0-9" fmla="*/ 2457450 w 2457450"/>
              <a:gd name="connsiteY0-10" fmla="*/ 0 h 781050"/>
              <a:gd name="connsiteX1-11" fmla="*/ 0 w 2457450"/>
              <a:gd name="connsiteY1-12" fmla="*/ 781050 h 7810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457450" h="781050">
                <a:moveTo>
                  <a:pt x="2457450" y="0"/>
                </a:moveTo>
                <a:cubicBezTo>
                  <a:pt x="2211387" y="417512"/>
                  <a:pt x="65088" y="496887"/>
                  <a:pt x="0" y="781050"/>
                </a:cubicBezTo>
              </a:path>
            </a:pathLst>
          </a:cu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/>
          <p:cNvSpPr txBox="1"/>
          <p:nvPr/>
        </p:nvSpPr>
        <p:spPr>
          <a:xfrm flipH="1">
            <a:off x="9953554" y="4796197"/>
            <a:ext cx="15023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050" dirty="0">
                <a:latin typeface="+mn-ea"/>
              </a:rPr>
              <a:t>智能标注 </a:t>
            </a:r>
            <a:r>
              <a:rPr lang="en-US" altLang="zh-CN" sz="1050" dirty="0">
                <a:latin typeface="+mn-ea"/>
              </a:rPr>
              <a:t>- </a:t>
            </a:r>
            <a:r>
              <a:rPr lang="zh-CN" altLang="en-US" sz="1050" dirty="0">
                <a:latin typeface="+mn-ea"/>
              </a:rPr>
              <a:t>训练 </a:t>
            </a:r>
            <a:r>
              <a:rPr lang="en-US" altLang="zh-CN" sz="1050" dirty="0">
                <a:latin typeface="+mn-ea"/>
              </a:rPr>
              <a:t>– </a:t>
            </a:r>
            <a:r>
              <a:rPr lang="zh-CN" altLang="en-US" sz="1050" dirty="0">
                <a:latin typeface="+mn-ea"/>
              </a:rPr>
              <a:t>测试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4533900" y="1552575"/>
            <a:ext cx="3124200" cy="1178302"/>
            <a:chOff x="4533900" y="1552575"/>
            <a:chExt cx="3124200" cy="1178302"/>
          </a:xfrm>
        </p:grpSpPr>
        <p:sp>
          <p:nvSpPr>
            <p:cNvPr id="25" name="文本框 24"/>
            <p:cNvSpPr txBox="1"/>
            <p:nvPr/>
          </p:nvSpPr>
          <p:spPr>
            <a:xfrm>
              <a:off x="4533900" y="2135565"/>
              <a:ext cx="3124200" cy="58356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algn="ctr">
                <a:defRPr sz="2800" b="1">
                  <a:gradFill flip="none" rotWithShape="1">
                    <a:gsLst>
                      <a:gs pos="0">
                        <a:schemeClr val="bg1"/>
                      </a:gs>
                      <a:gs pos="100000">
                        <a:schemeClr val="accent1"/>
                      </a:gs>
                    </a:gsLst>
                    <a:lin ang="5400000" scaled="1"/>
                    <a:tileRect/>
                  </a:gradFill>
                  <a:latin typeface="+mj-ea"/>
                  <a:ea typeface="+mj-e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>
                    <a:reflection blurRad="50800" stA="20000" endPos="30000" dir="5400000" sy="-100000" algn="bl" rotWithShape="0"/>
                  </a:effectLst>
                  <a:uLnTx/>
                  <a:uFillTx/>
                  <a:cs typeface="+mn-cs"/>
                </a:rPr>
                <a:t>AI</a:t>
              </a:r>
              <a:r>
                <a:rPr kumimoji="0" lang="zh-CN" altLang="en-US" sz="3200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>
                    <a:reflection blurRad="50800" stA="20000" endPos="30000" dir="5400000" sy="-100000" algn="bl" rotWithShape="0"/>
                  </a:effectLst>
                  <a:uLnTx/>
                  <a:uFillTx/>
                  <a:cs typeface="+mn-cs"/>
                </a:rPr>
                <a:t>训练</a:t>
              </a:r>
            </a:p>
          </p:txBody>
        </p:sp>
        <p:grpSp>
          <p:nvGrpSpPr>
            <p:cNvPr id="26" name="组合 25"/>
            <p:cNvGrpSpPr/>
            <p:nvPr/>
          </p:nvGrpSpPr>
          <p:grpSpPr>
            <a:xfrm>
              <a:off x="5019677" y="2523948"/>
              <a:ext cx="2152648" cy="206929"/>
              <a:chOff x="4968876" y="1905000"/>
              <a:chExt cx="2254250" cy="216694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4968876" y="1905000"/>
                <a:ext cx="2254250" cy="153695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20000"/>
                    </a:schemeClr>
                  </a:gs>
                </a:gsLst>
                <a:lin ang="5400000" scaled="1"/>
                <a:tileRect/>
              </a:gradFill>
              <a:ln w="6350">
                <a:gradFill flip="none" rotWithShape="1">
                  <a:gsLst>
                    <a:gs pos="11000">
                      <a:schemeClr val="accent1">
                        <a:alpha val="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4968876" y="1967999"/>
                <a:ext cx="2254250" cy="153695"/>
              </a:xfrm>
              <a:prstGeom prst="ellipse">
                <a:avLst/>
              </a:prstGeom>
              <a:noFill/>
              <a:ln w="6350">
                <a:gradFill flip="none" rotWithShape="1">
                  <a:gsLst>
                    <a:gs pos="19000">
                      <a:schemeClr val="accent1">
                        <a:alpha val="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</p:grpSp>
        <p:grpSp>
          <p:nvGrpSpPr>
            <p:cNvPr id="2" name="组合 1"/>
            <p:cNvGrpSpPr/>
            <p:nvPr/>
          </p:nvGrpSpPr>
          <p:grpSpPr>
            <a:xfrm>
              <a:off x="5430724" y="1552575"/>
              <a:ext cx="1330554" cy="731986"/>
              <a:chOff x="5224464" y="1410529"/>
              <a:chExt cx="1743074" cy="958928"/>
            </a:xfrm>
          </p:grpSpPr>
          <p:sp>
            <p:nvSpPr>
              <p:cNvPr id="31" name="文本框 30"/>
              <p:cNvSpPr txBox="1"/>
              <p:nvPr/>
            </p:nvSpPr>
            <p:spPr>
              <a:xfrm>
                <a:off x="5502192" y="1410529"/>
                <a:ext cx="1077316" cy="958928"/>
              </a:xfrm>
              <a:custGeom>
                <a:avLst/>
                <a:gdLst/>
                <a:ahLst/>
                <a:cxnLst/>
                <a:rect l="l" t="t" r="r" b="b"/>
                <a:pathLst>
                  <a:path w="1077316" h="902208">
                    <a:moveTo>
                      <a:pt x="388925" y="136550"/>
                    </a:moveTo>
                    <a:cubicBezTo>
                      <a:pt x="366167" y="234086"/>
                      <a:pt x="340564" y="332435"/>
                      <a:pt x="312116" y="431597"/>
                    </a:cubicBezTo>
                    <a:lnTo>
                      <a:pt x="285293" y="530352"/>
                    </a:lnTo>
                    <a:lnTo>
                      <a:pt x="499872" y="530352"/>
                    </a:lnTo>
                    <a:lnTo>
                      <a:pt x="473050" y="431597"/>
                    </a:lnTo>
                    <a:cubicBezTo>
                      <a:pt x="466548" y="410464"/>
                      <a:pt x="459639" y="386486"/>
                      <a:pt x="452324" y="359664"/>
                    </a:cubicBezTo>
                    <a:cubicBezTo>
                      <a:pt x="447447" y="339344"/>
                      <a:pt x="440944" y="314554"/>
                      <a:pt x="432816" y="285293"/>
                    </a:cubicBezTo>
                    <a:lnTo>
                      <a:pt x="424282" y="252374"/>
                    </a:lnTo>
                    <a:cubicBezTo>
                      <a:pt x="424282" y="250749"/>
                      <a:pt x="423876" y="249123"/>
                      <a:pt x="423063" y="247498"/>
                    </a:cubicBezTo>
                    <a:lnTo>
                      <a:pt x="393802" y="136550"/>
                    </a:lnTo>
                    <a:close/>
                    <a:moveTo>
                      <a:pt x="896874" y="0"/>
                    </a:moveTo>
                    <a:lnTo>
                      <a:pt x="1077316" y="0"/>
                    </a:lnTo>
                    <a:lnTo>
                      <a:pt x="1077316" y="902208"/>
                    </a:lnTo>
                    <a:lnTo>
                      <a:pt x="896874" y="902208"/>
                    </a:lnTo>
                    <a:close/>
                    <a:moveTo>
                      <a:pt x="288951" y="0"/>
                    </a:moveTo>
                    <a:lnTo>
                      <a:pt x="501092" y="0"/>
                    </a:lnTo>
                    <a:lnTo>
                      <a:pt x="791261" y="902208"/>
                    </a:lnTo>
                    <a:lnTo>
                      <a:pt x="602285" y="902208"/>
                    </a:lnTo>
                    <a:lnTo>
                      <a:pt x="538887" y="670560"/>
                    </a:lnTo>
                    <a:lnTo>
                      <a:pt x="246279" y="670560"/>
                    </a:lnTo>
                    <a:lnTo>
                      <a:pt x="182880" y="902208"/>
                    </a:lnTo>
                    <a:lnTo>
                      <a:pt x="0" y="902208"/>
                    </a:lnTo>
                    <a:close/>
                  </a:path>
                </a:pathLst>
              </a:custGeom>
              <a:noFill/>
              <a:ln w="635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>
                <a:defPPr>
                  <a:defRPr lang="zh-CN"/>
                </a:defPPr>
                <a:lvl1pPr algn="ctr">
                  <a:defRPr sz="2800" b="1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54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9600" b="0" i="0" u="none" strike="noStrike" kern="1200" cap="none" spc="0" normalizeH="0" baseline="0" noProof="0" dirty="0">
                  <a:ln w="6350">
                    <a:gradFill flip="none" rotWithShape="1">
                      <a:gsLst>
                        <a:gs pos="0">
                          <a:srgbClr val="02D3DC"/>
                        </a:gs>
                        <a:gs pos="80000">
                          <a:srgbClr val="02D3DC">
                            <a:alpha val="0"/>
                          </a:srgbClr>
                        </a:gs>
                      </a:gsLst>
                      <a:lin ang="5400000" scaled="1"/>
                      <a:tileRect/>
                    </a:gradFill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endParaRPr>
              </a:p>
            </p:txBody>
          </p:sp>
          <p:sp>
            <p:nvSpPr>
              <p:cNvPr id="33" name="椭圆 32"/>
              <p:cNvSpPr/>
              <p:nvPr/>
            </p:nvSpPr>
            <p:spPr>
              <a:xfrm>
                <a:off x="5224464" y="1929806"/>
                <a:ext cx="1743074" cy="131170"/>
              </a:xfrm>
              <a:prstGeom prst="ellipse">
                <a:avLst/>
              </a:prstGeom>
              <a:noFill/>
              <a:ln w="3175">
                <a:gradFill>
                  <a:gsLst>
                    <a:gs pos="8000">
                      <a:schemeClr val="accent1">
                        <a:alpha val="0"/>
                      </a:schemeClr>
                    </a:gs>
                    <a:gs pos="45000">
                      <a:schemeClr val="accent1"/>
                    </a:gs>
                    <a:gs pos="66000">
                      <a:schemeClr val="accent1"/>
                    </a:gs>
                    <a:gs pos="99000">
                      <a:schemeClr val="accent1">
                        <a:alpha val="0"/>
                      </a:schemeClr>
                    </a:gs>
                  </a:gsLst>
                  <a:lin ang="5400000" scaled="1"/>
                </a:gra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60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  <p:sp>
            <p:nvSpPr>
              <p:cNvPr id="34" name="椭圆 33"/>
              <p:cNvSpPr/>
              <p:nvPr/>
            </p:nvSpPr>
            <p:spPr>
              <a:xfrm>
                <a:off x="5224464" y="1766691"/>
                <a:ext cx="1743074" cy="131170"/>
              </a:xfrm>
              <a:prstGeom prst="ellipse">
                <a:avLst/>
              </a:prstGeom>
              <a:noFill/>
              <a:ln w="3175">
                <a:gradFill>
                  <a:gsLst>
                    <a:gs pos="8000">
                      <a:schemeClr val="accent1">
                        <a:alpha val="0"/>
                      </a:schemeClr>
                    </a:gs>
                    <a:gs pos="45000">
                      <a:schemeClr val="accent1"/>
                    </a:gs>
                    <a:gs pos="66000">
                      <a:schemeClr val="accent1"/>
                    </a:gs>
                    <a:gs pos="99000">
                      <a:schemeClr val="accent1">
                        <a:alpha val="0"/>
                      </a:schemeClr>
                    </a:gs>
                  </a:gsLst>
                  <a:lin ang="5400000" scaled="1"/>
                </a:gra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60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  <p:sp>
            <p:nvSpPr>
              <p:cNvPr id="35" name="椭圆 34"/>
              <p:cNvSpPr/>
              <p:nvPr/>
            </p:nvSpPr>
            <p:spPr>
              <a:xfrm>
                <a:off x="5224464" y="1603577"/>
                <a:ext cx="1743074" cy="131170"/>
              </a:xfrm>
              <a:prstGeom prst="ellipse">
                <a:avLst/>
              </a:prstGeom>
              <a:noFill/>
              <a:ln w="3175">
                <a:gradFill>
                  <a:gsLst>
                    <a:gs pos="8000">
                      <a:schemeClr val="accent1">
                        <a:alpha val="0"/>
                      </a:schemeClr>
                    </a:gs>
                    <a:gs pos="45000">
                      <a:schemeClr val="accent1"/>
                    </a:gs>
                    <a:gs pos="66000">
                      <a:schemeClr val="accent1"/>
                    </a:gs>
                    <a:gs pos="99000">
                      <a:schemeClr val="accent1">
                        <a:alpha val="0"/>
                      </a:schemeClr>
                    </a:gs>
                  </a:gsLst>
                  <a:lin ang="5400000" scaled="1"/>
                </a:gra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60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ea"/>
                  <a:cs typeface="+mn-cs"/>
                </a:endParaRPr>
              </a:p>
            </p:txBody>
          </p:sp>
        </p:grpSp>
      </p:grpSp>
      <p:sp>
        <p:nvSpPr>
          <p:cNvPr id="6" name="矩形 5"/>
          <p:cNvSpPr/>
          <p:nvPr/>
        </p:nvSpPr>
        <p:spPr>
          <a:xfrm>
            <a:off x="3209698" y="0"/>
            <a:ext cx="5772605" cy="1438808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3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从传统的串联流程到螺旋上升式快速学习模式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1747719" y="3227834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dirty="0">
                <a:solidFill>
                  <a:schemeClr val="accent1"/>
                </a:solidFill>
                <a:latin typeface="+mn-ea"/>
              </a:rPr>
              <a:t>传统的串联模式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7814074" y="3227834"/>
            <a:ext cx="2954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chemeClr val="accent2"/>
                </a:solidFill>
                <a:latin typeface="+mj-ea"/>
                <a:ea typeface="+mj-ea"/>
              </a:rPr>
              <a:t>螺旋上升式</a:t>
            </a:r>
            <a:r>
              <a:rPr lang="zh-CN" altLang="en-US" sz="2400" dirty="0">
                <a:solidFill>
                  <a:schemeClr val="accent2"/>
                </a:solidFill>
                <a:latin typeface="+mj-ea"/>
                <a:ea typeface="+mj-ea"/>
              </a:rPr>
              <a:t>快速学习</a:t>
            </a:r>
          </a:p>
        </p:txBody>
      </p:sp>
      <p:sp>
        <p:nvSpPr>
          <p:cNvPr id="38" name="文本框 37"/>
          <p:cNvSpPr txBox="1"/>
          <p:nvPr/>
        </p:nvSpPr>
        <p:spPr>
          <a:xfrm flipH="1">
            <a:off x="9953554" y="4136494"/>
            <a:ext cx="15023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050" dirty="0">
                <a:latin typeface="+mn-ea"/>
              </a:rPr>
              <a:t>智能标注 </a:t>
            </a:r>
            <a:r>
              <a:rPr lang="en-US" altLang="zh-CN" sz="1050" dirty="0">
                <a:latin typeface="+mn-ea"/>
              </a:rPr>
              <a:t>- </a:t>
            </a:r>
            <a:r>
              <a:rPr lang="zh-CN" altLang="en-US" sz="1050" dirty="0">
                <a:latin typeface="+mn-ea"/>
              </a:rPr>
              <a:t>训练 </a:t>
            </a:r>
            <a:r>
              <a:rPr lang="en-US" altLang="zh-CN" sz="1050" dirty="0">
                <a:latin typeface="+mn-ea"/>
              </a:rPr>
              <a:t>– </a:t>
            </a:r>
            <a:r>
              <a:rPr lang="zh-CN" altLang="en-US" sz="1050" dirty="0">
                <a:latin typeface="+mn-ea"/>
              </a:rPr>
              <a:t>测试</a:t>
            </a:r>
          </a:p>
        </p:txBody>
      </p:sp>
      <p:sp>
        <p:nvSpPr>
          <p:cNvPr id="105" name="矩形 104"/>
          <p:cNvSpPr/>
          <p:nvPr/>
        </p:nvSpPr>
        <p:spPr>
          <a:xfrm>
            <a:off x="9953554" y="5553861"/>
            <a:ext cx="560667" cy="236387"/>
          </a:xfrm>
          <a:prstGeom prst="rect">
            <a:avLst/>
          </a:prstGeom>
          <a:solidFill>
            <a:srgbClr val="F8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 flipH="1">
            <a:off x="9935948" y="5456531"/>
            <a:ext cx="15023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050" dirty="0">
                <a:latin typeface="+mn-ea"/>
              </a:rPr>
              <a:t>智能标注 </a:t>
            </a:r>
            <a:r>
              <a:rPr lang="en-US" altLang="zh-CN" sz="1050" dirty="0">
                <a:latin typeface="+mn-ea"/>
              </a:rPr>
              <a:t>- </a:t>
            </a:r>
            <a:r>
              <a:rPr lang="zh-CN" altLang="en-US" sz="1050" dirty="0">
                <a:latin typeface="+mn-ea"/>
              </a:rPr>
              <a:t>训练 </a:t>
            </a:r>
            <a:r>
              <a:rPr lang="en-US" altLang="zh-CN" sz="1050" dirty="0">
                <a:latin typeface="+mn-ea"/>
              </a:rPr>
              <a:t>– </a:t>
            </a:r>
            <a:r>
              <a:rPr lang="zh-CN" altLang="en-US" sz="1050" dirty="0">
                <a:latin typeface="+mn-ea"/>
              </a:rPr>
              <a:t>测试</a:t>
            </a:r>
          </a:p>
        </p:txBody>
      </p:sp>
      <p:grpSp>
        <p:nvGrpSpPr>
          <p:cNvPr id="106" name="组合 105"/>
          <p:cNvGrpSpPr/>
          <p:nvPr/>
        </p:nvGrpSpPr>
        <p:grpSpPr>
          <a:xfrm rot="10800000" flipH="1" flipV="1">
            <a:off x="5533368" y="4296476"/>
            <a:ext cx="1112814" cy="635062"/>
            <a:chOff x="2786220" y="2505783"/>
            <a:chExt cx="801140" cy="314373"/>
          </a:xfrm>
        </p:grpSpPr>
        <p:sp>
          <p:nvSpPr>
            <p:cNvPr id="107" name="任意多边形: 形状 106"/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08" name="直接连接符 107"/>
            <p:cNvCxnSpPr/>
            <p:nvPr/>
          </p:nvCxnSpPr>
          <p:spPr>
            <a:xfrm rot="10800000" flipH="1" flipV="1">
              <a:off x="2786220" y="2567172"/>
              <a:ext cx="22294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任意多边形: 形状 108"/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10" name="直接连接符 109"/>
            <p:cNvCxnSpPr/>
            <p:nvPr/>
          </p:nvCxnSpPr>
          <p:spPr>
            <a:xfrm rot="10800000" flipH="1" flipV="1">
              <a:off x="2792183" y="2820156"/>
              <a:ext cx="36514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直接连接符 110"/>
            <p:cNvCxnSpPr/>
            <p:nvPr/>
          </p:nvCxnSpPr>
          <p:spPr>
            <a:xfrm rot="10800000" flipH="1" flipV="1">
              <a:off x="3086862" y="2505783"/>
              <a:ext cx="401682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连接符 111"/>
            <p:cNvCxnSpPr/>
            <p:nvPr/>
          </p:nvCxnSpPr>
          <p:spPr>
            <a:xfrm rot="10800000" flipH="1" flipV="1">
              <a:off x="3107988" y="2787881"/>
              <a:ext cx="47861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组合 112"/>
          <p:cNvGrpSpPr/>
          <p:nvPr/>
        </p:nvGrpSpPr>
        <p:grpSpPr>
          <a:xfrm>
            <a:off x="7031449" y="4018545"/>
            <a:ext cx="2163034" cy="332258"/>
            <a:chOff x="1942921" y="9778779"/>
            <a:chExt cx="6523323" cy="1002030"/>
          </a:xfrm>
        </p:grpSpPr>
        <p:sp>
          <p:nvSpPr>
            <p:cNvPr id="114" name="object 18"/>
            <p:cNvSpPr/>
            <p:nvPr/>
          </p:nvSpPr>
          <p:spPr>
            <a:xfrm>
              <a:off x="2794249" y="9778785"/>
              <a:ext cx="300469" cy="1001563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9"/>
            <p:cNvSpPr/>
            <p:nvPr/>
          </p:nvSpPr>
          <p:spPr>
            <a:xfrm>
              <a:off x="1942921" y="9778785"/>
              <a:ext cx="634323" cy="1001563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20"/>
            <p:cNvSpPr/>
            <p:nvPr/>
          </p:nvSpPr>
          <p:spPr>
            <a:xfrm>
              <a:off x="2323756" y="9778779"/>
              <a:ext cx="712470" cy="1002030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202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21"/>
            <p:cNvSpPr/>
            <p:nvPr/>
          </p:nvSpPr>
          <p:spPr>
            <a:xfrm>
              <a:off x="3482141" y="9963619"/>
              <a:ext cx="4984103" cy="628253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图片 66" descr="背景图案&#10;&#10;中度可信度描述已自动生成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 flipH="1">
            <a:off x="0" y="0"/>
            <a:ext cx="11923485" cy="6858000"/>
          </a:xfrm>
          <a:custGeom>
            <a:avLst/>
            <a:gdLst>
              <a:gd name="connsiteX0" fmla="*/ 11125200 w 11125200"/>
              <a:gd name="connsiteY0" fmla="*/ 0 h 6858000"/>
              <a:gd name="connsiteX1" fmla="*/ 0 w 11125200"/>
              <a:gd name="connsiteY1" fmla="*/ 0 h 6858000"/>
              <a:gd name="connsiteX2" fmla="*/ 0 w 11125200"/>
              <a:gd name="connsiteY2" fmla="*/ 6858000 h 6858000"/>
              <a:gd name="connsiteX3" fmla="*/ 11125200 w 1112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25200" h="6858000">
                <a:moveTo>
                  <a:pt x="11125200" y="0"/>
                </a:moveTo>
                <a:lnTo>
                  <a:pt x="0" y="0"/>
                </a:lnTo>
                <a:lnTo>
                  <a:pt x="0" y="6858000"/>
                </a:lnTo>
                <a:lnTo>
                  <a:pt x="11125200" y="6858000"/>
                </a:lnTo>
                <a:close/>
              </a:path>
            </a:pathLst>
          </a:custGeom>
        </p:spPr>
      </p:pic>
      <p:sp>
        <p:nvSpPr>
          <p:cNvPr id="65" name="任意多边形: 形状 64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1125200"/>
              <a:gd name="connsiteY0" fmla="*/ 0 h 6858000"/>
              <a:gd name="connsiteX1" fmla="*/ 11125200 w 11125200"/>
              <a:gd name="connsiteY1" fmla="*/ 0 h 6858000"/>
              <a:gd name="connsiteX2" fmla="*/ 11125200 w 11125200"/>
              <a:gd name="connsiteY2" fmla="*/ 6858000 h 6858000"/>
              <a:gd name="connsiteX3" fmla="*/ 0 w 1112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25200" h="6858000">
                <a:moveTo>
                  <a:pt x="0" y="0"/>
                </a:moveTo>
                <a:lnTo>
                  <a:pt x="11125200" y="0"/>
                </a:lnTo>
                <a:lnTo>
                  <a:pt x="11125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标题 1"/>
          <p:cNvSpPr txBox="1"/>
          <p:nvPr/>
        </p:nvSpPr>
        <p:spPr>
          <a:xfrm>
            <a:off x="7487166" y="1758837"/>
            <a:ext cx="3691859" cy="815608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>
            <a:spAutoFit/>
          </a:bodyPr>
          <a:lstStyle>
            <a:lvl1pPr marL="0" marR="0" indent="0" algn="l" defTabSz="413385" rtl="0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2400" b="0" i="0" u="none" strike="noStrike" cap="none" spc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Noto Sans S Chinese Medium" panose="020B0600000000000000" pitchFamily="34" charset="-122"/>
                <a:ea typeface="Noto Sans S Chinese Medium" panose="020B0600000000000000" pitchFamily="34" charset="-122"/>
                <a:cs typeface="Noto Sans S Chinese Medium" panose="020B0600000000000000" pitchFamily="34" charset="-122"/>
                <a:sym typeface="Helvetica Neue Medium"/>
              </a:defRPr>
            </a:lvl1pPr>
            <a:lvl2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hangingPunct="1">
              <a:spcBef>
                <a:spcPts val="300"/>
              </a:spcBef>
            </a:pPr>
            <a:r>
              <a:rPr kumimoji="1" lang="zh-CN" altLang="en-US" sz="2000" b="1" dirty="0">
                <a:solidFill>
                  <a:schemeClr val="accent2"/>
                </a:solidFill>
                <a:latin typeface="+mj-ea"/>
                <a:ea typeface="+mj-ea"/>
              </a:rPr>
              <a:t>定制化行业方案</a:t>
            </a:r>
            <a:endParaRPr kumimoji="1" lang="en-US" altLang="zh-CN" sz="2000" dirty="0">
              <a:solidFill>
                <a:schemeClr val="accent2"/>
              </a:solidFill>
              <a:latin typeface="+mj-ea"/>
              <a:ea typeface="+mj-ea"/>
            </a:endParaRPr>
          </a:p>
          <a:p>
            <a:pPr marL="171450" indent="-171450" hangingPunct="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支持特定算法替换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  <a:p>
            <a:pPr marL="171450" indent="-171450" hangingPunct="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一次升级，后期产品运维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35" name="标题 1"/>
          <p:cNvSpPr txBox="1"/>
          <p:nvPr/>
        </p:nvSpPr>
        <p:spPr>
          <a:xfrm>
            <a:off x="8329755" y="3305731"/>
            <a:ext cx="2758931" cy="784830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>
            <a:spAutoFit/>
          </a:bodyPr>
          <a:lstStyle>
            <a:lvl1pPr marL="0" marR="0" indent="0" algn="l" defTabSz="413385" rtl="0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2400" b="0" i="0" u="none" strike="noStrike" cap="none" spc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Noto Sans S Chinese Medium" panose="020B0600000000000000" pitchFamily="34" charset="-122"/>
                <a:ea typeface="Noto Sans S Chinese Medium" panose="020B0600000000000000" pitchFamily="34" charset="-122"/>
                <a:cs typeface="Noto Sans S Chinese Medium" panose="020B0600000000000000" pitchFamily="34" charset="-122"/>
                <a:sym typeface="Helvetica Neue Medium"/>
              </a:defRPr>
            </a:lvl1pPr>
            <a:lvl2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hangingPunct="1">
              <a:spcBef>
                <a:spcPts val="300"/>
              </a:spcBef>
            </a:pPr>
            <a:r>
              <a:rPr kumimoji="1" lang="zh-CN" altLang="en-US" sz="1800" b="1" dirty="0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rPr>
              <a:t>多种算法串联方案</a:t>
            </a:r>
            <a:endParaRPr kumimoji="1" lang="en-US" altLang="zh-CN" sz="1800" dirty="0">
              <a:solidFill>
                <a:schemeClr val="accent1">
                  <a:lumMod val="75000"/>
                </a:schemeClr>
              </a:solidFill>
              <a:latin typeface="+mj-ea"/>
              <a:ea typeface="+mj-ea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复杂场景，比如角度变换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有多种算法串联</a:t>
            </a:r>
          </a:p>
        </p:txBody>
      </p:sp>
      <p:sp>
        <p:nvSpPr>
          <p:cNvPr id="36" name="标题 1"/>
          <p:cNvSpPr txBox="1"/>
          <p:nvPr/>
        </p:nvSpPr>
        <p:spPr>
          <a:xfrm>
            <a:off x="8958392" y="4694888"/>
            <a:ext cx="2645543" cy="1069524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>
            <a:spAutoFit/>
          </a:bodyPr>
          <a:lstStyle>
            <a:lvl1pPr marL="0" marR="0" indent="0" algn="l" defTabSz="413385" rtl="0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2400" b="0" i="0" u="none" strike="noStrike" cap="none" spc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Noto Sans S Chinese Medium" panose="020B0600000000000000" pitchFamily="34" charset="-122"/>
                <a:ea typeface="Noto Sans S Chinese Medium" panose="020B0600000000000000" pitchFamily="34" charset="-122"/>
                <a:cs typeface="Noto Sans S Chinese Medium" panose="020B0600000000000000" pitchFamily="34" charset="-122"/>
                <a:sym typeface="Helvetica Neue Medium"/>
              </a:defRPr>
            </a:lvl1pPr>
            <a:lvl2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110045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935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>
              <a:spcBef>
                <a:spcPts val="300"/>
              </a:spcBef>
            </a:pPr>
            <a:r>
              <a:rPr kumimoji="1" lang="zh-CN" altLang="en-US" sz="2000" b="1" dirty="0">
                <a:solidFill>
                  <a:schemeClr val="accent1"/>
                </a:solidFill>
                <a:latin typeface="+mj-ea"/>
                <a:ea typeface="+mj-ea"/>
              </a:rPr>
              <a:t>通用单点算法解决</a:t>
            </a:r>
            <a:endParaRPr kumimoji="1" lang="en-US" altLang="zh-CN" sz="20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en-US" altLang="zh-CN" sz="1400" dirty="0">
                <a:solidFill>
                  <a:schemeClr val="tx1"/>
                </a:solidFill>
                <a:latin typeface="+mn-ea"/>
                <a:ea typeface="+mn-ea"/>
              </a:rPr>
              <a:t>OCR</a:t>
            </a: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识别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检测、计数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solidFill>
                  <a:schemeClr val="tx1"/>
                </a:solidFill>
                <a:latin typeface="+mn-ea"/>
                <a:ea typeface="+mn-ea"/>
              </a:rPr>
              <a:t>划伤</a:t>
            </a:r>
            <a:endParaRPr kumimoji="1" lang="en-US" altLang="zh-CN" sz="140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767072" y="3241651"/>
            <a:ext cx="1333698" cy="1210588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sz="1600" dirty="0">
                <a:latin typeface="+mj-ea"/>
                <a:ea typeface="+mj-ea"/>
              </a:rPr>
              <a:t>技术</a:t>
            </a:r>
            <a:r>
              <a:rPr kumimoji="0" lang="zh-CN" altLang="en-US" sz="1600" b="0" i="0" u="none" strike="noStrike" cap="none" spc="0" normalizeH="0" baseline="0" dirty="0">
                <a:ln>
                  <a:noFill/>
                </a:ln>
                <a:effectLst/>
                <a:uFillTx/>
                <a:latin typeface="+mj-ea"/>
                <a:ea typeface="+mj-ea"/>
                <a:sym typeface="Helvetica Neue Medium"/>
              </a:rPr>
              <a:t>难度</a:t>
            </a:r>
            <a:endParaRPr kumimoji="0" lang="en-US" altLang="zh-CN" sz="1600" b="0" i="0" u="none" strike="noStrike" cap="none" spc="0" normalizeH="0" baseline="0" dirty="0">
              <a:ln>
                <a:noFill/>
              </a:ln>
              <a:effectLst/>
              <a:uFillTx/>
              <a:latin typeface="+mj-ea"/>
              <a:ea typeface="+mj-ea"/>
              <a:sym typeface="Helvetica Neue Medium"/>
            </a:endParaRPr>
          </a:p>
          <a:p>
            <a:pPr marL="0" marR="0" indent="0" algn="ctr" defTabSz="8255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600" dirty="0">
                <a:latin typeface="+mj-ea"/>
                <a:ea typeface="+mj-ea"/>
                <a:sym typeface="Helvetica Neue Medium"/>
              </a:rPr>
              <a:t>&amp;</a:t>
            </a:r>
            <a:endParaRPr lang="en-US" altLang="zh-CN" sz="1600" dirty="0">
              <a:latin typeface="+mj-ea"/>
              <a:ea typeface="+mj-ea"/>
            </a:endParaRPr>
          </a:p>
          <a:p>
            <a:pPr marL="0" marR="0" indent="0" algn="ctr" defTabSz="8255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spc="0" normalizeH="0" baseline="0" dirty="0">
                <a:ln>
                  <a:noFill/>
                </a:ln>
                <a:effectLst/>
                <a:uFillTx/>
                <a:latin typeface="+mj-ea"/>
                <a:ea typeface="+mj-ea"/>
                <a:sym typeface="Helvetica Neue Medium"/>
              </a:rPr>
              <a:t>产品</a:t>
            </a:r>
            <a:r>
              <a:rPr lang="zh-CN" altLang="en-US" sz="1600" dirty="0">
                <a:latin typeface="+mj-ea"/>
                <a:ea typeface="+mj-ea"/>
              </a:rPr>
              <a:t>解决</a:t>
            </a:r>
            <a:r>
              <a:rPr kumimoji="0" lang="zh-CN" altLang="en-US" sz="1600" b="0" i="0" u="none" strike="noStrike" cap="none" spc="0" normalizeH="0" baseline="0" dirty="0">
                <a:ln>
                  <a:noFill/>
                </a:ln>
                <a:effectLst/>
                <a:uFillTx/>
                <a:latin typeface="+mj-ea"/>
                <a:ea typeface="+mj-ea"/>
                <a:sym typeface="Helvetica Neue Medium"/>
              </a:rPr>
              <a:t>方案</a:t>
            </a:r>
            <a:endParaRPr kumimoji="0" lang="en-US" altLang="zh-CN" sz="1600" b="0" i="0" u="none" strike="noStrike" cap="none" spc="0" normalizeH="0" baseline="0" dirty="0">
              <a:ln>
                <a:noFill/>
              </a:ln>
              <a:effectLst/>
              <a:uFillTx/>
              <a:latin typeface="+mj-ea"/>
              <a:ea typeface="+mj-ea"/>
              <a:sym typeface="Helvetica Neue Medium"/>
            </a:endParaRPr>
          </a:p>
        </p:txBody>
      </p:sp>
      <p:sp>
        <p:nvSpPr>
          <p:cNvPr id="39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ym typeface="+mn-ea"/>
              </a:rPr>
              <a:t>平台架构灵活，提供多元化的算法组合方案</a:t>
            </a:r>
            <a:endParaRPr lang="zh-CN" altLang="en-US" dirty="0"/>
          </a:p>
        </p:txBody>
      </p:sp>
      <p:grpSp>
        <p:nvGrpSpPr>
          <p:cNvPr id="40" name="组合 39"/>
          <p:cNvGrpSpPr/>
          <p:nvPr/>
        </p:nvGrpSpPr>
        <p:grpSpPr>
          <a:xfrm>
            <a:off x="3477714" y="1400889"/>
            <a:ext cx="4699542" cy="4594514"/>
            <a:chOff x="3366146" y="1306268"/>
            <a:chExt cx="5503733" cy="4092894"/>
          </a:xfrm>
        </p:grpSpPr>
        <p:sp>
          <p:nvSpPr>
            <p:cNvPr id="41" name="任意多边形: 形状 40"/>
            <p:cNvSpPr/>
            <p:nvPr/>
          </p:nvSpPr>
          <p:spPr>
            <a:xfrm>
              <a:off x="5200723" y="1306268"/>
              <a:ext cx="1834577" cy="1364298"/>
            </a:xfrm>
            <a:custGeom>
              <a:avLst/>
              <a:gdLst>
                <a:gd name="connsiteX0" fmla="*/ 0 w 2709333"/>
                <a:gd name="connsiteY0" fmla="*/ 1806222 h 1806222"/>
                <a:gd name="connsiteX1" fmla="*/ 1354667 w 2709333"/>
                <a:gd name="connsiteY1" fmla="*/ 0 h 1806222"/>
                <a:gd name="connsiteX2" fmla="*/ 1354667 w 2709333"/>
                <a:gd name="connsiteY2" fmla="*/ 0 h 1806222"/>
                <a:gd name="connsiteX3" fmla="*/ 2709333 w 2709333"/>
                <a:gd name="connsiteY3" fmla="*/ 1806222 h 1806222"/>
                <a:gd name="connsiteX4" fmla="*/ 0 w 2709333"/>
                <a:gd name="connsiteY4" fmla="*/ 1806222 h 180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333" h="1806222">
                  <a:moveTo>
                    <a:pt x="0" y="1806222"/>
                  </a:moveTo>
                  <a:lnTo>
                    <a:pt x="1354667" y="0"/>
                  </a:lnTo>
                  <a:lnTo>
                    <a:pt x="1354667" y="0"/>
                  </a:lnTo>
                  <a:lnTo>
                    <a:pt x="2709333" y="1806222"/>
                  </a:lnTo>
                  <a:lnTo>
                    <a:pt x="0" y="1806222"/>
                  </a:lnTo>
                  <a:close/>
                </a:path>
              </a:pathLst>
            </a:custGeo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30000"/>
                  </a:schemeClr>
                </a:gs>
              </a:gsLst>
              <a:lin ang="16200000" scaled="1"/>
            </a:gradFill>
            <a:ln w="6350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80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defRPr/>
              </a:pPr>
              <a:endParaRPr kumimoji="0" lang="zh-CN" altLang="en-US" sz="6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微软雅黑 Light" panose="020B0502040204020203" pitchFamily="34" charset="-122"/>
                <a:cs typeface="+mn-cs"/>
              </a:endParaRPr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4283434" y="2670566"/>
              <a:ext cx="3669155" cy="1364298"/>
            </a:xfrm>
            <a:custGeom>
              <a:avLst/>
              <a:gdLst>
                <a:gd name="connsiteX0" fmla="*/ 0 w 5418666"/>
                <a:gd name="connsiteY0" fmla="*/ 1806222 h 1806222"/>
                <a:gd name="connsiteX1" fmla="*/ 1354667 w 5418666"/>
                <a:gd name="connsiteY1" fmla="*/ 0 h 1806222"/>
                <a:gd name="connsiteX2" fmla="*/ 4064000 w 5418666"/>
                <a:gd name="connsiteY2" fmla="*/ 0 h 1806222"/>
                <a:gd name="connsiteX3" fmla="*/ 5418666 w 5418666"/>
                <a:gd name="connsiteY3" fmla="*/ 1806222 h 1806222"/>
                <a:gd name="connsiteX4" fmla="*/ 0 w 5418666"/>
                <a:gd name="connsiteY4" fmla="*/ 1806222 h 180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8666" h="1806222">
                  <a:moveTo>
                    <a:pt x="0" y="1806222"/>
                  </a:moveTo>
                  <a:lnTo>
                    <a:pt x="1354667" y="0"/>
                  </a:lnTo>
                  <a:lnTo>
                    <a:pt x="4064000" y="0"/>
                  </a:lnTo>
                  <a:lnTo>
                    <a:pt x="5418666" y="1806222"/>
                  </a:lnTo>
                  <a:lnTo>
                    <a:pt x="0" y="180622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75000"/>
                    <a:alpha val="0"/>
                  </a:schemeClr>
                </a:gs>
                <a:gs pos="100000">
                  <a:schemeClr val="accent1">
                    <a:lumMod val="75000"/>
                    <a:alpha val="30000"/>
                  </a:schemeClr>
                </a:gs>
              </a:gsLst>
              <a:lin ang="16200000" scaled="1"/>
            </a:gradFill>
            <a:ln w="6350">
              <a:gradFill flip="none" rotWithShape="1">
                <a:gsLst>
                  <a:gs pos="0">
                    <a:schemeClr val="accent1">
                      <a:lumMod val="75000"/>
                      <a:alpha val="0"/>
                    </a:schemeClr>
                  </a:gs>
                  <a:gs pos="100000">
                    <a:schemeClr val="accent1">
                      <a:lumMod val="75000"/>
                      <a:alpha val="80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6500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3366146" y="4034864"/>
              <a:ext cx="5503733" cy="1364298"/>
            </a:xfrm>
            <a:custGeom>
              <a:avLst/>
              <a:gdLst>
                <a:gd name="connsiteX0" fmla="*/ 0 w 8128000"/>
                <a:gd name="connsiteY0" fmla="*/ 1806222 h 1806222"/>
                <a:gd name="connsiteX1" fmla="*/ 1354667 w 8128000"/>
                <a:gd name="connsiteY1" fmla="*/ 0 h 1806222"/>
                <a:gd name="connsiteX2" fmla="*/ 6773334 w 8128000"/>
                <a:gd name="connsiteY2" fmla="*/ 0 h 1806222"/>
                <a:gd name="connsiteX3" fmla="*/ 8128000 w 8128000"/>
                <a:gd name="connsiteY3" fmla="*/ 1806222 h 1806222"/>
                <a:gd name="connsiteX4" fmla="*/ 0 w 8128000"/>
                <a:gd name="connsiteY4" fmla="*/ 1806222 h 180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8000" h="1806222">
                  <a:moveTo>
                    <a:pt x="0" y="1806222"/>
                  </a:moveTo>
                  <a:lnTo>
                    <a:pt x="1354667" y="0"/>
                  </a:lnTo>
                  <a:lnTo>
                    <a:pt x="6773334" y="0"/>
                  </a:lnTo>
                  <a:lnTo>
                    <a:pt x="8128000" y="1806222"/>
                  </a:lnTo>
                  <a:lnTo>
                    <a:pt x="0" y="180622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16200000" scaled="1"/>
            </a:gradFill>
            <a:ln w="6350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80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6500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</p:grpSp>
      <p:sp>
        <p:nvSpPr>
          <p:cNvPr id="56" name="文本框 55"/>
          <p:cNvSpPr txBox="1"/>
          <p:nvPr/>
        </p:nvSpPr>
        <p:spPr>
          <a:xfrm>
            <a:off x="5314524" y="5039855"/>
            <a:ext cx="1025922" cy="37959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zh-CN" altLang="en-US" b="1" dirty="0">
                <a:solidFill>
                  <a:schemeClr val="accent1"/>
                </a:solidFill>
                <a:latin typeface="+mj-ea"/>
                <a:ea typeface="+mj-ea"/>
              </a:rPr>
              <a:t>普通场景</a:t>
            </a:r>
            <a:endParaRPr lang="en-US" altLang="zh-CN" b="1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5545357" y="1976846"/>
            <a:ext cx="564257" cy="37959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极难</a:t>
            </a:r>
            <a:endParaRPr lang="en-US" altLang="zh-CN" b="1" dirty="0">
              <a:solidFill>
                <a:schemeClr val="accent2"/>
              </a:solidFill>
              <a:latin typeface="+mj-ea"/>
              <a:ea typeface="+mj-ea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5314524" y="3508351"/>
            <a:ext cx="1025923" cy="37959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rPr>
              <a:t>中等难度</a:t>
            </a:r>
            <a:endParaRPr lang="en-US" altLang="zh-CN" b="1" dirty="0">
              <a:solidFill>
                <a:schemeClr val="accent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59" name="箭头: 上下 58"/>
          <p:cNvSpPr/>
          <p:nvPr/>
        </p:nvSpPr>
        <p:spPr>
          <a:xfrm>
            <a:off x="2205867" y="1899377"/>
            <a:ext cx="336854" cy="3895136"/>
          </a:xfrm>
          <a:prstGeom prst="upDownArrow">
            <a:avLst>
              <a:gd name="adj1" fmla="val 63193"/>
              <a:gd name="adj2" fmla="val 50000"/>
            </a:avLst>
          </a:prstGeom>
          <a:solidFill>
            <a:schemeClr val="accent1">
              <a:alpha val="4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3" name="直接连接符 72"/>
          <p:cNvCxnSpPr/>
          <p:nvPr/>
        </p:nvCxnSpPr>
        <p:spPr>
          <a:xfrm>
            <a:off x="5984648" y="1916216"/>
            <a:ext cx="145965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6740372" y="3435453"/>
            <a:ext cx="145965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75000"/>
                    <a:alpha val="0"/>
                  </a:schemeClr>
                </a:gs>
              </a:gsLst>
              <a:lin ang="0" scaled="1"/>
              <a:tileRect/>
            </a:gra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/>
          <p:nvPr/>
        </p:nvCxnSpPr>
        <p:spPr>
          <a:xfrm>
            <a:off x="7430934" y="4845153"/>
            <a:ext cx="145965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图片 77"/>
          <p:cNvPicPr>
            <a:picLocks noChangeAspect="1"/>
          </p:cNvPicPr>
          <p:nvPr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79" name="文本框 78"/>
          <p:cNvSpPr txBox="1"/>
          <p:nvPr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16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80" name="组合 79"/>
          <p:cNvGrpSpPr/>
          <p:nvPr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81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5" name="文本框 84"/>
          <p:cNvSpPr txBox="1"/>
          <p:nvPr/>
        </p:nvSpPr>
        <p:spPr>
          <a:xfrm>
            <a:off x="10215841" y="336016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矩形: 圆角 155"/>
          <p:cNvSpPr/>
          <p:nvPr/>
        </p:nvSpPr>
        <p:spPr>
          <a:xfrm rot="5400000">
            <a:off x="8501651" y="-404225"/>
            <a:ext cx="1206074" cy="5488827"/>
          </a:xfrm>
          <a:prstGeom prst="roundRect">
            <a:avLst>
              <a:gd name="adj" fmla="val 9159"/>
            </a:avLst>
          </a:prstGeom>
          <a:gradFill flip="none" rotWithShape="1">
            <a:gsLst>
              <a:gs pos="0">
                <a:schemeClr val="accent1">
                  <a:alpha val="5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157" name="矩形: 圆角 156"/>
          <p:cNvSpPr/>
          <p:nvPr/>
        </p:nvSpPr>
        <p:spPr>
          <a:xfrm rot="5400000">
            <a:off x="8501652" y="971463"/>
            <a:ext cx="1206074" cy="5488827"/>
          </a:xfrm>
          <a:prstGeom prst="roundRect">
            <a:avLst>
              <a:gd name="adj" fmla="val 9159"/>
            </a:avLst>
          </a:prstGeom>
          <a:gradFill flip="none" rotWithShape="1">
            <a:gsLst>
              <a:gs pos="0">
                <a:schemeClr val="accent1">
                  <a:alpha val="5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158" name="矩形: 圆角 157"/>
          <p:cNvSpPr/>
          <p:nvPr/>
        </p:nvSpPr>
        <p:spPr>
          <a:xfrm rot="5400000">
            <a:off x="8501652" y="2342895"/>
            <a:ext cx="1206074" cy="5488827"/>
          </a:xfrm>
          <a:prstGeom prst="roundRect">
            <a:avLst>
              <a:gd name="adj" fmla="val 9159"/>
            </a:avLst>
          </a:prstGeom>
          <a:gradFill flip="none" rotWithShape="1">
            <a:gsLst>
              <a:gs pos="0">
                <a:schemeClr val="accent1">
                  <a:alpha val="5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155" name="椭圆 154"/>
          <p:cNvSpPr/>
          <p:nvPr/>
        </p:nvSpPr>
        <p:spPr>
          <a:xfrm>
            <a:off x="-3396820" y="-1030534"/>
            <a:ext cx="9492820" cy="9492820"/>
          </a:xfrm>
          <a:prstGeom prst="ellipse">
            <a:avLst/>
          </a:prstGeom>
          <a:noFill/>
          <a:ln w="6350">
            <a:gradFill flip="none" rotWithShape="1">
              <a:gsLst>
                <a:gs pos="92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8" name="组合 77"/>
          <p:cNvGrpSpPr/>
          <p:nvPr/>
        </p:nvGrpSpPr>
        <p:grpSpPr>
          <a:xfrm>
            <a:off x="-469470" y="1896816"/>
            <a:ext cx="3638120" cy="3638120"/>
            <a:chOff x="-367870" y="1983975"/>
            <a:chExt cx="3434920" cy="3434920"/>
          </a:xfrm>
        </p:grpSpPr>
        <p:sp>
          <p:nvSpPr>
            <p:cNvPr id="69" name="椭圆 68"/>
            <p:cNvSpPr/>
            <p:nvPr/>
          </p:nvSpPr>
          <p:spPr>
            <a:xfrm>
              <a:off x="-367870" y="1983975"/>
              <a:ext cx="3434920" cy="3434920"/>
            </a:xfrm>
            <a:prstGeom prst="ellipse">
              <a:avLst/>
            </a:prstGeom>
            <a:solidFill>
              <a:schemeClr val="accent1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-117090" y="2234755"/>
              <a:ext cx="2933360" cy="2933360"/>
            </a:xfrm>
            <a:prstGeom prst="ellipse">
              <a:avLst/>
            </a:prstGeom>
            <a:solidFill>
              <a:schemeClr val="accent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椭圆 70"/>
            <p:cNvSpPr/>
            <p:nvPr/>
          </p:nvSpPr>
          <p:spPr>
            <a:xfrm>
              <a:off x="133688" y="2485533"/>
              <a:ext cx="2431803" cy="2431803"/>
            </a:xfrm>
            <a:prstGeom prst="ellipse">
              <a:avLst/>
            </a:prstGeom>
            <a:solidFill>
              <a:schemeClr val="accent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椭圆 15"/>
          <p:cNvSpPr/>
          <p:nvPr/>
        </p:nvSpPr>
        <p:spPr>
          <a:xfrm>
            <a:off x="5756147" y="3391282"/>
            <a:ext cx="648000" cy="649188"/>
          </a:xfrm>
          <a:prstGeom prst="ellipse">
            <a:avLst/>
          </a:prstGeom>
          <a:solidFill>
            <a:schemeClr val="accent1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hangingPunct="0"/>
            <a:endParaRPr lang="zh-CN" altLang="en-US" sz="3000" dirty="0">
              <a:solidFill>
                <a:srgbClr val="000000"/>
              </a:solidFill>
              <a:latin typeface="思源黑体 CN Normal" panose="020B0400000000000000" pitchFamily="34" charset="-122"/>
              <a:sym typeface="Helvetica Neue Medium"/>
            </a:endParaRPr>
          </a:p>
        </p:txBody>
      </p:sp>
      <p:grpSp>
        <p:nvGrpSpPr>
          <p:cNvPr id="136" name="组合 135"/>
          <p:cNvGrpSpPr/>
          <p:nvPr/>
        </p:nvGrpSpPr>
        <p:grpSpPr>
          <a:xfrm>
            <a:off x="5942749" y="3545356"/>
            <a:ext cx="283126" cy="341038"/>
            <a:chOff x="6343114" y="3161496"/>
            <a:chExt cx="379952" cy="457670"/>
          </a:xfrm>
        </p:grpSpPr>
        <p:sp>
          <p:nvSpPr>
            <p:cNvPr id="114" name="任意多边形: 形状 113"/>
            <p:cNvSpPr/>
            <p:nvPr/>
          </p:nvSpPr>
          <p:spPr>
            <a:xfrm>
              <a:off x="6343114" y="3161496"/>
              <a:ext cx="379952" cy="336776"/>
            </a:xfrm>
            <a:custGeom>
              <a:avLst/>
              <a:gdLst>
                <a:gd name="connsiteX0" fmla="*/ 280647 w 379952"/>
                <a:gd name="connsiteY0" fmla="*/ 306553 h 336776"/>
                <a:gd name="connsiteX1" fmla="*/ 315188 w 379952"/>
                <a:gd name="connsiteY1" fmla="*/ 336776 h 336776"/>
                <a:gd name="connsiteX2" fmla="*/ 336776 w 379952"/>
                <a:gd name="connsiteY2" fmla="*/ 315188 h 336776"/>
                <a:gd name="connsiteX3" fmla="*/ 306553 w 379952"/>
                <a:gd name="connsiteY3" fmla="*/ 280647 h 336776"/>
                <a:gd name="connsiteX4" fmla="*/ 332459 w 379952"/>
                <a:gd name="connsiteY4" fmla="*/ 215882 h 336776"/>
                <a:gd name="connsiteX5" fmla="*/ 379953 w 379952"/>
                <a:gd name="connsiteY5" fmla="*/ 207247 h 336776"/>
                <a:gd name="connsiteX6" fmla="*/ 379953 w 379952"/>
                <a:gd name="connsiteY6" fmla="*/ 177023 h 336776"/>
                <a:gd name="connsiteX7" fmla="*/ 336776 w 379952"/>
                <a:gd name="connsiteY7" fmla="*/ 168388 h 336776"/>
                <a:gd name="connsiteX8" fmla="*/ 306553 w 379952"/>
                <a:gd name="connsiteY8" fmla="*/ 103623 h 336776"/>
                <a:gd name="connsiteX9" fmla="*/ 336776 w 379952"/>
                <a:gd name="connsiteY9" fmla="*/ 64765 h 336776"/>
                <a:gd name="connsiteX10" fmla="*/ 315188 w 379952"/>
                <a:gd name="connsiteY10" fmla="*/ 43176 h 336776"/>
                <a:gd name="connsiteX11" fmla="*/ 280647 w 379952"/>
                <a:gd name="connsiteY11" fmla="*/ 73400 h 336776"/>
                <a:gd name="connsiteX12" fmla="*/ 211565 w 379952"/>
                <a:gd name="connsiteY12" fmla="*/ 47494 h 336776"/>
                <a:gd name="connsiteX13" fmla="*/ 207247 w 379952"/>
                <a:gd name="connsiteY13" fmla="*/ 0 h 336776"/>
                <a:gd name="connsiteX14" fmla="*/ 177023 w 379952"/>
                <a:gd name="connsiteY14" fmla="*/ 0 h 336776"/>
                <a:gd name="connsiteX15" fmla="*/ 168388 w 379952"/>
                <a:gd name="connsiteY15" fmla="*/ 47494 h 336776"/>
                <a:gd name="connsiteX16" fmla="*/ 103623 w 379952"/>
                <a:gd name="connsiteY16" fmla="*/ 73400 h 336776"/>
                <a:gd name="connsiteX17" fmla="*/ 64765 w 379952"/>
                <a:gd name="connsiteY17" fmla="*/ 43176 h 336776"/>
                <a:gd name="connsiteX18" fmla="*/ 43176 w 379952"/>
                <a:gd name="connsiteY18" fmla="*/ 64765 h 336776"/>
                <a:gd name="connsiteX19" fmla="*/ 73400 w 379952"/>
                <a:gd name="connsiteY19" fmla="*/ 103623 h 336776"/>
                <a:gd name="connsiteX20" fmla="*/ 47494 w 379952"/>
                <a:gd name="connsiteY20" fmla="*/ 168388 h 336776"/>
                <a:gd name="connsiteX21" fmla="*/ 0 w 379952"/>
                <a:gd name="connsiteY21" fmla="*/ 177023 h 336776"/>
                <a:gd name="connsiteX22" fmla="*/ 0 w 379952"/>
                <a:gd name="connsiteY22" fmla="*/ 207247 h 336776"/>
                <a:gd name="connsiteX23" fmla="*/ 47494 w 379952"/>
                <a:gd name="connsiteY23" fmla="*/ 211565 h 336776"/>
                <a:gd name="connsiteX24" fmla="*/ 73400 w 379952"/>
                <a:gd name="connsiteY24" fmla="*/ 276329 h 336776"/>
                <a:gd name="connsiteX25" fmla="*/ 43176 w 379952"/>
                <a:gd name="connsiteY25" fmla="*/ 315188 h 336776"/>
                <a:gd name="connsiteX26" fmla="*/ 64765 w 379952"/>
                <a:gd name="connsiteY26" fmla="*/ 336776 h 336776"/>
                <a:gd name="connsiteX27" fmla="*/ 99306 w 379952"/>
                <a:gd name="connsiteY27" fmla="*/ 306553 h 33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952" h="336776">
                  <a:moveTo>
                    <a:pt x="280647" y="306553"/>
                  </a:moveTo>
                  <a:lnTo>
                    <a:pt x="315188" y="336776"/>
                  </a:lnTo>
                  <a:lnTo>
                    <a:pt x="336776" y="315188"/>
                  </a:lnTo>
                  <a:lnTo>
                    <a:pt x="306553" y="280647"/>
                  </a:lnTo>
                  <a:cubicBezTo>
                    <a:pt x="319506" y="263376"/>
                    <a:pt x="332459" y="237471"/>
                    <a:pt x="332459" y="215882"/>
                  </a:cubicBezTo>
                  <a:lnTo>
                    <a:pt x="379953" y="207247"/>
                  </a:lnTo>
                  <a:lnTo>
                    <a:pt x="379953" y="177023"/>
                  </a:lnTo>
                  <a:lnTo>
                    <a:pt x="336776" y="168388"/>
                  </a:lnTo>
                  <a:cubicBezTo>
                    <a:pt x="332459" y="146800"/>
                    <a:pt x="323823" y="120894"/>
                    <a:pt x="306553" y="103623"/>
                  </a:cubicBezTo>
                  <a:lnTo>
                    <a:pt x="336776" y="64765"/>
                  </a:lnTo>
                  <a:lnTo>
                    <a:pt x="315188" y="43176"/>
                  </a:lnTo>
                  <a:lnTo>
                    <a:pt x="280647" y="73400"/>
                  </a:lnTo>
                  <a:cubicBezTo>
                    <a:pt x="259059" y="60447"/>
                    <a:pt x="237470" y="51812"/>
                    <a:pt x="211565" y="47494"/>
                  </a:cubicBezTo>
                  <a:lnTo>
                    <a:pt x="207247" y="0"/>
                  </a:lnTo>
                  <a:lnTo>
                    <a:pt x="177023" y="0"/>
                  </a:lnTo>
                  <a:lnTo>
                    <a:pt x="168388" y="47494"/>
                  </a:lnTo>
                  <a:cubicBezTo>
                    <a:pt x="146800" y="51812"/>
                    <a:pt x="120894" y="60447"/>
                    <a:pt x="103623" y="73400"/>
                  </a:cubicBezTo>
                  <a:lnTo>
                    <a:pt x="64765" y="43176"/>
                  </a:lnTo>
                  <a:lnTo>
                    <a:pt x="43176" y="64765"/>
                  </a:lnTo>
                  <a:lnTo>
                    <a:pt x="73400" y="103623"/>
                  </a:lnTo>
                  <a:cubicBezTo>
                    <a:pt x="60447" y="120894"/>
                    <a:pt x="51812" y="146800"/>
                    <a:pt x="47494" y="168388"/>
                  </a:cubicBezTo>
                  <a:lnTo>
                    <a:pt x="0" y="177023"/>
                  </a:lnTo>
                  <a:lnTo>
                    <a:pt x="0" y="207247"/>
                  </a:lnTo>
                  <a:lnTo>
                    <a:pt x="47494" y="211565"/>
                  </a:lnTo>
                  <a:cubicBezTo>
                    <a:pt x="51812" y="237471"/>
                    <a:pt x="60447" y="259059"/>
                    <a:pt x="73400" y="276329"/>
                  </a:cubicBezTo>
                  <a:lnTo>
                    <a:pt x="43176" y="315188"/>
                  </a:lnTo>
                  <a:lnTo>
                    <a:pt x="64765" y="336776"/>
                  </a:lnTo>
                  <a:lnTo>
                    <a:pt x="99306" y="306553"/>
                  </a:ln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/>
          </p:nvSpPr>
          <p:spPr>
            <a:xfrm>
              <a:off x="6416514" y="3234896"/>
              <a:ext cx="233152" cy="233152"/>
            </a:xfrm>
            <a:custGeom>
              <a:avLst/>
              <a:gdLst>
                <a:gd name="connsiteX0" fmla="*/ 233153 w 233152"/>
                <a:gd name="connsiteY0" fmla="*/ 116576 h 233152"/>
                <a:gd name="connsiteX1" fmla="*/ 116576 w 233152"/>
                <a:gd name="connsiteY1" fmla="*/ 233153 h 233152"/>
                <a:gd name="connsiteX2" fmla="*/ 0 w 233152"/>
                <a:gd name="connsiteY2" fmla="*/ 116576 h 233152"/>
                <a:gd name="connsiteX3" fmla="*/ 116576 w 233152"/>
                <a:gd name="connsiteY3" fmla="*/ 0 h 233152"/>
                <a:gd name="connsiteX4" fmla="*/ 233153 w 233152"/>
                <a:gd name="connsiteY4" fmla="*/ 116576 h 23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152" h="233152">
                  <a:moveTo>
                    <a:pt x="233153" y="116576"/>
                  </a:moveTo>
                  <a:cubicBezTo>
                    <a:pt x="233153" y="180960"/>
                    <a:pt x="180960" y="233153"/>
                    <a:pt x="116576" y="233153"/>
                  </a:cubicBezTo>
                  <a:cubicBezTo>
                    <a:pt x="52193" y="233153"/>
                    <a:pt x="0" y="180960"/>
                    <a:pt x="0" y="116576"/>
                  </a:cubicBezTo>
                  <a:cubicBezTo>
                    <a:pt x="0" y="52193"/>
                    <a:pt x="52193" y="0"/>
                    <a:pt x="116576" y="0"/>
                  </a:cubicBezTo>
                  <a:cubicBezTo>
                    <a:pt x="180960" y="0"/>
                    <a:pt x="233153" y="52193"/>
                    <a:pt x="233153" y="116576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/>
          </p:nvSpPr>
          <p:spPr>
            <a:xfrm>
              <a:off x="6451055" y="3269437"/>
              <a:ext cx="164070" cy="164070"/>
            </a:xfrm>
            <a:custGeom>
              <a:avLst/>
              <a:gdLst>
                <a:gd name="connsiteX0" fmla="*/ 164071 w 164070"/>
                <a:gd name="connsiteY0" fmla="*/ 82035 h 164070"/>
                <a:gd name="connsiteX1" fmla="*/ 82035 w 164070"/>
                <a:gd name="connsiteY1" fmla="*/ 164071 h 164070"/>
                <a:gd name="connsiteX2" fmla="*/ 0 w 164070"/>
                <a:gd name="connsiteY2" fmla="*/ 82035 h 164070"/>
                <a:gd name="connsiteX3" fmla="*/ 82035 w 164070"/>
                <a:gd name="connsiteY3" fmla="*/ 0 h 164070"/>
                <a:gd name="connsiteX4" fmla="*/ 164071 w 164070"/>
                <a:gd name="connsiteY4" fmla="*/ 82035 h 16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70" h="164070">
                  <a:moveTo>
                    <a:pt x="164071" y="82035"/>
                  </a:moveTo>
                  <a:cubicBezTo>
                    <a:pt x="164071" y="127342"/>
                    <a:pt x="127342" y="164071"/>
                    <a:pt x="82035" y="164071"/>
                  </a:cubicBezTo>
                  <a:cubicBezTo>
                    <a:pt x="36728" y="164071"/>
                    <a:pt x="0" y="127342"/>
                    <a:pt x="0" y="82035"/>
                  </a:cubicBezTo>
                  <a:cubicBezTo>
                    <a:pt x="0" y="36728"/>
                    <a:pt x="36728" y="0"/>
                    <a:pt x="82035" y="0"/>
                  </a:cubicBezTo>
                  <a:cubicBezTo>
                    <a:pt x="127342" y="0"/>
                    <a:pt x="164071" y="36728"/>
                    <a:pt x="164071" y="82035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35" name="组合 134"/>
            <p:cNvGrpSpPr/>
            <p:nvPr/>
          </p:nvGrpSpPr>
          <p:grpSpPr>
            <a:xfrm>
              <a:off x="6364702" y="3191720"/>
              <a:ext cx="336776" cy="427446"/>
              <a:chOff x="6364702" y="3191720"/>
              <a:chExt cx="336776" cy="427446"/>
            </a:xfrm>
          </p:grpSpPr>
          <p:sp>
            <p:nvSpPr>
              <p:cNvPr id="116" name="任意多边形: 形状 115"/>
              <p:cNvSpPr/>
              <p:nvPr/>
            </p:nvSpPr>
            <p:spPr>
              <a:xfrm>
                <a:off x="6364702" y="3286708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/>
              <p:cNvSpPr/>
              <p:nvPr/>
            </p:nvSpPr>
            <p:spPr>
              <a:xfrm>
                <a:off x="6688526" y="3286708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/>
              <p:cNvSpPr/>
              <p:nvPr/>
            </p:nvSpPr>
            <p:spPr>
              <a:xfrm>
                <a:off x="6364702" y="3420555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/>
              <p:cNvSpPr/>
              <p:nvPr/>
            </p:nvSpPr>
            <p:spPr>
              <a:xfrm>
                <a:off x="6688526" y="3420555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/>
              <p:cNvSpPr/>
              <p:nvPr/>
            </p:nvSpPr>
            <p:spPr>
              <a:xfrm>
                <a:off x="6459691" y="3191720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/>
              <p:cNvSpPr/>
              <p:nvPr/>
            </p:nvSpPr>
            <p:spPr>
              <a:xfrm>
                <a:off x="6593538" y="3191720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/>
              <p:cNvSpPr/>
              <p:nvPr/>
            </p:nvSpPr>
            <p:spPr>
              <a:xfrm>
                <a:off x="6459691" y="3515543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/>
              <p:cNvSpPr/>
              <p:nvPr/>
            </p:nvSpPr>
            <p:spPr>
              <a:xfrm>
                <a:off x="6593538" y="351554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/>
              <p:cNvSpPr/>
              <p:nvPr/>
            </p:nvSpPr>
            <p:spPr>
              <a:xfrm>
                <a:off x="6507185" y="3468049"/>
                <a:ext cx="60447" cy="151117"/>
              </a:xfrm>
              <a:custGeom>
                <a:avLst/>
                <a:gdLst>
                  <a:gd name="connsiteX0" fmla="*/ 0 w 60447"/>
                  <a:gd name="connsiteY0" fmla="*/ 0 h 151117"/>
                  <a:gd name="connsiteX1" fmla="*/ 0 w 60447"/>
                  <a:gd name="connsiteY1" fmla="*/ 120894 h 151117"/>
                  <a:gd name="connsiteX2" fmla="*/ 8635 w 60447"/>
                  <a:gd name="connsiteY2" fmla="*/ 142482 h 151117"/>
                  <a:gd name="connsiteX3" fmla="*/ 30224 w 60447"/>
                  <a:gd name="connsiteY3" fmla="*/ 151118 h 151117"/>
                  <a:gd name="connsiteX4" fmla="*/ 51812 w 60447"/>
                  <a:gd name="connsiteY4" fmla="*/ 142482 h 151117"/>
                  <a:gd name="connsiteX5" fmla="*/ 60447 w 60447"/>
                  <a:gd name="connsiteY5" fmla="*/ 120894 h 151117"/>
                  <a:gd name="connsiteX6" fmla="*/ 60447 w 60447"/>
                  <a:gd name="connsiteY6" fmla="*/ 0 h 15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447" h="151117">
                    <a:moveTo>
                      <a:pt x="0" y="0"/>
                    </a:moveTo>
                    <a:lnTo>
                      <a:pt x="0" y="120894"/>
                    </a:lnTo>
                    <a:cubicBezTo>
                      <a:pt x="0" y="129529"/>
                      <a:pt x="4318" y="133847"/>
                      <a:pt x="8635" y="142482"/>
                    </a:cubicBezTo>
                    <a:cubicBezTo>
                      <a:pt x="12953" y="146800"/>
                      <a:pt x="21588" y="151118"/>
                      <a:pt x="30224" y="151118"/>
                    </a:cubicBezTo>
                    <a:cubicBezTo>
                      <a:pt x="38859" y="151118"/>
                      <a:pt x="43176" y="146800"/>
                      <a:pt x="51812" y="142482"/>
                    </a:cubicBezTo>
                    <a:cubicBezTo>
                      <a:pt x="56129" y="138165"/>
                      <a:pt x="60447" y="129529"/>
                      <a:pt x="60447" y="120894"/>
                    </a:cubicBezTo>
                    <a:lnTo>
                      <a:pt x="60447" y="0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/>
              <p:cNvSpPr/>
              <p:nvPr/>
            </p:nvSpPr>
            <p:spPr>
              <a:xfrm>
                <a:off x="6533091" y="3468049"/>
                <a:ext cx="43176" cy="51811"/>
              </a:xfrm>
              <a:custGeom>
                <a:avLst/>
                <a:gdLst>
                  <a:gd name="connsiteX0" fmla="*/ 0 w 43176"/>
                  <a:gd name="connsiteY0" fmla="*/ 0 h 51811"/>
                  <a:gd name="connsiteX1" fmla="*/ 0 w 43176"/>
                  <a:gd name="connsiteY1" fmla="*/ 51812 h 5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76" h="51811">
                    <a:moveTo>
                      <a:pt x="0" y="0"/>
                    </a:moveTo>
                    <a:lnTo>
                      <a:pt x="0" y="51812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/>
              <p:cNvSpPr/>
              <p:nvPr/>
            </p:nvSpPr>
            <p:spPr>
              <a:xfrm>
                <a:off x="6498549" y="335147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/>
              <p:cNvSpPr/>
              <p:nvPr/>
            </p:nvSpPr>
            <p:spPr>
              <a:xfrm>
                <a:off x="6528773" y="335147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/>
              <p:cNvSpPr/>
              <p:nvPr/>
            </p:nvSpPr>
            <p:spPr>
              <a:xfrm>
                <a:off x="6554679" y="3351473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5" name="椭圆 24"/>
          <p:cNvSpPr/>
          <p:nvPr/>
        </p:nvSpPr>
        <p:spPr>
          <a:xfrm>
            <a:off x="5596434" y="4666898"/>
            <a:ext cx="648000" cy="649188"/>
          </a:xfrm>
          <a:prstGeom prst="ellipse">
            <a:avLst/>
          </a:prstGeom>
          <a:solidFill>
            <a:schemeClr val="accent1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思源黑体 CN Normal" panose="020B0400000000000000" pitchFamily="34" charset="-122"/>
              <a:ea typeface="思源黑体 CN Normal" panose="020B0400000000000000" pitchFamily="34" charset="-122"/>
              <a:cs typeface="Helvetica Neue Medium"/>
              <a:sym typeface="Helvetica Neue Medium"/>
            </a:endParaRPr>
          </a:p>
        </p:txBody>
      </p:sp>
      <p:grpSp>
        <p:nvGrpSpPr>
          <p:cNvPr id="112" name="组合 111"/>
          <p:cNvGrpSpPr/>
          <p:nvPr/>
        </p:nvGrpSpPr>
        <p:grpSpPr>
          <a:xfrm>
            <a:off x="5808305" y="4863323"/>
            <a:ext cx="232589" cy="256338"/>
            <a:chOff x="6368635" y="4970455"/>
            <a:chExt cx="312131" cy="344003"/>
          </a:xfrm>
        </p:grpSpPr>
        <p:grpSp>
          <p:nvGrpSpPr>
            <p:cNvPr id="81" name="图形 21"/>
            <p:cNvGrpSpPr/>
            <p:nvPr/>
          </p:nvGrpSpPr>
          <p:grpSpPr>
            <a:xfrm>
              <a:off x="6613641" y="5114068"/>
              <a:ext cx="33562" cy="56777"/>
              <a:chOff x="6613641" y="5114068"/>
              <a:chExt cx="33562" cy="56777"/>
            </a:xfrm>
          </p:grpSpPr>
          <p:sp>
            <p:nvSpPr>
              <p:cNvPr id="82" name="任意多边形: 形状 81"/>
              <p:cNvSpPr/>
              <p:nvPr/>
            </p:nvSpPr>
            <p:spPr>
              <a:xfrm>
                <a:off x="6613641" y="5114068"/>
                <a:ext cx="33562" cy="13359"/>
              </a:xfrm>
              <a:custGeom>
                <a:avLst/>
                <a:gdLst>
                  <a:gd name="connsiteX0" fmla="*/ 0 w 33562"/>
                  <a:gd name="connsiteY0" fmla="*/ 0 h 13359"/>
                  <a:gd name="connsiteX1" fmla="*/ 0 w 33562"/>
                  <a:gd name="connsiteY1" fmla="*/ 13359 h 1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3359">
                    <a:moveTo>
                      <a:pt x="0" y="0"/>
                    </a:moveTo>
                    <a:lnTo>
                      <a:pt x="0" y="13359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/>
              <p:cNvSpPr/>
              <p:nvPr/>
            </p:nvSpPr>
            <p:spPr>
              <a:xfrm>
                <a:off x="6613641" y="5137447"/>
                <a:ext cx="33562" cy="10019"/>
              </a:xfrm>
              <a:custGeom>
                <a:avLst/>
                <a:gdLst>
                  <a:gd name="connsiteX0" fmla="*/ 0 w 33562"/>
                  <a:gd name="connsiteY0" fmla="*/ 0 h 10019"/>
                  <a:gd name="connsiteX1" fmla="*/ 0 w 33562"/>
                  <a:gd name="connsiteY1" fmla="*/ 10020 h 1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0019">
                    <a:moveTo>
                      <a:pt x="0" y="0"/>
                    </a:moveTo>
                    <a:lnTo>
                      <a:pt x="0" y="1002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/>
              <p:cNvSpPr/>
              <p:nvPr/>
            </p:nvSpPr>
            <p:spPr>
              <a:xfrm>
                <a:off x="6613641" y="5160826"/>
                <a:ext cx="33562" cy="10019"/>
              </a:xfrm>
              <a:custGeom>
                <a:avLst/>
                <a:gdLst>
                  <a:gd name="connsiteX0" fmla="*/ 0 w 33562"/>
                  <a:gd name="connsiteY0" fmla="*/ 0 h 10019"/>
                  <a:gd name="connsiteX1" fmla="*/ 0 w 33562"/>
                  <a:gd name="connsiteY1" fmla="*/ 10020 h 1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0019">
                    <a:moveTo>
                      <a:pt x="0" y="0"/>
                    </a:moveTo>
                    <a:lnTo>
                      <a:pt x="0" y="1002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" name="任意多边形: 形状 84"/>
            <p:cNvSpPr/>
            <p:nvPr/>
          </p:nvSpPr>
          <p:spPr>
            <a:xfrm>
              <a:off x="6408910" y="5057291"/>
              <a:ext cx="83906" cy="166991"/>
            </a:xfrm>
            <a:custGeom>
              <a:avLst/>
              <a:gdLst>
                <a:gd name="connsiteX0" fmla="*/ 83906 w 83906"/>
                <a:gd name="connsiteY0" fmla="*/ 166992 h 166991"/>
                <a:gd name="connsiteX1" fmla="*/ 0 w 83906"/>
                <a:gd name="connsiteY1" fmla="*/ 83496 h 166991"/>
                <a:gd name="connsiteX2" fmla="*/ 83906 w 83906"/>
                <a:gd name="connsiteY2" fmla="*/ 0 h 16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06" h="166991">
                  <a:moveTo>
                    <a:pt x="83906" y="166992"/>
                  </a:moveTo>
                  <a:cubicBezTo>
                    <a:pt x="36919" y="166992"/>
                    <a:pt x="0" y="130254"/>
                    <a:pt x="0" y="83496"/>
                  </a:cubicBezTo>
                  <a:cubicBezTo>
                    <a:pt x="0" y="36738"/>
                    <a:pt x="36919" y="0"/>
                    <a:pt x="83906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6432404" y="5084010"/>
              <a:ext cx="120824" cy="120234"/>
            </a:xfrm>
            <a:custGeom>
              <a:avLst/>
              <a:gdLst>
                <a:gd name="connsiteX0" fmla="*/ 120825 w 120824"/>
                <a:gd name="connsiteY0" fmla="*/ 60117 h 120234"/>
                <a:gd name="connsiteX1" fmla="*/ 60413 w 120824"/>
                <a:gd name="connsiteY1" fmla="*/ 120234 h 120234"/>
                <a:gd name="connsiteX2" fmla="*/ 0 w 120824"/>
                <a:gd name="connsiteY2" fmla="*/ 60117 h 120234"/>
                <a:gd name="connsiteX3" fmla="*/ 60413 w 120824"/>
                <a:gd name="connsiteY3" fmla="*/ 0 h 120234"/>
                <a:gd name="connsiteX4" fmla="*/ 120825 w 120824"/>
                <a:gd name="connsiteY4" fmla="*/ 60117 h 120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824" h="120234">
                  <a:moveTo>
                    <a:pt x="120825" y="60117"/>
                  </a:moveTo>
                  <a:cubicBezTo>
                    <a:pt x="120825" y="93319"/>
                    <a:pt x="93777" y="120234"/>
                    <a:pt x="60413" y="120234"/>
                  </a:cubicBezTo>
                  <a:cubicBezTo>
                    <a:pt x="27048" y="120234"/>
                    <a:pt x="0" y="93319"/>
                    <a:pt x="0" y="60117"/>
                  </a:cubicBezTo>
                  <a:cubicBezTo>
                    <a:pt x="0" y="26915"/>
                    <a:pt x="27048" y="0"/>
                    <a:pt x="60413" y="0"/>
                  </a:cubicBezTo>
                  <a:cubicBezTo>
                    <a:pt x="93777" y="0"/>
                    <a:pt x="120825" y="26915"/>
                    <a:pt x="120825" y="60117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6509597" y="5070650"/>
              <a:ext cx="130893" cy="60117"/>
            </a:xfrm>
            <a:custGeom>
              <a:avLst/>
              <a:gdLst>
                <a:gd name="connsiteX0" fmla="*/ 130894 w 130893"/>
                <a:gd name="connsiteY0" fmla="*/ 0 h 60117"/>
                <a:gd name="connsiteX1" fmla="*/ 0 w 130893"/>
                <a:gd name="connsiteY1" fmla="*/ 60117 h 6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893" h="60117">
                  <a:moveTo>
                    <a:pt x="130894" y="0"/>
                  </a:moveTo>
                  <a:lnTo>
                    <a:pt x="0" y="60117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6509597" y="5154146"/>
              <a:ext cx="130893" cy="60117"/>
            </a:xfrm>
            <a:custGeom>
              <a:avLst/>
              <a:gdLst>
                <a:gd name="connsiteX0" fmla="*/ 130894 w 130893"/>
                <a:gd name="connsiteY0" fmla="*/ 60117 h 60117"/>
                <a:gd name="connsiteX1" fmla="*/ 0 w 130893"/>
                <a:gd name="connsiteY1" fmla="*/ 0 h 6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893" h="60117">
                  <a:moveTo>
                    <a:pt x="130894" y="601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6633779" y="5037252"/>
              <a:ext cx="46987" cy="46757"/>
            </a:xfrm>
            <a:custGeom>
              <a:avLst/>
              <a:gdLst>
                <a:gd name="connsiteX0" fmla="*/ 46987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7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7" y="23379"/>
                  </a:moveTo>
                  <a:cubicBezTo>
                    <a:pt x="46987" y="36291"/>
                    <a:pt x="36469" y="46758"/>
                    <a:pt x="23494" y="46758"/>
                  </a:cubicBezTo>
                  <a:cubicBezTo>
                    <a:pt x="10518" y="46758"/>
                    <a:pt x="0" y="36291"/>
                    <a:pt x="0" y="23379"/>
                  </a:cubicBezTo>
                  <a:cubicBezTo>
                    <a:pt x="0" y="10467"/>
                    <a:pt x="10518" y="0"/>
                    <a:pt x="23494" y="0"/>
                  </a:cubicBezTo>
                  <a:cubicBezTo>
                    <a:pt x="36469" y="0"/>
                    <a:pt x="46987" y="10467"/>
                    <a:pt x="46987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6469322" y="5120748"/>
              <a:ext cx="46987" cy="46757"/>
            </a:xfrm>
            <a:custGeom>
              <a:avLst/>
              <a:gdLst>
                <a:gd name="connsiteX0" fmla="*/ 46988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8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8" y="23379"/>
                  </a:moveTo>
                  <a:cubicBezTo>
                    <a:pt x="46988" y="36291"/>
                    <a:pt x="36469" y="46758"/>
                    <a:pt x="23494" y="46758"/>
                  </a:cubicBezTo>
                  <a:cubicBezTo>
                    <a:pt x="10519" y="46758"/>
                    <a:pt x="0" y="36291"/>
                    <a:pt x="0" y="23379"/>
                  </a:cubicBezTo>
                  <a:cubicBezTo>
                    <a:pt x="0" y="10467"/>
                    <a:pt x="10519" y="0"/>
                    <a:pt x="23494" y="0"/>
                  </a:cubicBezTo>
                  <a:cubicBezTo>
                    <a:pt x="36469" y="0"/>
                    <a:pt x="46988" y="10467"/>
                    <a:pt x="46988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6633779" y="5200904"/>
              <a:ext cx="46987" cy="46757"/>
            </a:xfrm>
            <a:custGeom>
              <a:avLst/>
              <a:gdLst>
                <a:gd name="connsiteX0" fmla="*/ 46987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7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7" y="23379"/>
                  </a:moveTo>
                  <a:cubicBezTo>
                    <a:pt x="46987" y="36291"/>
                    <a:pt x="36469" y="46758"/>
                    <a:pt x="23494" y="46758"/>
                  </a:cubicBezTo>
                  <a:cubicBezTo>
                    <a:pt x="10518" y="46758"/>
                    <a:pt x="0" y="36291"/>
                    <a:pt x="0" y="23379"/>
                  </a:cubicBezTo>
                  <a:cubicBezTo>
                    <a:pt x="0" y="10467"/>
                    <a:pt x="10518" y="0"/>
                    <a:pt x="23494" y="0"/>
                  </a:cubicBezTo>
                  <a:cubicBezTo>
                    <a:pt x="36469" y="0"/>
                    <a:pt x="46987" y="10467"/>
                    <a:pt x="46987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6653916" y="5060631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6653916" y="5224283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6486104" y="5144127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5" name="图形 21"/>
            <p:cNvGrpSpPr/>
            <p:nvPr/>
          </p:nvGrpSpPr>
          <p:grpSpPr>
            <a:xfrm>
              <a:off x="6385416" y="4993834"/>
              <a:ext cx="57056" cy="33398"/>
              <a:chOff x="6385416" y="4993834"/>
              <a:chExt cx="57056" cy="33398"/>
            </a:xfrm>
          </p:grpSpPr>
          <p:sp>
            <p:nvSpPr>
              <p:cNvPr id="96" name="任意多边形: 形状 95"/>
              <p:cNvSpPr/>
              <p:nvPr/>
            </p:nvSpPr>
            <p:spPr>
              <a:xfrm>
                <a:off x="6385416" y="4993834"/>
                <a:ext cx="13425" cy="33398"/>
              </a:xfrm>
              <a:custGeom>
                <a:avLst/>
                <a:gdLst>
                  <a:gd name="connsiteX0" fmla="*/ 0 w 13425"/>
                  <a:gd name="connsiteY0" fmla="*/ 0 h 33398"/>
                  <a:gd name="connsiteX1" fmla="*/ 13425 w 1342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5" h="33398">
                    <a:moveTo>
                      <a:pt x="0" y="0"/>
                    </a:moveTo>
                    <a:lnTo>
                      <a:pt x="1342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/>
              <p:cNvSpPr/>
              <p:nvPr/>
            </p:nvSpPr>
            <p:spPr>
              <a:xfrm>
                <a:off x="6408910" y="4993834"/>
                <a:ext cx="10068" cy="33398"/>
              </a:xfrm>
              <a:custGeom>
                <a:avLst/>
                <a:gdLst>
                  <a:gd name="connsiteX0" fmla="*/ 0 w 10068"/>
                  <a:gd name="connsiteY0" fmla="*/ 0 h 33398"/>
                  <a:gd name="connsiteX1" fmla="*/ 10069 w 10068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68" h="33398">
                    <a:moveTo>
                      <a:pt x="0" y="0"/>
                    </a:moveTo>
                    <a:lnTo>
                      <a:pt x="10069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/>
              <p:cNvSpPr/>
              <p:nvPr/>
            </p:nvSpPr>
            <p:spPr>
              <a:xfrm>
                <a:off x="6429047" y="4993834"/>
                <a:ext cx="13424" cy="33398"/>
              </a:xfrm>
              <a:custGeom>
                <a:avLst/>
                <a:gdLst>
                  <a:gd name="connsiteX0" fmla="*/ 0 w 13424"/>
                  <a:gd name="connsiteY0" fmla="*/ 0 h 33398"/>
                  <a:gd name="connsiteX1" fmla="*/ 13425 w 13424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4" h="33398">
                    <a:moveTo>
                      <a:pt x="0" y="0"/>
                    </a:moveTo>
                    <a:lnTo>
                      <a:pt x="1342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9" name="图形 21"/>
            <p:cNvGrpSpPr/>
            <p:nvPr/>
          </p:nvGrpSpPr>
          <p:grpSpPr>
            <a:xfrm>
              <a:off x="6368635" y="4970455"/>
              <a:ext cx="245006" cy="344003"/>
              <a:chOff x="6368635" y="4970455"/>
              <a:chExt cx="245006" cy="344003"/>
            </a:xfrm>
            <a:noFill/>
          </p:grpSpPr>
          <p:sp>
            <p:nvSpPr>
              <p:cNvPr id="100" name="任意多边形: 形状 99"/>
              <p:cNvSpPr/>
              <p:nvPr/>
            </p:nvSpPr>
            <p:spPr>
              <a:xfrm>
                <a:off x="6368635" y="4970455"/>
                <a:ext cx="245006" cy="344003"/>
              </a:xfrm>
              <a:custGeom>
                <a:avLst/>
                <a:gdLst>
                  <a:gd name="connsiteX0" fmla="*/ 245006 w 245006"/>
                  <a:gd name="connsiteY0" fmla="*/ 83496 h 344003"/>
                  <a:gd name="connsiteX1" fmla="*/ 245006 w 245006"/>
                  <a:gd name="connsiteY1" fmla="*/ 43418 h 344003"/>
                  <a:gd name="connsiteX2" fmla="*/ 201375 w 245006"/>
                  <a:gd name="connsiteY2" fmla="*/ 0 h 344003"/>
                  <a:gd name="connsiteX3" fmla="*/ 0 w 245006"/>
                  <a:gd name="connsiteY3" fmla="*/ 0 h 344003"/>
                  <a:gd name="connsiteX4" fmla="*/ 0 w 245006"/>
                  <a:gd name="connsiteY4" fmla="*/ 344003 h 344003"/>
                  <a:gd name="connsiteX5" fmla="*/ 245006 w 245006"/>
                  <a:gd name="connsiteY5" fmla="*/ 344003 h 344003"/>
                  <a:gd name="connsiteX6" fmla="*/ 245006 w 245006"/>
                  <a:gd name="connsiteY6" fmla="*/ 260507 h 344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006" h="344003">
                    <a:moveTo>
                      <a:pt x="245006" y="83496"/>
                    </a:moveTo>
                    <a:lnTo>
                      <a:pt x="245006" y="43418"/>
                    </a:lnTo>
                    <a:lnTo>
                      <a:pt x="201375" y="0"/>
                    </a:lnTo>
                    <a:lnTo>
                      <a:pt x="0" y="0"/>
                    </a:lnTo>
                    <a:lnTo>
                      <a:pt x="0" y="344003"/>
                    </a:lnTo>
                    <a:lnTo>
                      <a:pt x="245006" y="344003"/>
                    </a:lnTo>
                    <a:lnTo>
                      <a:pt x="245006" y="260507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/>
              <p:cNvSpPr/>
              <p:nvPr/>
            </p:nvSpPr>
            <p:spPr>
              <a:xfrm>
                <a:off x="6570010" y="4970455"/>
                <a:ext cx="43631" cy="43417"/>
              </a:xfrm>
              <a:custGeom>
                <a:avLst/>
                <a:gdLst>
                  <a:gd name="connsiteX0" fmla="*/ 0 w 43631"/>
                  <a:gd name="connsiteY0" fmla="*/ 0 h 43417"/>
                  <a:gd name="connsiteX1" fmla="*/ 0 w 43631"/>
                  <a:gd name="connsiteY1" fmla="*/ 43418 h 43417"/>
                  <a:gd name="connsiteX2" fmla="*/ 43631 w 43631"/>
                  <a:gd name="connsiteY2" fmla="*/ 43418 h 43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631" h="43417">
                    <a:moveTo>
                      <a:pt x="0" y="0"/>
                    </a:moveTo>
                    <a:lnTo>
                      <a:pt x="0" y="43418"/>
                    </a:lnTo>
                    <a:lnTo>
                      <a:pt x="43631" y="43418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2" name="图形 21"/>
            <p:cNvGrpSpPr/>
            <p:nvPr/>
          </p:nvGrpSpPr>
          <p:grpSpPr>
            <a:xfrm>
              <a:off x="6385416" y="5013873"/>
              <a:ext cx="211443" cy="23378"/>
              <a:chOff x="6385416" y="5013873"/>
              <a:chExt cx="211443" cy="23378"/>
            </a:xfrm>
          </p:grpSpPr>
          <p:sp>
            <p:nvSpPr>
              <p:cNvPr id="103" name="任意多边形: 形状 102"/>
              <p:cNvSpPr/>
              <p:nvPr/>
            </p:nvSpPr>
            <p:spPr>
              <a:xfrm>
                <a:off x="6385416" y="5013873"/>
                <a:ext cx="167812" cy="33398"/>
              </a:xfrm>
              <a:custGeom>
                <a:avLst/>
                <a:gdLst>
                  <a:gd name="connsiteX0" fmla="*/ 0 w 167812"/>
                  <a:gd name="connsiteY0" fmla="*/ 0 h 33398"/>
                  <a:gd name="connsiteX1" fmla="*/ 167813 w 167812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812" h="33398">
                    <a:moveTo>
                      <a:pt x="0" y="0"/>
                    </a:moveTo>
                    <a:lnTo>
                      <a:pt x="16781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/>
              <p:cNvSpPr/>
              <p:nvPr/>
            </p:nvSpPr>
            <p:spPr>
              <a:xfrm>
                <a:off x="6385416" y="5037252"/>
                <a:ext cx="60412" cy="33398"/>
              </a:xfrm>
              <a:custGeom>
                <a:avLst/>
                <a:gdLst>
                  <a:gd name="connsiteX0" fmla="*/ 0 w 60412"/>
                  <a:gd name="connsiteY0" fmla="*/ 0 h 33398"/>
                  <a:gd name="connsiteX1" fmla="*/ 60413 w 60412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412" h="33398">
                    <a:moveTo>
                      <a:pt x="0" y="0"/>
                    </a:moveTo>
                    <a:lnTo>
                      <a:pt x="6041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/>
              <p:cNvSpPr/>
              <p:nvPr/>
            </p:nvSpPr>
            <p:spPr>
              <a:xfrm>
                <a:off x="6459254" y="5037252"/>
                <a:ext cx="137606" cy="33398"/>
              </a:xfrm>
              <a:custGeom>
                <a:avLst/>
                <a:gdLst>
                  <a:gd name="connsiteX0" fmla="*/ 0 w 137606"/>
                  <a:gd name="connsiteY0" fmla="*/ 0 h 33398"/>
                  <a:gd name="connsiteX1" fmla="*/ 137606 w 137606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606" h="33398">
                    <a:moveTo>
                      <a:pt x="0" y="0"/>
                    </a:moveTo>
                    <a:lnTo>
                      <a:pt x="137606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6" name="图形 21"/>
            <p:cNvGrpSpPr/>
            <p:nvPr/>
          </p:nvGrpSpPr>
          <p:grpSpPr>
            <a:xfrm>
              <a:off x="6385416" y="5247662"/>
              <a:ext cx="211443" cy="43417"/>
              <a:chOff x="6385416" y="5247662"/>
              <a:chExt cx="211443" cy="43417"/>
            </a:xfrm>
          </p:grpSpPr>
          <p:sp>
            <p:nvSpPr>
              <p:cNvPr id="107" name="任意多边形: 形状 106"/>
              <p:cNvSpPr/>
              <p:nvPr/>
            </p:nvSpPr>
            <p:spPr>
              <a:xfrm>
                <a:off x="6385416" y="5247662"/>
                <a:ext cx="211443" cy="33398"/>
              </a:xfrm>
              <a:custGeom>
                <a:avLst/>
                <a:gdLst>
                  <a:gd name="connsiteX0" fmla="*/ 0 w 211443"/>
                  <a:gd name="connsiteY0" fmla="*/ 0 h 33398"/>
                  <a:gd name="connsiteX1" fmla="*/ 211444 w 211443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443" h="33398">
                    <a:moveTo>
                      <a:pt x="0" y="0"/>
                    </a:moveTo>
                    <a:lnTo>
                      <a:pt x="211444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/>
              <p:cNvSpPr/>
              <p:nvPr/>
            </p:nvSpPr>
            <p:spPr>
              <a:xfrm>
                <a:off x="6385416" y="5271041"/>
                <a:ext cx="40275" cy="33398"/>
              </a:xfrm>
              <a:custGeom>
                <a:avLst/>
                <a:gdLst>
                  <a:gd name="connsiteX0" fmla="*/ 0 w 40275"/>
                  <a:gd name="connsiteY0" fmla="*/ 0 h 33398"/>
                  <a:gd name="connsiteX1" fmla="*/ 40275 w 4027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75" h="33398">
                    <a:moveTo>
                      <a:pt x="0" y="0"/>
                    </a:moveTo>
                    <a:lnTo>
                      <a:pt x="4027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/>
              <p:cNvSpPr/>
              <p:nvPr/>
            </p:nvSpPr>
            <p:spPr>
              <a:xfrm>
                <a:off x="6435760" y="5271041"/>
                <a:ext cx="161100" cy="33398"/>
              </a:xfrm>
              <a:custGeom>
                <a:avLst/>
                <a:gdLst>
                  <a:gd name="connsiteX0" fmla="*/ 0 w 161100"/>
                  <a:gd name="connsiteY0" fmla="*/ 0 h 33398"/>
                  <a:gd name="connsiteX1" fmla="*/ 161100 w 161100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100" h="33398">
                    <a:moveTo>
                      <a:pt x="0" y="0"/>
                    </a:moveTo>
                    <a:lnTo>
                      <a:pt x="161100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/>
              <p:cNvSpPr/>
              <p:nvPr/>
            </p:nvSpPr>
            <p:spPr>
              <a:xfrm>
                <a:off x="6385416" y="5291080"/>
                <a:ext cx="93975" cy="33398"/>
              </a:xfrm>
              <a:custGeom>
                <a:avLst/>
                <a:gdLst>
                  <a:gd name="connsiteX0" fmla="*/ 0 w 93975"/>
                  <a:gd name="connsiteY0" fmla="*/ 0 h 33398"/>
                  <a:gd name="connsiteX1" fmla="*/ 93975 w 9397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3975" h="33398">
                    <a:moveTo>
                      <a:pt x="0" y="0"/>
                    </a:moveTo>
                    <a:lnTo>
                      <a:pt x="9397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/>
              <p:cNvSpPr/>
              <p:nvPr/>
            </p:nvSpPr>
            <p:spPr>
              <a:xfrm>
                <a:off x="6492816" y="5291080"/>
                <a:ext cx="36918" cy="33398"/>
              </a:xfrm>
              <a:custGeom>
                <a:avLst/>
                <a:gdLst>
                  <a:gd name="connsiteX0" fmla="*/ 0 w 36918"/>
                  <a:gd name="connsiteY0" fmla="*/ 0 h 33398"/>
                  <a:gd name="connsiteX1" fmla="*/ 36919 w 36918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8" h="33398">
                    <a:moveTo>
                      <a:pt x="0" y="0"/>
                    </a:moveTo>
                    <a:lnTo>
                      <a:pt x="36919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18" name="矩形 19"/>
          <p:cNvSpPr/>
          <p:nvPr>
            <p:custDataLst>
              <p:tags r:id="rId1"/>
            </p:custDataLst>
          </p:nvPr>
        </p:nvSpPr>
        <p:spPr>
          <a:xfrm>
            <a:off x="7677398" y="3643308"/>
            <a:ext cx="4317042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可运行在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CPU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和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GPU</a:t>
            </a: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可运行在智能视觉控制器、智能相机、工控机等</a:t>
            </a:r>
            <a:endParaRPr lang="en-US" altLang="zh-CN" sz="1400" kern="0" dirty="0">
              <a:solidFill>
                <a:srgbClr val="006DB2"/>
              </a:solidFill>
              <a:latin typeface="+mn-ea"/>
              <a:sym typeface="+mn-ea"/>
            </a:endParaRPr>
          </a:p>
        </p:txBody>
      </p:sp>
      <p:sp>
        <p:nvSpPr>
          <p:cNvPr id="19" name="矩形 19"/>
          <p:cNvSpPr/>
          <p:nvPr>
            <p:custDataLst>
              <p:tags r:id="rId2"/>
            </p:custDataLst>
          </p:nvPr>
        </p:nvSpPr>
        <p:spPr>
          <a:xfrm>
            <a:off x="7677398" y="3132031"/>
            <a:ext cx="2323099" cy="415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1"/>
                </a:solidFill>
                <a:latin typeface="+mj-ea"/>
                <a:ea typeface="+mj-ea"/>
                <a:sym typeface="+mn-ea"/>
              </a:rPr>
              <a:t>可兼容各种硬件类别</a:t>
            </a:r>
            <a:endParaRPr lang="en-US" altLang="zh-CN" b="1" kern="0" dirty="0">
              <a:solidFill>
                <a:schemeClr val="accent1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26" name="矩形 19"/>
          <p:cNvSpPr/>
          <p:nvPr>
            <p:custDataLst>
              <p:tags r:id="rId3"/>
            </p:custDataLst>
          </p:nvPr>
        </p:nvSpPr>
        <p:spPr>
          <a:xfrm>
            <a:off x="7677398" y="5050737"/>
            <a:ext cx="4214407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经过压缩、剪枝等，进行专业的模型提速和压缩，打造小而强大的模型</a:t>
            </a:r>
          </a:p>
        </p:txBody>
      </p:sp>
      <p:sp>
        <p:nvSpPr>
          <p:cNvPr id="27" name="矩形 19"/>
          <p:cNvSpPr/>
          <p:nvPr>
            <p:custDataLst>
              <p:tags r:id="rId4"/>
            </p:custDataLst>
          </p:nvPr>
        </p:nvSpPr>
        <p:spPr>
          <a:xfrm>
            <a:off x="7677398" y="4539460"/>
            <a:ext cx="923330" cy="415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1"/>
                </a:solidFill>
                <a:latin typeface="+mj-ea"/>
                <a:ea typeface="+mj-ea"/>
                <a:sym typeface="+mn-ea"/>
              </a:rPr>
              <a:t>轻量模型</a:t>
            </a:r>
            <a:endParaRPr lang="en-US" altLang="zh-CN" b="1" kern="0" dirty="0">
              <a:solidFill>
                <a:schemeClr val="accent1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33" name="矩形 19"/>
          <p:cNvSpPr/>
          <p:nvPr>
            <p:custDataLst>
              <p:tags r:id="rId5"/>
            </p:custDataLst>
          </p:nvPr>
        </p:nvSpPr>
        <p:spPr>
          <a:xfrm>
            <a:off x="7677398" y="2273980"/>
            <a:ext cx="3709235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支持多种系统环境，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Linux/windows</a:t>
            </a:r>
            <a:endParaRPr lang="zh-CN" altLang="en-US" sz="1400" kern="0" dirty="0">
              <a:solidFill>
                <a:prstClr val="black"/>
              </a:solidFill>
              <a:latin typeface="+mn-ea"/>
              <a:sym typeface="+mn-ea"/>
            </a:endParaRP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支持二次开发语言：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C++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、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C#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、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Python</a:t>
            </a:r>
          </a:p>
        </p:txBody>
      </p:sp>
      <p:sp>
        <p:nvSpPr>
          <p:cNvPr id="34" name="矩形 19"/>
          <p:cNvSpPr/>
          <p:nvPr>
            <p:custDataLst>
              <p:tags r:id="rId6"/>
            </p:custDataLst>
          </p:nvPr>
        </p:nvSpPr>
        <p:spPr>
          <a:xfrm>
            <a:off x="7677398" y="1762703"/>
            <a:ext cx="2799349" cy="415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1"/>
                </a:solidFill>
                <a:latin typeface="+mj-ea"/>
                <a:ea typeface="+mj-ea"/>
                <a:sym typeface="+mn-ea"/>
              </a:rPr>
              <a:t>支持多语言多环境二次开发</a:t>
            </a:r>
            <a:endParaRPr lang="en-US" altLang="zh-CN" b="1" kern="0" dirty="0">
              <a:solidFill>
                <a:schemeClr val="accent1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5596436" y="2042913"/>
            <a:ext cx="648000" cy="649188"/>
          </a:xfrm>
          <a:prstGeom prst="ellipse">
            <a:avLst/>
          </a:prstGeom>
          <a:solidFill>
            <a:schemeClr val="accent1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hangingPunct="0"/>
            <a:endParaRPr lang="zh-CN" altLang="en-US" sz="3000" dirty="0">
              <a:solidFill>
                <a:srgbClr val="000000"/>
              </a:solidFill>
              <a:latin typeface="思源黑体 CN Normal" panose="020B0400000000000000" pitchFamily="34" charset="-122"/>
              <a:sym typeface="Helvetica Neue Medium"/>
            </a:endParaRPr>
          </a:p>
        </p:txBody>
      </p:sp>
      <p:pic>
        <p:nvPicPr>
          <p:cNvPr id="32" name="图形 31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7182" y="2208022"/>
            <a:ext cx="274838" cy="318968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7729" b="98551" l="9694" r="89796">
                        <a14:foregroundMark x1="26531" y1="10628" x2="63265" y2="13043"/>
                        <a14:foregroundMark x1="17857" y1="11594" x2="18878" y2="90338"/>
                        <a14:foregroundMark x1="32143" y1="98551" x2="53061" y2="96618"/>
                        <a14:foregroundMark x1="86224" y1="24638" x2="54592" y2="10628"/>
                        <a14:foregroundMark x1="23469" y1="8696" x2="53061" y2="77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332" y="4121535"/>
            <a:ext cx="751884" cy="794080"/>
          </a:xfrm>
          <a:prstGeom prst="rect">
            <a:avLst/>
          </a:prstGeom>
        </p:spPr>
      </p:pic>
      <p:pic>
        <p:nvPicPr>
          <p:cNvPr id="37" name="图片 36" descr="SMore  ViNeo系列智能相机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7520" y="3070074"/>
            <a:ext cx="691158" cy="868716"/>
          </a:xfrm>
          <a:prstGeom prst="rect">
            <a:avLst/>
          </a:prstGeom>
        </p:spPr>
      </p:pic>
      <p:pic>
        <p:nvPicPr>
          <p:cNvPr id="38" name="图片 37" descr="C:/Users/32394/AppData/Local/Temp/picturecompress_20210902124641/output_1.pngoutput_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90024" y="5119276"/>
            <a:ext cx="1048558" cy="414938"/>
          </a:xfrm>
          <a:custGeom>
            <a:avLst/>
            <a:gdLst>
              <a:gd name="connsiteX0" fmla="*/ 0 w 4421075"/>
              <a:gd name="connsiteY0" fmla="*/ 0 h 1749521"/>
              <a:gd name="connsiteX1" fmla="*/ 4421075 w 4421075"/>
              <a:gd name="connsiteY1" fmla="*/ 0 h 1749521"/>
              <a:gd name="connsiteX2" fmla="*/ 4421075 w 4421075"/>
              <a:gd name="connsiteY2" fmla="*/ 1749521 h 1749521"/>
              <a:gd name="connsiteX3" fmla="*/ 0 w 4421075"/>
              <a:gd name="connsiteY3" fmla="*/ 1749521 h 1749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1075" h="1749521">
                <a:moveTo>
                  <a:pt x="0" y="0"/>
                </a:moveTo>
                <a:lnTo>
                  <a:pt x="4421075" y="0"/>
                </a:lnTo>
                <a:lnTo>
                  <a:pt x="4421075" y="1749521"/>
                </a:lnTo>
                <a:lnTo>
                  <a:pt x="0" y="1749521"/>
                </a:lnTo>
                <a:close/>
              </a:path>
            </a:pathLst>
          </a:custGeom>
        </p:spPr>
      </p:pic>
      <p:sp>
        <p:nvSpPr>
          <p:cNvPr id="39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ym typeface="+mn-ea"/>
              </a:rPr>
              <a:t>模型可运行多个环境，兼容性强</a:t>
            </a:r>
            <a:endParaRPr lang="zh-CN" altLang="en-US" dirty="0"/>
          </a:p>
        </p:txBody>
      </p:sp>
      <p:grpSp>
        <p:nvGrpSpPr>
          <p:cNvPr id="76" name="组合 75"/>
          <p:cNvGrpSpPr/>
          <p:nvPr/>
        </p:nvGrpSpPr>
        <p:grpSpPr>
          <a:xfrm>
            <a:off x="649840" y="1995960"/>
            <a:ext cx="1940960" cy="2675833"/>
            <a:chOff x="649840" y="2345469"/>
            <a:chExt cx="1676963" cy="2311883"/>
          </a:xfrm>
        </p:grpSpPr>
        <p:pic>
          <p:nvPicPr>
            <p:cNvPr id="75" name="图片 74" descr="屏幕上有字&#10;&#10;描述已自动生成"/>
            <p:cNvPicPr>
              <a:picLocks noChangeAspect="1"/>
            </p:cNvPicPr>
            <p:nvPr/>
          </p:nvPicPr>
          <p:blipFill>
            <a:blip r:embed="rId14" cstate="screen"/>
            <a:srcRect/>
            <a:stretch>
              <a:fillRect/>
            </a:stretch>
          </p:blipFill>
          <p:spPr>
            <a:xfrm>
              <a:off x="649840" y="2345469"/>
              <a:ext cx="1676963" cy="2311883"/>
            </a:xfrm>
            <a:custGeom>
              <a:avLst/>
              <a:gdLst>
                <a:gd name="connsiteX0" fmla="*/ 0 w 1676963"/>
                <a:gd name="connsiteY0" fmla="*/ 0 h 2311883"/>
                <a:gd name="connsiteX1" fmla="*/ 1676963 w 1676963"/>
                <a:gd name="connsiteY1" fmla="*/ 0 h 2311883"/>
                <a:gd name="connsiteX2" fmla="*/ 1676963 w 1676963"/>
                <a:gd name="connsiteY2" fmla="*/ 2080639 h 2311883"/>
                <a:gd name="connsiteX3" fmla="*/ 223285 w 1676963"/>
                <a:gd name="connsiteY3" fmla="*/ 2277331 h 2311883"/>
                <a:gd name="connsiteX4" fmla="*/ 139261 w 1676963"/>
                <a:gd name="connsiteY4" fmla="*/ 2311883 h 2311883"/>
                <a:gd name="connsiteX5" fmla="*/ 0 w 1676963"/>
                <a:gd name="connsiteY5" fmla="*/ 2311883 h 231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6963" h="2311883">
                  <a:moveTo>
                    <a:pt x="0" y="0"/>
                  </a:moveTo>
                  <a:lnTo>
                    <a:pt x="1676963" y="0"/>
                  </a:lnTo>
                  <a:lnTo>
                    <a:pt x="1676963" y="2080639"/>
                  </a:lnTo>
                  <a:lnTo>
                    <a:pt x="223285" y="2277331"/>
                  </a:lnTo>
                  <a:lnTo>
                    <a:pt x="139261" y="2311883"/>
                  </a:lnTo>
                  <a:lnTo>
                    <a:pt x="0" y="2311883"/>
                  </a:lnTo>
                  <a:close/>
                </a:path>
              </a:pathLst>
            </a:cu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0" name="文本框 39"/>
            <p:cNvSpPr txBox="1"/>
            <p:nvPr/>
          </p:nvSpPr>
          <p:spPr>
            <a:xfrm>
              <a:off x="983532" y="3543923"/>
              <a:ext cx="1260978" cy="587065"/>
            </a:xfrm>
            <a:prstGeom prst="rect">
              <a:avLst/>
            </a:prstGeom>
            <a:solidFill>
              <a:srgbClr val="212F35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rtlCol="0">
              <a:noAutofit/>
              <a:scene3d>
                <a:camera prst="perspectiveFront" fov="7200000">
                  <a:rot lat="600000" lon="20399993" rev="0"/>
                </a:camera>
                <a:lightRig rig="threePt" dir="t"/>
              </a:scene3d>
              <a:sp3d extrusionH="12700" prstMaterial="matte">
                <a:extrusionClr>
                  <a:schemeClr val="tx1"/>
                </a:extrusionClr>
              </a:sp3d>
            </a:bodyPr>
            <a:lstStyle/>
            <a:p>
              <a:r>
                <a:rPr lang="en-US" altLang="zh-CN" dirty="0" err="1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More</a:t>
              </a:r>
              <a:r>
                <a:rPr lang="en-US" altLang="zh-CN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 </a:t>
              </a:r>
              <a:r>
                <a:rPr lang="en-US" altLang="zh-CN" dirty="0" err="1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ViMo</a:t>
              </a:r>
              <a:endParaRPr lang="en-US" altLang="zh-CN" dirty="0">
                <a:solidFill>
                  <a:srgbClr val="51C6F8"/>
                </a:solidFill>
                <a:effectLst>
                  <a:outerShdw blurRad="50800" dist="63500" dir="8100000" algn="tr" rotWithShape="0">
                    <a:prstClr val="black">
                      <a:alpha val="40000"/>
                    </a:prstClr>
                  </a:outerShdw>
                </a:effectLst>
                <a:latin typeface="+mj-ea"/>
                <a:ea typeface="+mj-ea"/>
              </a:endParaRPr>
            </a:p>
            <a:p>
              <a:r>
                <a:rPr lang="en-US" altLang="zh-CN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DK</a:t>
              </a: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2987771" y="1674966"/>
            <a:ext cx="1474320" cy="322960"/>
            <a:chOff x="4892916" y="3646694"/>
            <a:chExt cx="8696324" cy="1904999"/>
          </a:xfrm>
        </p:grpSpPr>
        <p:sp>
          <p:nvSpPr>
            <p:cNvPr id="55" name="任意多边形: 形状 54"/>
            <p:cNvSpPr/>
            <p:nvPr/>
          </p:nvSpPr>
          <p:spPr>
            <a:xfrm>
              <a:off x="5738722" y="3646694"/>
              <a:ext cx="1060236" cy="934640"/>
            </a:xfrm>
            <a:custGeom>
              <a:avLst/>
              <a:gdLst>
                <a:gd name="connsiteX0" fmla="*/ 0 w 1060236"/>
                <a:gd name="connsiteY0" fmla="*/ 934641 h 934640"/>
                <a:gd name="connsiteX1" fmla="*/ 1060237 w 1060236"/>
                <a:gd name="connsiteY1" fmla="*/ 934641 h 934640"/>
                <a:gd name="connsiteX2" fmla="*/ 1060237 w 1060236"/>
                <a:gd name="connsiteY2" fmla="*/ 0 h 934640"/>
                <a:gd name="connsiteX3" fmla="*/ 0 w 1060236"/>
                <a:gd name="connsiteY3" fmla="*/ 148828 h 934640"/>
                <a:gd name="connsiteX4" fmla="*/ 0 w 1060236"/>
                <a:gd name="connsiteY4" fmla="*/ 934641 h 93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0236" h="934640">
                  <a:moveTo>
                    <a:pt x="0" y="934641"/>
                  </a:moveTo>
                  <a:lnTo>
                    <a:pt x="1060237" y="934641"/>
                  </a:lnTo>
                  <a:lnTo>
                    <a:pt x="1060237" y="0"/>
                  </a:lnTo>
                  <a:lnTo>
                    <a:pt x="0" y="148828"/>
                  </a:lnTo>
                  <a:lnTo>
                    <a:pt x="0" y="934641"/>
                  </a:lnTo>
                  <a:close/>
                </a:path>
              </a:pathLst>
            </a:custGeom>
            <a:solidFill>
              <a:srgbClr val="66CC00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4892916" y="4617053"/>
              <a:ext cx="816025" cy="779859"/>
            </a:xfrm>
            <a:custGeom>
              <a:avLst/>
              <a:gdLst>
                <a:gd name="connsiteX0" fmla="*/ 0 w 816025"/>
                <a:gd name="connsiteY0" fmla="*/ 666750 h 779859"/>
                <a:gd name="connsiteX1" fmla="*/ 816025 w 816025"/>
                <a:gd name="connsiteY1" fmla="*/ 779859 h 779859"/>
                <a:gd name="connsiteX2" fmla="*/ 816025 w 816025"/>
                <a:gd name="connsiteY2" fmla="*/ 0 h 779859"/>
                <a:gd name="connsiteX3" fmla="*/ 0 w 816025"/>
                <a:gd name="connsiteY3" fmla="*/ 0 h 779859"/>
                <a:gd name="connsiteX4" fmla="*/ 0 w 816025"/>
                <a:gd name="connsiteY4" fmla="*/ 666750 h 77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6025" h="779859">
                  <a:moveTo>
                    <a:pt x="0" y="666750"/>
                  </a:moveTo>
                  <a:lnTo>
                    <a:pt x="816025" y="779859"/>
                  </a:lnTo>
                  <a:lnTo>
                    <a:pt x="816025" y="0"/>
                  </a:lnTo>
                  <a:lnTo>
                    <a:pt x="0" y="0"/>
                  </a:lnTo>
                  <a:lnTo>
                    <a:pt x="0" y="666750"/>
                  </a:lnTo>
                  <a:close/>
                </a:path>
              </a:pathLst>
            </a:custGeom>
            <a:solidFill>
              <a:srgbClr val="0099FF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4892916" y="3801475"/>
              <a:ext cx="816025" cy="779859"/>
            </a:xfrm>
            <a:custGeom>
              <a:avLst/>
              <a:gdLst>
                <a:gd name="connsiteX0" fmla="*/ 0 w 816025"/>
                <a:gd name="connsiteY0" fmla="*/ 779859 h 779859"/>
                <a:gd name="connsiteX1" fmla="*/ 816025 w 816025"/>
                <a:gd name="connsiteY1" fmla="*/ 779859 h 779859"/>
                <a:gd name="connsiteX2" fmla="*/ 816025 w 816025"/>
                <a:gd name="connsiteY2" fmla="*/ 0 h 779859"/>
                <a:gd name="connsiteX3" fmla="*/ 0 w 816025"/>
                <a:gd name="connsiteY3" fmla="*/ 113109 h 779859"/>
                <a:gd name="connsiteX4" fmla="*/ 0 w 816025"/>
                <a:gd name="connsiteY4" fmla="*/ 779859 h 77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6025" h="779859">
                  <a:moveTo>
                    <a:pt x="0" y="779859"/>
                  </a:moveTo>
                  <a:lnTo>
                    <a:pt x="816025" y="779859"/>
                  </a:lnTo>
                  <a:lnTo>
                    <a:pt x="816025" y="0"/>
                  </a:lnTo>
                  <a:lnTo>
                    <a:pt x="0" y="113109"/>
                  </a:lnTo>
                  <a:lnTo>
                    <a:pt x="0" y="779859"/>
                  </a:lnTo>
                  <a:close/>
                </a:path>
              </a:pathLst>
            </a:custGeom>
            <a:solidFill>
              <a:srgbClr val="FF6633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5738722" y="4617053"/>
              <a:ext cx="1060236" cy="934640"/>
            </a:xfrm>
            <a:custGeom>
              <a:avLst/>
              <a:gdLst>
                <a:gd name="connsiteX0" fmla="*/ 0 w 1060236"/>
                <a:gd name="connsiteY0" fmla="*/ 785813 h 934640"/>
                <a:gd name="connsiteX1" fmla="*/ 1060237 w 1060236"/>
                <a:gd name="connsiteY1" fmla="*/ 934641 h 934640"/>
                <a:gd name="connsiteX2" fmla="*/ 1060237 w 1060236"/>
                <a:gd name="connsiteY2" fmla="*/ 0 h 934640"/>
                <a:gd name="connsiteX3" fmla="*/ 0 w 1060236"/>
                <a:gd name="connsiteY3" fmla="*/ 0 h 934640"/>
                <a:gd name="connsiteX4" fmla="*/ 0 w 1060236"/>
                <a:gd name="connsiteY4" fmla="*/ 785813 h 93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0236" h="934640">
                  <a:moveTo>
                    <a:pt x="0" y="785813"/>
                  </a:moveTo>
                  <a:lnTo>
                    <a:pt x="1060237" y="934641"/>
                  </a:lnTo>
                  <a:lnTo>
                    <a:pt x="1060237" y="0"/>
                  </a:lnTo>
                  <a:lnTo>
                    <a:pt x="0" y="0"/>
                  </a:lnTo>
                  <a:lnTo>
                    <a:pt x="0" y="785813"/>
                  </a:lnTo>
                  <a:close/>
                </a:path>
              </a:pathLst>
            </a:custGeom>
            <a:solidFill>
              <a:srgbClr val="FFCC00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7370772" y="3962209"/>
              <a:ext cx="6218468" cy="1233014"/>
            </a:xfrm>
            <a:custGeom>
              <a:avLst/>
              <a:gdLst>
                <a:gd name="connsiteX0" fmla="*/ 3139017 w 6218468"/>
                <a:gd name="connsiteY0" fmla="*/ 488156 h 1233014"/>
                <a:gd name="connsiteX1" fmla="*/ 2948412 w 6218468"/>
                <a:gd name="connsiteY1" fmla="*/ 577453 h 1233014"/>
                <a:gd name="connsiteX2" fmla="*/ 2876936 w 6218468"/>
                <a:gd name="connsiteY2" fmla="*/ 821531 h 1233014"/>
                <a:gd name="connsiteX3" fmla="*/ 2942456 w 6218468"/>
                <a:gd name="connsiteY3" fmla="*/ 1041797 h 1233014"/>
                <a:gd name="connsiteX4" fmla="*/ 3121147 w 6218468"/>
                <a:gd name="connsiteY4" fmla="*/ 1125141 h 1233014"/>
                <a:gd name="connsiteX5" fmla="*/ 3299839 w 6218468"/>
                <a:gd name="connsiteY5" fmla="*/ 1047750 h 1233014"/>
                <a:gd name="connsiteX6" fmla="*/ 3371315 w 6218468"/>
                <a:gd name="connsiteY6" fmla="*/ 839391 h 1233014"/>
                <a:gd name="connsiteX7" fmla="*/ 3371315 w 6218468"/>
                <a:gd name="connsiteY7" fmla="*/ 720328 h 1233014"/>
                <a:gd name="connsiteX8" fmla="*/ 3156290 w 6218468"/>
                <a:gd name="connsiteY8" fmla="*/ 488156 h 1233014"/>
                <a:gd name="connsiteX9" fmla="*/ 4080125 w 6218468"/>
                <a:gd name="connsiteY9" fmla="*/ 476250 h 1233014"/>
                <a:gd name="connsiteX10" fmla="*/ 3877608 w 6218468"/>
                <a:gd name="connsiteY10" fmla="*/ 559594 h 1233014"/>
                <a:gd name="connsiteX11" fmla="*/ 3806132 w 6218468"/>
                <a:gd name="connsiteY11" fmla="*/ 797719 h 1233014"/>
                <a:gd name="connsiteX12" fmla="*/ 3877608 w 6218468"/>
                <a:gd name="connsiteY12" fmla="*/ 1029891 h 1233014"/>
                <a:gd name="connsiteX13" fmla="*/ 4074169 w 6218468"/>
                <a:gd name="connsiteY13" fmla="*/ 1113234 h 1233014"/>
                <a:gd name="connsiteX14" fmla="*/ 4270730 w 6218468"/>
                <a:gd name="connsiteY14" fmla="*/ 1029891 h 1233014"/>
                <a:gd name="connsiteX15" fmla="*/ 4342206 w 6218468"/>
                <a:gd name="connsiteY15" fmla="*/ 797719 h 1233014"/>
                <a:gd name="connsiteX16" fmla="*/ 4276686 w 6218468"/>
                <a:gd name="connsiteY16" fmla="*/ 559594 h 1233014"/>
                <a:gd name="connsiteX17" fmla="*/ 4080125 w 6218468"/>
                <a:gd name="connsiteY17" fmla="*/ 476250 h 1233014"/>
                <a:gd name="connsiteX18" fmla="*/ 4520898 w 6218468"/>
                <a:gd name="connsiteY18" fmla="*/ 392906 h 1233014"/>
                <a:gd name="connsiteX19" fmla="*/ 4657895 w 6218468"/>
                <a:gd name="connsiteY19" fmla="*/ 392906 h 1233014"/>
                <a:gd name="connsiteX20" fmla="*/ 4836587 w 6218468"/>
                <a:gd name="connsiteY20" fmla="*/ 1053703 h 1233014"/>
                <a:gd name="connsiteX21" fmla="*/ 4842543 w 6218468"/>
                <a:gd name="connsiteY21" fmla="*/ 1053703 h 1233014"/>
                <a:gd name="connsiteX22" fmla="*/ 5045060 w 6218468"/>
                <a:gd name="connsiteY22" fmla="*/ 392906 h 1233014"/>
                <a:gd name="connsiteX23" fmla="*/ 5164188 w 6218468"/>
                <a:gd name="connsiteY23" fmla="*/ 392906 h 1233014"/>
                <a:gd name="connsiteX24" fmla="*/ 5348835 w 6218468"/>
                <a:gd name="connsiteY24" fmla="*/ 1053703 h 1233014"/>
                <a:gd name="connsiteX25" fmla="*/ 5354792 w 6218468"/>
                <a:gd name="connsiteY25" fmla="*/ 1053703 h 1233014"/>
                <a:gd name="connsiteX26" fmla="*/ 5527527 w 6218468"/>
                <a:gd name="connsiteY26" fmla="*/ 392906 h 1233014"/>
                <a:gd name="connsiteX27" fmla="*/ 5664524 w 6218468"/>
                <a:gd name="connsiteY27" fmla="*/ 392906 h 1233014"/>
                <a:gd name="connsiteX28" fmla="*/ 5420313 w 6218468"/>
                <a:gd name="connsiteY28" fmla="*/ 1208484 h 1233014"/>
                <a:gd name="connsiteX29" fmla="*/ 5283316 w 6218468"/>
                <a:gd name="connsiteY29" fmla="*/ 1208484 h 1233014"/>
                <a:gd name="connsiteX30" fmla="*/ 5098667 w 6218468"/>
                <a:gd name="connsiteY30" fmla="*/ 571500 h 1233014"/>
                <a:gd name="connsiteX31" fmla="*/ 5092711 w 6218468"/>
                <a:gd name="connsiteY31" fmla="*/ 571500 h 1233014"/>
                <a:gd name="connsiteX32" fmla="*/ 4896151 w 6218468"/>
                <a:gd name="connsiteY32" fmla="*/ 1208484 h 1233014"/>
                <a:gd name="connsiteX33" fmla="*/ 4765110 w 6218468"/>
                <a:gd name="connsiteY33" fmla="*/ 1208484 h 1233014"/>
                <a:gd name="connsiteX34" fmla="*/ 1596312 w 6218468"/>
                <a:gd name="connsiteY34" fmla="*/ 392906 h 1233014"/>
                <a:gd name="connsiteX35" fmla="*/ 1727352 w 6218468"/>
                <a:gd name="connsiteY35" fmla="*/ 392906 h 1233014"/>
                <a:gd name="connsiteX36" fmla="*/ 1727352 w 6218468"/>
                <a:gd name="connsiteY36" fmla="*/ 1208484 h 1233014"/>
                <a:gd name="connsiteX37" fmla="*/ 1596312 w 6218468"/>
                <a:gd name="connsiteY37" fmla="*/ 1208484 h 1233014"/>
                <a:gd name="connsiteX38" fmla="*/ 4080125 w 6218468"/>
                <a:gd name="connsiteY38" fmla="*/ 375047 h 1233014"/>
                <a:gd name="connsiteX39" fmla="*/ 4366032 w 6218468"/>
                <a:gd name="connsiteY39" fmla="*/ 488156 h 1233014"/>
                <a:gd name="connsiteX40" fmla="*/ 4473247 w 6218468"/>
                <a:gd name="connsiteY40" fmla="*/ 797719 h 1233014"/>
                <a:gd name="connsiteX41" fmla="*/ 4360076 w 6218468"/>
                <a:gd name="connsiteY41" fmla="*/ 1113234 h 1233014"/>
                <a:gd name="connsiteX42" fmla="*/ 4062256 w 6218468"/>
                <a:gd name="connsiteY42" fmla="*/ 1232297 h 1233014"/>
                <a:gd name="connsiteX43" fmla="*/ 3770393 w 6218468"/>
                <a:gd name="connsiteY43" fmla="*/ 1119188 h 1233014"/>
                <a:gd name="connsiteX44" fmla="*/ 3663178 w 6218468"/>
                <a:gd name="connsiteY44" fmla="*/ 815578 h 1233014"/>
                <a:gd name="connsiteX45" fmla="*/ 3776350 w 6218468"/>
                <a:gd name="connsiteY45" fmla="*/ 494109 h 1233014"/>
                <a:gd name="connsiteX46" fmla="*/ 4080125 w 6218468"/>
                <a:gd name="connsiteY46" fmla="*/ 375047 h 1233014"/>
                <a:gd name="connsiteX47" fmla="*/ 2322991 w 6218468"/>
                <a:gd name="connsiteY47" fmla="*/ 375047 h 1233014"/>
                <a:gd name="connsiteX48" fmla="*/ 2525508 w 6218468"/>
                <a:gd name="connsiteY48" fmla="*/ 464344 h 1233014"/>
                <a:gd name="connsiteX49" fmla="*/ 2596985 w 6218468"/>
                <a:gd name="connsiteY49" fmla="*/ 714375 h 1233014"/>
                <a:gd name="connsiteX50" fmla="*/ 2596985 w 6218468"/>
                <a:gd name="connsiteY50" fmla="*/ 1208485 h 1233014"/>
                <a:gd name="connsiteX51" fmla="*/ 2465944 w 6218468"/>
                <a:gd name="connsiteY51" fmla="*/ 1208485 h 1233014"/>
                <a:gd name="connsiteX52" fmla="*/ 2465944 w 6218468"/>
                <a:gd name="connsiteY52" fmla="*/ 744141 h 1233014"/>
                <a:gd name="connsiteX53" fmla="*/ 2275340 w 6218468"/>
                <a:gd name="connsiteY53" fmla="*/ 482203 h 1233014"/>
                <a:gd name="connsiteX54" fmla="*/ 2114518 w 6218468"/>
                <a:gd name="connsiteY54" fmla="*/ 553641 h 1233014"/>
                <a:gd name="connsiteX55" fmla="*/ 2048997 w 6218468"/>
                <a:gd name="connsiteY55" fmla="*/ 738188 h 1233014"/>
                <a:gd name="connsiteX56" fmla="*/ 2048997 w 6218468"/>
                <a:gd name="connsiteY56" fmla="*/ 1202531 h 1233014"/>
                <a:gd name="connsiteX57" fmla="*/ 1917957 w 6218468"/>
                <a:gd name="connsiteY57" fmla="*/ 1202531 h 1233014"/>
                <a:gd name="connsiteX58" fmla="*/ 1917957 w 6218468"/>
                <a:gd name="connsiteY58" fmla="*/ 392906 h 1233014"/>
                <a:gd name="connsiteX59" fmla="*/ 2048997 w 6218468"/>
                <a:gd name="connsiteY59" fmla="*/ 392906 h 1233014"/>
                <a:gd name="connsiteX60" fmla="*/ 2048997 w 6218468"/>
                <a:gd name="connsiteY60" fmla="*/ 529828 h 1233014"/>
                <a:gd name="connsiteX61" fmla="*/ 2054954 w 6218468"/>
                <a:gd name="connsiteY61" fmla="*/ 529828 h 1233014"/>
                <a:gd name="connsiteX62" fmla="*/ 2322991 w 6218468"/>
                <a:gd name="connsiteY62" fmla="*/ 375047 h 1233014"/>
                <a:gd name="connsiteX63" fmla="*/ 6009995 w 6218468"/>
                <a:gd name="connsiteY63" fmla="*/ 369094 h 1233014"/>
                <a:gd name="connsiteX64" fmla="*/ 6182730 w 6218468"/>
                <a:gd name="connsiteY64" fmla="*/ 404813 h 1233014"/>
                <a:gd name="connsiteX65" fmla="*/ 6182730 w 6218468"/>
                <a:gd name="connsiteY65" fmla="*/ 535782 h 1233014"/>
                <a:gd name="connsiteX66" fmla="*/ 5998082 w 6218468"/>
                <a:gd name="connsiteY66" fmla="*/ 476251 h 1233014"/>
                <a:gd name="connsiteX67" fmla="*/ 5890867 w 6218468"/>
                <a:gd name="connsiteY67" fmla="*/ 506016 h 1233014"/>
                <a:gd name="connsiteX68" fmla="*/ 5849173 w 6218468"/>
                <a:gd name="connsiteY68" fmla="*/ 589360 h 1233014"/>
                <a:gd name="connsiteX69" fmla="*/ 5878955 w 6218468"/>
                <a:gd name="connsiteY69" fmla="*/ 672704 h 1233014"/>
                <a:gd name="connsiteX70" fmla="*/ 6004038 w 6218468"/>
                <a:gd name="connsiteY70" fmla="*/ 744141 h 1233014"/>
                <a:gd name="connsiteX71" fmla="*/ 6164861 w 6218468"/>
                <a:gd name="connsiteY71" fmla="*/ 845344 h 1233014"/>
                <a:gd name="connsiteX72" fmla="*/ 6218468 w 6218468"/>
                <a:gd name="connsiteY72" fmla="*/ 988219 h 1233014"/>
                <a:gd name="connsiteX73" fmla="*/ 6135079 w 6218468"/>
                <a:gd name="connsiteY73" fmla="*/ 1160860 h 1233014"/>
                <a:gd name="connsiteX74" fmla="*/ 5920649 w 6218468"/>
                <a:gd name="connsiteY74" fmla="*/ 1226344 h 1233014"/>
                <a:gd name="connsiteX75" fmla="*/ 5718132 w 6218468"/>
                <a:gd name="connsiteY75" fmla="*/ 1178719 h 1233014"/>
                <a:gd name="connsiteX76" fmla="*/ 5718132 w 6218468"/>
                <a:gd name="connsiteY76" fmla="*/ 1035844 h 1233014"/>
                <a:gd name="connsiteX77" fmla="*/ 5932562 w 6218468"/>
                <a:gd name="connsiteY77" fmla="*/ 1113235 h 1233014"/>
                <a:gd name="connsiteX78" fmla="*/ 6087428 w 6218468"/>
                <a:gd name="connsiteY78" fmla="*/ 1000126 h 1233014"/>
                <a:gd name="connsiteX79" fmla="*/ 6057646 w 6218468"/>
                <a:gd name="connsiteY79" fmla="*/ 922735 h 1233014"/>
                <a:gd name="connsiteX80" fmla="*/ 5920649 w 6218468"/>
                <a:gd name="connsiteY80" fmla="*/ 845344 h 1233014"/>
                <a:gd name="connsiteX81" fmla="*/ 5765783 w 6218468"/>
                <a:gd name="connsiteY81" fmla="*/ 744141 h 1233014"/>
                <a:gd name="connsiteX82" fmla="*/ 5718132 w 6218468"/>
                <a:gd name="connsiteY82" fmla="*/ 601266 h 1233014"/>
                <a:gd name="connsiteX83" fmla="*/ 5801521 w 6218468"/>
                <a:gd name="connsiteY83" fmla="*/ 434579 h 1233014"/>
                <a:gd name="connsiteX84" fmla="*/ 6009995 w 6218468"/>
                <a:gd name="connsiteY84" fmla="*/ 369094 h 1233014"/>
                <a:gd name="connsiteX85" fmla="*/ 0 w 6218468"/>
                <a:gd name="connsiteY85" fmla="*/ 65485 h 1233014"/>
                <a:gd name="connsiteX86" fmla="*/ 142953 w 6218468"/>
                <a:gd name="connsiteY86" fmla="*/ 65485 h 1233014"/>
                <a:gd name="connsiteX87" fmla="*/ 405035 w 6218468"/>
                <a:gd name="connsiteY87" fmla="*/ 1017985 h 1233014"/>
                <a:gd name="connsiteX88" fmla="*/ 410991 w 6218468"/>
                <a:gd name="connsiteY88" fmla="*/ 1017985 h 1233014"/>
                <a:gd name="connsiteX89" fmla="*/ 684985 w 6218468"/>
                <a:gd name="connsiteY89" fmla="*/ 65485 h 1233014"/>
                <a:gd name="connsiteX90" fmla="*/ 816025 w 6218468"/>
                <a:gd name="connsiteY90" fmla="*/ 65485 h 1233014"/>
                <a:gd name="connsiteX91" fmla="*/ 1078106 w 6218468"/>
                <a:gd name="connsiteY91" fmla="*/ 1023938 h 1233014"/>
                <a:gd name="connsiteX92" fmla="*/ 1084063 w 6218468"/>
                <a:gd name="connsiteY92" fmla="*/ 1023938 h 1233014"/>
                <a:gd name="connsiteX93" fmla="*/ 1340187 w 6218468"/>
                <a:gd name="connsiteY93" fmla="*/ 65485 h 1233014"/>
                <a:gd name="connsiteX94" fmla="*/ 1483141 w 6218468"/>
                <a:gd name="connsiteY94" fmla="*/ 65485 h 1233014"/>
                <a:gd name="connsiteX95" fmla="*/ 1161496 w 6218468"/>
                <a:gd name="connsiteY95" fmla="*/ 1208485 h 1233014"/>
                <a:gd name="connsiteX96" fmla="*/ 1000673 w 6218468"/>
                <a:gd name="connsiteY96" fmla="*/ 1208485 h 1233014"/>
                <a:gd name="connsiteX97" fmla="*/ 744548 w 6218468"/>
                <a:gd name="connsiteY97" fmla="*/ 303610 h 1233014"/>
                <a:gd name="connsiteX98" fmla="*/ 488424 w 6218468"/>
                <a:gd name="connsiteY98" fmla="*/ 1208485 h 1233014"/>
                <a:gd name="connsiteX99" fmla="*/ 333558 w 6218468"/>
                <a:gd name="connsiteY99" fmla="*/ 1208485 h 1233014"/>
                <a:gd name="connsiteX100" fmla="*/ 1658259 w 6218468"/>
                <a:gd name="connsiteY100" fmla="*/ 41672 h 1233014"/>
                <a:gd name="connsiteX101" fmla="*/ 1661832 w 6218468"/>
                <a:gd name="connsiteY101" fmla="*/ 41672 h 1233014"/>
                <a:gd name="connsiteX102" fmla="*/ 1721396 w 6218468"/>
                <a:gd name="connsiteY102" fmla="*/ 65485 h 1233014"/>
                <a:gd name="connsiteX103" fmla="*/ 1745222 w 6218468"/>
                <a:gd name="connsiteY103" fmla="*/ 125016 h 1233014"/>
                <a:gd name="connsiteX104" fmla="*/ 1721396 w 6218468"/>
                <a:gd name="connsiteY104" fmla="*/ 184547 h 1233014"/>
                <a:gd name="connsiteX105" fmla="*/ 1602268 w 6218468"/>
                <a:gd name="connsiteY105" fmla="*/ 184547 h 1233014"/>
                <a:gd name="connsiteX106" fmla="*/ 1578443 w 6218468"/>
                <a:gd name="connsiteY106" fmla="*/ 125016 h 1233014"/>
                <a:gd name="connsiteX107" fmla="*/ 1578443 w 6218468"/>
                <a:gd name="connsiteY107" fmla="*/ 124977 h 1233014"/>
                <a:gd name="connsiteX108" fmla="*/ 1658259 w 6218468"/>
                <a:gd name="connsiteY108" fmla="*/ 41672 h 1233014"/>
                <a:gd name="connsiteX109" fmla="*/ 3371315 w 6218468"/>
                <a:gd name="connsiteY109" fmla="*/ 0 h 1233014"/>
                <a:gd name="connsiteX110" fmla="*/ 3502356 w 6218468"/>
                <a:gd name="connsiteY110" fmla="*/ 0 h 1233014"/>
                <a:gd name="connsiteX111" fmla="*/ 3502356 w 6218468"/>
                <a:gd name="connsiteY111" fmla="*/ 1208484 h 1233014"/>
                <a:gd name="connsiteX112" fmla="*/ 3371315 w 6218468"/>
                <a:gd name="connsiteY112" fmla="*/ 1208484 h 1233014"/>
                <a:gd name="connsiteX113" fmla="*/ 3371315 w 6218468"/>
                <a:gd name="connsiteY113" fmla="*/ 1071563 h 1233014"/>
                <a:gd name="connsiteX114" fmla="*/ 3365359 w 6218468"/>
                <a:gd name="connsiteY114" fmla="*/ 1071563 h 1233014"/>
                <a:gd name="connsiteX115" fmla="*/ 2912674 w 6218468"/>
                <a:gd name="connsiteY115" fmla="*/ 1184672 h 1233014"/>
                <a:gd name="connsiteX116" fmla="*/ 2835241 w 6218468"/>
                <a:gd name="connsiteY116" fmla="*/ 1119188 h 1233014"/>
                <a:gd name="connsiteX117" fmla="*/ 2745895 w 6218468"/>
                <a:gd name="connsiteY117" fmla="*/ 821531 h 1233014"/>
                <a:gd name="connsiteX118" fmla="*/ 2847154 w 6218468"/>
                <a:gd name="connsiteY118" fmla="*/ 494109 h 1233014"/>
                <a:gd name="connsiteX119" fmla="*/ 3121147 w 6218468"/>
                <a:gd name="connsiteY119" fmla="*/ 369094 h 1233014"/>
                <a:gd name="connsiteX120" fmla="*/ 3365359 w 6218468"/>
                <a:gd name="connsiteY120" fmla="*/ 500062 h 1233014"/>
                <a:gd name="connsiteX121" fmla="*/ 3371315 w 6218468"/>
                <a:gd name="connsiteY121" fmla="*/ 500062 h 123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218468" h="1233014">
                  <a:moveTo>
                    <a:pt x="3139017" y="488156"/>
                  </a:moveTo>
                  <a:cubicBezTo>
                    <a:pt x="3065213" y="487447"/>
                    <a:pt x="2995077" y="520303"/>
                    <a:pt x="2948412" y="577453"/>
                  </a:cubicBezTo>
                  <a:cubicBezTo>
                    <a:pt x="2898211" y="648662"/>
                    <a:pt x="2873082" y="734508"/>
                    <a:pt x="2876936" y="821531"/>
                  </a:cubicBezTo>
                  <a:cubicBezTo>
                    <a:pt x="2870942" y="900507"/>
                    <a:pt x="2894265" y="978924"/>
                    <a:pt x="2942456" y="1041797"/>
                  </a:cubicBezTo>
                  <a:cubicBezTo>
                    <a:pt x="2985919" y="1095701"/>
                    <a:pt x="3051886" y="1126473"/>
                    <a:pt x="3121147" y="1125141"/>
                  </a:cubicBezTo>
                  <a:cubicBezTo>
                    <a:pt x="3188510" y="1123548"/>
                    <a:pt x="3252616" y="1095790"/>
                    <a:pt x="3299839" y="1047750"/>
                  </a:cubicBezTo>
                  <a:cubicBezTo>
                    <a:pt x="3345033" y="987556"/>
                    <a:pt x="3370050" y="914634"/>
                    <a:pt x="3371315" y="839391"/>
                  </a:cubicBezTo>
                  <a:lnTo>
                    <a:pt x="3371315" y="720328"/>
                  </a:lnTo>
                  <a:cubicBezTo>
                    <a:pt x="3376006" y="596898"/>
                    <a:pt x="3279773" y="492995"/>
                    <a:pt x="3156290" y="488156"/>
                  </a:cubicBezTo>
                  <a:close/>
                  <a:moveTo>
                    <a:pt x="4080125" y="476250"/>
                  </a:moveTo>
                  <a:cubicBezTo>
                    <a:pt x="4003697" y="473238"/>
                    <a:pt x="3929745" y="503670"/>
                    <a:pt x="3877608" y="559594"/>
                  </a:cubicBezTo>
                  <a:cubicBezTo>
                    <a:pt x="3824820" y="627238"/>
                    <a:pt x="3799319" y="712202"/>
                    <a:pt x="3806132" y="797719"/>
                  </a:cubicBezTo>
                  <a:cubicBezTo>
                    <a:pt x="3802092" y="881079"/>
                    <a:pt x="3827370" y="963223"/>
                    <a:pt x="3877608" y="1029891"/>
                  </a:cubicBezTo>
                  <a:cubicBezTo>
                    <a:pt x="3929578" y="1082479"/>
                    <a:pt x="4000217" y="1112433"/>
                    <a:pt x="4074169" y="1113234"/>
                  </a:cubicBezTo>
                  <a:cubicBezTo>
                    <a:pt x="4149368" y="1119182"/>
                    <a:pt x="4222744" y="1088069"/>
                    <a:pt x="4270730" y="1029891"/>
                  </a:cubicBezTo>
                  <a:cubicBezTo>
                    <a:pt x="4318381" y="961934"/>
                    <a:pt x="4343397" y="880694"/>
                    <a:pt x="4342206" y="797719"/>
                  </a:cubicBezTo>
                  <a:cubicBezTo>
                    <a:pt x="4347511" y="713264"/>
                    <a:pt x="4324449" y="629457"/>
                    <a:pt x="4276686" y="559594"/>
                  </a:cubicBezTo>
                  <a:cubicBezTo>
                    <a:pt x="4227992" y="502382"/>
                    <a:pt x="4155139" y="471491"/>
                    <a:pt x="4080125" y="476250"/>
                  </a:cubicBezTo>
                  <a:close/>
                  <a:moveTo>
                    <a:pt x="4520898" y="392906"/>
                  </a:moveTo>
                  <a:lnTo>
                    <a:pt x="4657895" y="392906"/>
                  </a:lnTo>
                  <a:lnTo>
                    <a:pt x="4836587" y="1053703"/>
                  </a:lnTo>
                  <a:lnTo>
                    <a:pt x="4842543" y="1053703"/>
                  </a:lnTo>
                  <a:lnTo>
                    <a:pt x="5045060" y="392906"/>
                  </a:lnTo>
                  <a:lnTo>
                    <a:pt x="5164188" y="392906"/>
                  </a:lnTo>
                  <a:lnTo>
                    <a:pt x="5348835" y="1053703"/>
                  </a:lnTo>
                  <a:lnTo>
                    <a:pt x="5354792" y="1053703"/>
                  </a:lnTo>
                  <a:lnTo>
                    <a:pt x="5527527" y="392906"/>
                  </a:lnTo>
                  <a:lnTo>
                    <a:pt x="5664524" y="392906"/>
                  </a:lnTo>
                  <a:lnTo>
                    <a:pt x="5420313" y="1208484"/>
                  </a:lnTo>
                  <a:lnTo>
                    <a:pt x="5283316" y="1208484"/>
                  </a:lnTo>
                  <a:lnTo>
                    <a:pt x="5098667" y="571500"/>
                  </a:lnTo>
                  <a:lnTo>
                    <a:pt x="5092711" y="571500"/>
                  </a:lnTo>
                  <a:lnTo>
                    <a:pt x="4896151" y="1208484"/>
                  </a:lnTo>
                  <a:lnTo>
                    <a:pt x="4765110" y="1208484"/>
                  </a:lnTo>
                  <a:close/>
                  <a:moveTo>
                    <a:pt x="1596312" y="392906"/>
                  </a:moveTo>
                  <a:lnTo>
                    <a:pt x="1727352" y="392906"/>
                  </a:lnTo>
                  <a:lnTo>
                    <a:pt x="1727352" y="1208484"/>
                  </a:lnTo>
                  <a:lnTo>
                    <a:pt x="1596312" y="1208484"/>
                  </a:lnTo>
                  <a:close/>
                  <a:moveTo>
                    <a:pt x="4080125" y="375047"/>
                  </a:moveTo>
                  <a:cubicBezTo>
                    <a:pt x="4187471" y="368684"/>
                    <a:pt x="4292136" y="410090"/>
                    <a:pt x="4366032" y="488156"/>
                  </a:cubicBezTo>
                  <a:cubicBezTo>
                    <a:pt x="4442553" y="572389"/>
                    <a:pt x="4481288" y="684230"/>
                    <a:pt x="4473247" y="797719"/>
                  </a:cubicBezTo>
                  <a:cubicBezTo>
                    <a:pt x="4477453" y="913513"/>
                    <a:pt x="4436931" y="1026484"/>
                    <a:pt x="4360076" y="1113234"/>
                  </a:cubicBezTo>
                  <a:cubicBezTo>
                    <a:pt x="4283685" y="1195536"/>
                    <a:pt x="4174367" y="1239236"/>
                    <a:pt x="4062256" y="1232297"/>
                  </a:cubicBezTo>
                  <a:cubicBezTo>
                    <a:pt x="3953310" y="1237712"/>
                    <a:pt x="3847212" y="1196591"/>
                    <a:pt x="3770393" y="1119188"/>
                  </a:cubicBezTo>
                  <a:cubicBezTo>
                    <a:pt x="3696925" y="1035531"/>
                    <a:pt x="3658525" y="926796"/>
                    <a:pt x="3663178" y="815578"/>
                  </a:cubicBezTo>
                  <a:cubicBezTo>
                    <a:pt x="3657799" y="697812"/>
                    <a:pt x="3698358" y="582558"/>
                    <a:pt x="3776350" y="494109"/>
                  </a:cubicBezTo>
                  <a:cubicBezTo>
                    <a:pt x="3855700" y="412512"/>
                    <a:pt x="3966433" y="369114"/>
                    <a:pt x="4080125" y="375047"/>
                  </a:cubicBezTo>
                  <a:close/>
                  <a:moveTo>
                    <a:pt x="2322991" y="375047"/>
                  </a:moveTo>
                  <a:cubicBezTo>
                    <a:pt x="2401075" y="369764"/>
                    <a:pt x="2476778" y="403142"/>
                    <a:pt x="2525508" y="464344"/>
                  </a:cubicBezTo>
                  <a:cubicBezTo>
                    <a:pt x="2578408" y="536501"/>
                    <a:pt x="2603760" y="625179"/>
                    <a:pt x="2596985" y="714375"/>
                  </a:cubicBezTo>
                  <a:lnTo>
                    <a:pt x="2596985" y="1208485"/>
                  </a:lnTo>
                  <a:lnTo>
                    <a:pt x="2465944" y="1208485"/>
                  </a:lnTo>
                  <a:lnTo>
                    <a:pt x="2465944" y="744141"/>
                  </a:lnTo>
                  <a:cubicBezTo>
                    <a:pt x="2465944" y="571500"/>
                    <a:pt x="2400424" y="482203"/>
                    <a:pt x="2275340" y="482203"/>
                  </a:cubicBezTo>
                  <a:cubicBezTo>
                    <a:pt x="2213915" y="481608"/>
                    <a:pt x="2155245" y="507670"/>
                    <a:pt x="2114518" y="553641"/>
                  </a:cubicBezTo>
                  <a:cubicBezTo>
                    <a:pt x="2072674" y="606125"/>
                    <a:pt x="2049612" y="671088"/>
                    <a:pt x="2048997" y="738188"/>
                  </a:cubicBezTo>
                  <a:lnTo>
                    <a:pt x="2048997" y="1202531"/>
                  </a:lnTo>
                  <a:lnTo>
                    <a:pt x="1917957" y="1202531"/>
                  </a:lnTo>
                  <a:lnTo>
                    <a:pt x="1917957" y="392906"/>
                  </a:lnTo>
                  <a:lnTo>
                    <a:pt x="2048997" y="392906"/>
                  </a:lnTo>
                  <a:lnTo>
                    <a:pt x="2048997" y="529828"/>
                  </a:lnTo>
                  <a:lnTo>
                    <a:pt x="2054954" y="529828"/>
                  </a:lnTo>
                  <a:cubicBezTo>
                    <a:pt x="2105751" y="429738"/>
                    <a:pt x="2210862" y="369038"/>
                    <a:pt x="2322991" y="375047"/>
                  </a:cubicBezTo>
                  <a:close/>
                  <a:moveTo>
                    <a:pt x="6009995" y="369094"/>
                  </a:moveTo>
                  <a:cubicBezTo>
                    <a:pt x="6069429" y="368927"/>
                    <a:pt x="6128247" y="381090"/>
                    <a:pt x="6182730" y="404813"/>
                  </a:cubicBezTo>
                  <a:lnTo>
                    <a:pt x="6182730" y="535782"/>
                  </a:lnTo>
                  <a:cubicBezTo>
                    <a:pt x="6129551" y="495896"/>
                    <a:pt x="6064552" y="474939"/>
                    <a:pt x="5998082" y="476251"/>
                  </a:cubicBezTo>
                  <a:cubicBezTo>
                    <a:pt x="5960501" y="477575"/>
                    <a:pt x="5923757" y="487775"/>
                    <a:pt x="5890867" y="506016"/>
                  </a:cubicBezTo>
                  <a:cubicBezTo>
                    <a:pt x="5864622" y="525691"/>
                    <a:pt x="5849173" y="556569"/>
                    <a:pt x="5849173" y="589360"/>
                  </a:cubicBezTo>
                  <a:cubicBezTo>
                    <a:pt x="5849899" y="619615"/>
                    <a:pt x="5860341" y="648834"/>
                    <a:pt x="5878955" y="672704"/>
                  </a:cubicBezTo>
                  <a:cubicBezTo>
                    <a:pt x="5917205" y="702082"/>
                    <a:pt x="5959291" y="726114"/>
                    <a:pt x="6004038" y="744141"/>
                  </a:cubicBezTo>
                  <a:cubicBezTo>
                    <a:pt x="6063696" y="767150"/>
                    <a:pt x="6118308" y="801520"/>
                    <a:pt x="6164861" y="845344"/>
                  </a:cubicBezTo>
                  <a:cubicBezTo>
                    <a:pt x="6197919" y="885803"/>
                    <a:pt x="6216756" y="936007"/>
                    <a:pt x="6218468" y="988219"/>
                  </a:cubicBezTo>
                  <a:cubicBezTo>
                    <a:pt x="6218413" y="1055452"/>
                    <a:pt x="6187719" y="1118998"/>
                    <a:pt x="6135079" y="1160860"/>
                  </a:cubicBezTo>
                  <a:cubicBezTo>
                    <a:pt x="6074454" y="1209002"/>
                    <a:pt x="5997840" y="1232402"/>
                    <a:pt x="5920649" y="1226344"/>
                  </a:cubicBezTo>
                  <a:cubicBezTo>
                    <a:pt x="5850066" y="1229174"/>
                    <a:pt x="5780041" y="1212708"/>
                    <a:pt x="5718132" y="1178719"/>
                  </a:cubicBezTo>
                  <a:lnTo>
                    <a:pt x="5718132" y="1035844"/>
                  </a:lnTo>
                  <a:cubicBezTo>
                    <a:pt x="5779018" y="1084740"/>
                    <a:pt x="5854459" y="1111970"/>
                    <a:pt x="5932562" y="1113235"/>
                  </a:cubicBezTo>
                  <a:cubicBezTo>
                    <a:pt x="6033820" y="1113235"/>
                    <a:pt x="6087428" y="1077516"/>
                    <a:pt x="6087428" y="1000126"/>
                  </a:cubicBezTo>
                  <a:cubicBezTo>
                    <a:pt x="6086795" y="971655"/>
                    <a:pt x="6076260" y="944293"/>
                    <a:pt x="6057646" y="922735"/>
                  </a:cubicBezTo>
                  <a:cubicBezTo>
                    <a:pt x="6015524" y="891133"/>
                    <a:pt x="5969473" y="865120"/>
                    <a:pt x="5920649" y="845344"/>
                  </a:cubicBezTo>
                  <a:cubicBezTo>
                    <a:pt x="5861643" y="824531"/>
                    <a:pt x="5808520" y="789817"/>
                    <a:pt x="5765783" y="744141"/>
                  </a:cubicBezTo>
                  <a:cubicBezTo>
                    <a:pt x="5735126" y="702784"/>
                    <a:pt x="5718429" y="652740"/>
                    <a:pt x="5718132" y="601266"/>
                  </a:cubicBezTo>
                  <a:cubicBezTo>
                    <a:pt x="5716847" y="535389"/>
                    <a:pt x="5748025" y="473084"/>
                    <a:pt x="5801521" y="434579"/>
                  </a:cubicBezTo>
                  <a:cubicBezTo>
                    <a:pt x="5859875" y="386537"/>
                    <a:pt x="5934627" y="363054"/>
                    <a:pt x="6009995" y="369094"/>
                  </a:cubicBezTo>
                  <a:close/>
                  <a:moveTo>
                    <a:pt x="0" y="65485"/>
                  </a:moveTo>
                  <a:lnTo>
                    <a:pt x="142953" y="65485"/>
                  </a:lnTo>
                  <a:lnTo>
                    <a:pt x="405035" y="1017985"/>
                  </a:lnTo>
                  <a:lnTo>
                    <a:pt x="410991" y="1017985"/>
                  </a:lnTo>
                  <a:lnTo>
                    <a:pt x="684985" y="65485"/>
                  </a:lnTo>
                  <a:lnTo>
                    <a:pt x="816025" y="65485"/>
                  </a:lnTo>
                  <a:lnTo>
                    <a:pt x="1078106" y="1023938"/>
                  </a:lnTo>
                  <a:lnTo>
                    <a:pt x="1084063" y="1023938"/>
                  </a:lnTo>
                  <a:lnTo>
                    <a:pt x="1340187" y="65485"/>
                  </a:lnTo>
                  <a:lnTo>
                    <a:pt x="1483141" y="65485"/>
                  </a:lnTo>
                  <a:lnTo>
                    <a:pt x="1161496" y="1208485"/>
                  </a:lnTo>
                  <a:lnTo>
                    <a:pt x="1000673" y="1208485"/>
                  </a:lnTo>
                  <a:lnTo>
                    <a:pt x="744548" y="303610"/>
                  </a:lnTo>
                  <a:lnTo>
                    <a:pt x="488424" y="1208485"/>
                  </a:lnTo>
                  <a:lnTo>
                    <a:pt x="333558" y="1208485"/>
                  </a:lnTo>
                  <a:close/>
                  <a:moveTo>
                    <a:pt x="1658259" y="41672"/>
                  </a:moveTo>
                  <a:lnTo>
                    <a:pt x="1661832" y="41672"/>
                  </a:lnTo>
                  <a:cubicBezTo>
                    <a:pt x="1684392" y="39358"/>
                    <a:pt x="1706654" y="48258"/>
                    <a:pt x="1721396" y="65485"/>
                  </a:cubicBezTo>
                  <a:cubicBezTo>
                    <a:pt x="1736250" y="81815"/>
                    <a:pt x="1744701" y="102952"/>
                    <a:pt x="1745222" y="125016"/>
                  </a:cubicBezTo>
                  <a:cubicBezTo>
                    <a:pt x="1747530" y="147566"/>
                    <a:pt x="1738632" y="169815"/>
                    <a:pt x="1721396" y="184547"/>
                  </a:cubicBezTo>
                  <a:cubicBezTo>
                    <a:pt x="1687277" y="214335"/>
                    <a:pt x="1636387" y="214335"/>
                    <a:pt x="1602268" y="184547"/>
                  </a:cubicBezTo>
                  <a:cubicBezTo>
                    <a:pt x="1586019" y="169125"/>
                    <a:pt x="1577326" y="147383"/>
                    <a:pt x="1578443" y="125016"/>
                  </a:cubicBezTo>
                  <a:cubicBezTo>
                    <a:pt x="1578443" y="125003"/>
                    <a:pt x="1578443" y="124990"/>
                    <a:pt x="1578443" y="124977"/>
                  </a:cubicBezTo>
                  <a:cubicBezTo>
                    <a:pt x="1577475" y="79944"/>
                    <a:pt x="1613195" y="42647"/>
                    <a:pt x="1658259" y="41672"/>
                  </a:cubicBezTo>
                  <a:close/>
                  <a:moveTo>
                    <a:pt x="3371315" y="0"/>
                  </a:moveTo>
                  <a:lnTo>
                    <a:pt x="3502356" y="0"/>
                  </a:lnTo>
                  <a:lnTo>
                    <a:pt x="3502356" y="1208484"/>
                  </a:lnTo>
                  <a:lnTo>
                    <a:pt x="3371315" y="1208484"/>
                  </a:lnTo>
                  <a:lnTo>
                    <a:pt x="3371315" y="1071563"/>
                  </a:lnTo>
                  <a:lnTo>
                    <a:pt x="3365359" y="1071563"/>
                  </a:lnTo>
                  <a:cubicBezTo>
                    <a:pt x="3269759" y="1225211"/>
                    <a:pt x="3069383" y="1275275"/>
                    <a:pt x="2912674" y="1184672"/>
                  </a:cubicBezTo>
                  <a:cubicBezTo>
                    <a:pt x="2884232" y="1166158"/>
                    <a:pt x="2858210" y="1144159"/>
                    <a:pt x="2835241" y="1119188"/>
                  </a:cubicBezTo>
                  <a:cubicBezTo>
                    <a:pt x="2770409" y="1034035"/>
                    <a:pt x="2738673" y="928284"/>
                    <a:pt x="2745895" y="821531"/>
                  </a:cubicBezTo>
                  <a:cubicBezTo>
                    <a:pt x="2739901" y="703864"/>
                    <a:pt x="2775770" y="587875"/>
                    <a:pt x="2847154" y="494109"/>
                  </a:cubicBezTo>
                  <a:cubicBezTo>
                    <a:pt x="2914275" y="412382"/>
                    <a:pt x="3015403" y="366238"/>
                    <a:pt x="3121147" y="369094"/>
                  </a:cubicBezTo>
                  <a:cubicBezTo>
                    <a:pt x="3220638" y="363764"/>
                    <a:pt x="3314804" y="414267"/>
                    <a:pt x="3365359" y="500062"/>
                  </a:cubicBezTo>
                  <a:lnTo>
                    <a:pt x="3371315" y="500062"/>
                  </a:lnTo>
                  <a:close/>
                </a:path>
              </a:pathLst>
            </a:custGeom>
            <a:solidFill>
              <a:schemeClr val="tx1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3936186" y="2274372"/>
            <a:ext cx="843134" cy="517090"/>
            <a:chOff x="7844822" y="3207038"/>
            <a:chExt cx="1980049" cy="1214356"/>
          </a:xfrm>
        </p:grpSpPr>
        <p:pic>
          <p:nvPicPr>
            <p:cNvPr id="52" name="图形 51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610515" y="3207038"/>
              <a:ext cx="1214356" cy="1214356"/>
            </a:xfrm>
            <a:prstGeom prst="rect">
              <a:avLst/>
            </a:prstGeom>
          </p:spPr>
        </p:pic>
        <p:sp>
          <p:nvSpPr>
            <p:cNvPr id="48" name="任意多边形: 形状 47"/>
            <p:cNvSpPr/>
            <p:nvPr/>
          </p:nvSpPr>
          <p:spPr>
            <a:xfrm>
              <a:off x="7844822" y="3401999"/>
              <a:ext cx="1012936" cy="339677"/>
            </a:xfrm>
            <a:custGeom>
              <a:avLst/>
              <a:gdLst>
                <a:gd name="connsiteX0" fmla="*/ 55388 w 1012936"/>
                <a:gd name="connsiteY0" fmla="*/ 4493 h 339677"/>
                <a:gd name="connsiteX1" fmla="*/ 55388 w 1012936"/>
                <a:gd name="connsiteY1" fmla="*/ 279829 h 339677"/>
                <a:gd name="connsiteX2" fmla="*/ 162909 w 1012936"/>
                <a:gd name="connsiteY2" fmla="*/ 279829 h 339677"/>
                <a:gd name="connsiteX3" fmla="*/ 162909 w 1012936"/>
                <a:gd name="connsiteY3" fmla="*/ 335217 h 339677"/>
                <a:gd name="connsiteX4" fmla="*/ 0 w 1012936"/>
                <a:gd name="connsiteY4" fmla="*/ 335217 h 339677"/>
                <a:gd name="connsiteX5" fmla="*/ 0 w 1012936"/>
                <a:gd name="connsiteY5" fmla="*/ 4493 h 339677"/>
                <a:gd name="connsiteX6" fmla="*/ 55388 w 1012936"/>
                <a:gd name="connsiteY6" fmla="*/ 4493 h 339677"/>
                <a:gd name="connsiteX7" fmla="*/ 324199 w 1012936"/>
                <a:gd name="connsiteY7" fmla="*/ 81057 h 339677"/>
                <a:gd name="connsiteX8" fmla="*/ 324199 w 1012936"/>
                <a:gd name="connsiteY8" fmla="*/ 335217 h 339677"/>
                <a:gd name="connsiteX9" fmla="*/ 268811 w 1012936"/>
                <a:gd name="connsiteY9" fmla="*/ 335217 h 339677"/>
                <a:gd name="connsiteX10" fmla="*/ 268811 w 1012936"/>
                <a:gd name="connsiteY10" fmla="*/ 136460 h 339677"/>
                <a:gd name="connsiteX11" fmla="*/ 213423 w 1012936"/>
                <a:gd name="connsiteY11" fmla="*/ 136460 h 339677"/>
                <a:gd name="connsiteX12" fmla="*/ 213423 w 1012936"/>
                <a:gd name="connsiteY12" fmla="*/ 81057 h 339677"/>
                <a:gd name="connsiteX13" fmla="*/ 324199 w 1012936"/>
                <a:gd name="connsiteY13" fmla="*/ 81057 h 339677"/>
                <a:gd name="connsiteX14" fmla="*/ 319310 w 1012936"/>
                <a:gd name="connsiteY14" fmla="*/ 0 h 339677"/>
                <a:gd name="connsiteX15" fmla="*/ 319310 w 1012936"/>
                <a:gd name="connsiteY15" fmla="*/ 61516 h 339677"/>
                <a:gd name="connsiteX16" fmla="*/ 256985 w 1012936"/>
                <a:gd name="connsiteY16" fmla="*/ 61516 h 339677"/>
                <a:gd name="connsiteX17" fmla="*/ 256985 w 1012936"/>
                <a:gd name="connsiteY17" fmla="*/ 0 h 339677"/>
                <a:gd name="connsiteX18" fmla="*/ 319310 w 1012936"/>
                <a:gd name="connsiteY18" fmla="*/ 0 h 339677"/>
                <a:gd name="connsiteX19" fmla="*/ 507079 w 1012936"/>
                <a:gd name="connsiteY19" fmla="*/ 81454 h 339677"/>
                <a:gd name="connsiteX20" fmla="*/ 562482 w 1012936"/>
                <a:gd name="connsiteY20" fmla="*/ 102632 h 339677"/>
                <a:gd name="connsiteX21" fmla="*/ 580803 w 1012936"/>
                <a:gd name="connsiteY21" fmla="*/ 167385 h 339677"/>
                <a:gd name="connsiteX22" fmla="*/ 580803 w 1012936"/>
                <a:gd name="connsiteY22" fmla="*/ 335185 h 339677"/>
                <a:gd name="connsiteX23" fmla="*/ 525415 w 1012936"/>
                <a:gd name="connsiteY23" fmla="*/ 335185 h 339677"/>
                <a:gd name="connsiteX24" fmla="*/ 525415 w 1012936"/>
                <a:gd name="connsiteY24" fmla="*/ 167385 h 339677"/>
                <a:gd name="connsiteX25" fmla="*/ 520128 w 1012936"/>
                <a:gd name="connsiteY25" fmla="*/ 143351 h 339677"/>
                <a:gd name="connsiteX26" fmla="*/ 507096 w 1012936"/>
                <a:gd name="connsiteY26" fmla="*/ 136429 h 339677"/>
                <a:gd name="connsiteX27" fmla="*/ 479408 w 1012936"/>
                <a:gd name="connsiteY27" fmla="*/ 148240 h 339677"/>
                <a:gd name="connsiteX28" fmla="*/ 466788 w 1012936"/>
                <a:gd name="connsiteY28" fmla="*/ 184086 h 339677"/>
                <a:gd name="connsiteX29" fmla="*/ 466788 w 1012936"/>
                <a:gd name="connsiteY29" fmla="*/ 335185 h 339677"/>
                <a:gd name="connsiteX30" fmla="*/ 411385 w 1012936"/>
                <a:gd name="connsiteY30" fmla="*/ 335185 h 339677"/>
                <a:gd name="connsiteX31" fmla="*/ 411385 w 1012936"/>
                <a:gd name="connsiteY31" fmla="*/ 77374 h 339677"/>
                <a:gd name="connsiteX32" fmla="*/ 466788 w 1012936"/>
                <a:gd name="connsiteY32" fmla="*/ 77374 h 339677"/>
                <a:gd name="connsiteX33" fmla="*/ 466788 w 1012936"/>
                <a:gd name="connsiteY33" fmla="*/ 94074 h 339677"/>
                <a:gd name="connsiteX34" fmla="*/ 507079 w 1012936"/>
                <a:gd name="connsiteY34" fmla="*/ 81454 h 339677"/>
                <a:gd name="connsiteX35" fmla="*/ 735981 w 1012936"/>
                <a:gd name="connsiteY35" fmla="*/ 251302 h 339677"/>
                <a:gd name="connsiteX36" fmla="*/ 735981 w 1012936"/>
                <a:gd name="connsiteY36" fmla="*/ 230124 h 339677"/>
                <a:gd name="connsiteX37" fmla="*/ 735981 w 1012936"/>
                <a:gd name="connsiteY37" fmla="*/ 77374 h 339677"/>
                <a:gd name="connsiteX38" fmla="*/ 791386 w 1012936"/>
                <a:gd name="connsiteY38" fmla="*/ 77374 h 339677"/>
                <a:gd name="connsiteX39" fmla="*/ 791386 w 1012936"/>
                <a:gd name="connsiteY39" fmla="*/ 339678 h 339677"/>
                <a:gd name="connsiteX40" fmla="*/ 740870 w 1012936"/>
                <a:gd name="connsiteY40" fmla="*/ 339678 h 339677"/>
                <a:gd name="connsiteX41" fmla="*/ 737220 w 1012936"/>
                <a:gd name="connsiteY41" fmla="*/ 327437 h 339677"/>
                <a:gd name="connsiteX42" fmla="*/ 704643 w 1012936"/>
                <a:gd name="connsiteY42" fmla="*/ 333963 h 339677"/>
                <a:gd name="connsiteX43" fmla="*/ 644351 w 1012936"/>
                <a:gd name="connsiteY43" fmla="*/ 312372 h 339677"/>
                <a:gd name="connsiteX44" fmla="*/ 622776 w 1012936"/>
                <a:gd name="connsiteY44" fmla="*/ 245157 h 339677"/>
                <a:gd name="connsiteX45" fmla="*/ 622776 w 1012936"/>
                <a:gd name="connsiteY45" fmla="*/ 77359 h 339677"/>
                <a:gd name="connsiteX46" fmla="*/ 678165 w 1012936"/>
                <a:gd name="connsiteY46" fmla="*/ 77359 h 339677"/>
                <a:gd name="connsiteX47" fmla="*/ 678165 w 1012936"/>
                <a:gd name="connsiteY47" fmla="*/ 245157 h 339677"/>
                <a:gd name="connsiteX48" fmla="*/ 684672 w 1012936"/>
                <a:gd name="connsiteY48" fmla="*/ 271637 h 339677"/>
                <a:gd name="connsiteX49" fmla="*/ 704643 w 1012936"/>
                <a:gd name="connsiteY49" fmla="*/ 278575 h 339677"/>
                <a:gd name="connsiteX50" fmla="*/ 729884 w 1012936"/>
                <a:gd name="connsiteY50" fmla="*/ 265954 h 339677"/>
                <a:gd name="connsiteX51" fmla="*/ 735981 w 1012936"/>
                <a:gd name="connsiteY51" fmla="*/ 251302 h 339677"/>
                <a:gd name="connsiteX52" fmla="*/ 879762 w 1012936"/>
                <a:gd name="connsiteY52" fmla="*/ 335200 h 339677"/>
                <a:gd name="connsiteX53" fmla="*/ 815816 w 1012936"/>
                <a:gd name="connsiteY53" fmla="*/ 335200 h 339677"/>
                <a:gd name="connsiteX54" fmla="*/ 871204 w 1012936"/>
                <a:gd name="connsiteY54" fmla="*/ 219948 h 339677"/>
                <a:gd name="connsiteX55" fmla="*/ 883841 w 1012936"/>
                <a:gd name="connsiteY55" fmla="*/ 193056 h 339677"/>
                <a:gd name="connsiteX56" fmla="*/ 854107 w 1012936"/>
                <a:gd name="connsiteY56" fmla="*/ 131557 h 339677"/>
                <a:gd name="connsiteX57" fmla="*/ 829262 w 1012936"/>
                <a:gd name="connsiteY57" fmla="*/ 77391 h 339677"/>
                <a:gd name="connsiteX58" fmla="*/ 893206 w 1012936"/>
                <a:gd name="connsiteY58" fmla="*/ 77391 h 339677"/>
                <a:gd name="connsiteX59" fmla="*/ 915590 w 1012936"/>
                <a:gd name="connsiteY59" fmla="*/ 126269 h 339677"/>
                <a:gd name="connsiteX60" fmla="*/ 938800 w 1012936"/>
                <a:gd name="connsiteY60" fmla="*/ 77391 h 339677"/>
                <a:gd name="connsiteX61" fmla="*/ 1002775 w 1012936"/>
                <a:gd name="connsiteY61" fmla="*/ 77391 h 339677"/>
                <a:gd name="connsiteX62" fmla="*/ 946959 w 1012936"/>
                <a:gd name="connsiteY62" fmla="*/ 193880 h 339677"/>
                <a:gd name="connsiteX63" fmla="*/ 1012937 w 1012936"/>
                <a:gd name="connsiteY63" fmla="*/ 335200 h 339677"/>
                <a:gd name="connsiteX64" fmla="*/ 949008 w 1012936"/>
                <a:gd name="connsiteY64" fmla="*/ 335200 h 339677"/>
                <a:gd name="connsiteX65" fmla="*/ 915211 w 1012936"/>
                <a:gd name="connsiteY65" fmla="*/ 260254 h 339677"/>
                <a:gd name="connsiteX66" fmla="*/ 879762 w 1012936"/>
                <a:gd name="connsiteY66" fmla="*/ 335200 h 33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12936" h="339677">
                  <a:moveTo>
                    <a:pt x="55388" y="4493"/>
                  </a:moveTo>
                  <a:lnTo>
                    <a:pt x="55388" y="279829"/>
                  </a:lnTo>
                  <a:lnTo>
                    <a:pt x="162909" y="279829"/>
                  </a:lnTo>
                  <a:lnTo>
                    <a:pt x="162909" y="335217"/>
                  </a:lnTo>
                  <a:lnTo>
                    <a:pt x="0" y="335217"/>
                  </a:lnTo>
                  <a:lnTo>
                    <a:pt x="0" y="4493"/>
                  </a:lnTo>
                  <a:lnTo>
                    <a:pt x="55388" y="4493"/>
                  </a:lnTo>
                  <a:close/>
                  <a:moveTo>
                    <a:pt x="324199" y="81057"/>
                  </a:moveTo>
                  <a:lnTo>
                    <a:pt x="324199" y="335217"/>
                  </a:lnTo>
                  <a:lnTo>
                    <a:pt x="268811" y="335217"/>
                  </a:lnTo>
                  <a:lnTo>
                    <a:pt x="268811" y="136460"/>
                  </a:lnTo>
                  <a:lnTo>
                    <a:pt x="213423" y="136460"/>
                  </a:lnTo>
                  <a:lnTo>
                    <a:pt x="213423" y="81057"/>
                  </a:lnTo>
                  <a:lnTo>
                    <a:pt x="324199" y="81057"/>
                  </a:lnTo>
                  <a:close/>
                  <a:moveTo>
                    <a:pt x="319310" y="0"/>
                  </a:moveTo>
                  <a:lnTo>
                    <a:pt x="319310" y="61516"/>
                  </a:lnTo>
                  <a:lnTo>
                    <a:pt x="256985" y="61516"/>
                  </a:lnTo>
                  <a:lnTo>
                    <a:pt x="256985" y="0"/>
                  </a:lnTo>
                  <a:lnTo>
                    <a:pt x="319310" y="0"/>
                  </a:lnTo>
                  <a:close/>
                  <a:moveTo>
                    <a:pt x="507079" y="81454"/>
                  </a:moveTo>
                  <a:cubicBezTo>
                    <a:pt x="530972" y="81454"/>
                    <a:pt x="549451" y="88519"/>
                    <a:pt x="562482" y="102632"/>
                  </a:cubicBezTo>
                  <a:cubicBezTo>
                    <a:pt x="574692" y="116205"/>
                    <a:pt x="580803" y="137794"/>
                    <a:pt x="580803" y="167385"/>
                  </a:cubicBezTo>
                  <a:lnTo>
                    <a:pt x="580803" y="335185"/>
                  </a:lnTo>
                  <a:lnTo>
                    <a:pt x="525415" y="335185"/>
                  </a:lnTo>
                  <a:lnTo>
                    <a:pt x="525415" y="167385"/>
                  </a:lnTo>
                  <a:cubicBezTo>
                    <a:pt x="525415" y="155717"/>
                    <a:pt x="523653" y="147701"/>
                    <a:pt x="520128" y="143351"/>
                  </a:cubicBezTo>
                  <a:cubicBezTo>
                    <a:pt x="516604" y="138732"/>
                    <a:pt x="512238" y="136429"/>
                    <a:pt x="507096" y="136429"/>
                  </a:cubicBezTo>
                  <a:cubicBezTo>
                    <a:pt x="496661" y="136516"/>
                    <a:pt x="486693" y="140769"/>
                    <a:pt x="479408" y="148240"/>
                  </a:cubicBezTo>
                  <a:cubicBezTo>
                    <a:pt x="472075" y="156385"/>
                    <a:pt x="467852" y="168338"/>
                    <a:pt x="466788" y="184086"/>
                  </a:cubicBezTo>
                  <a:lnTo>
                    <a:pt x="466788" y="335185"/>
                  </a:lnTo>
                  <a:lnTo>
                    <a:pt x="411385" y="335185"/>
                  </a:lnTo>
                  <a:lnTo>
                    <a:pt x="411385" y="77374"/>
                  </a:lnTo>
                  <a:lnTo>
                    <a:pt x="466788" y="77374"/>
                  </a:lnTo>
                  <a:lnTo>
                    <a:pt x="466788" y="94074"/>
                  </a:lnTo>
                  <a:cubicBezTo>
                    <a:pt x="480329" y="85407"/>
                    <a:pt x="493776" y="81201"/>
                    <a:pt x="507079" y="81454"/>
                  </a:cubicBezTo>
                  <a:close/>
                  <a:moveTo>
                    <a:pt x="735981" y="251302"/>
                  </a:moveTo>
                  <a:lnTo>
                    <a:pt x="735981" y="230124"/>
                  </a:lnTo>
                  <a:lnTo>
                    <a:pt x="735981" y="77374"/>
                  </a:lnTo>
                  <a:lnTo>
                    <a:pt x="791386" y="77374"/>
                  </a:lnTo>
                  <a:lnTo>
                    <a:pt x="791386" y="339678"/>
                  </a:lnTo>
                  <a:lnTo>
                    <a:pt x="740870" y="339678"/>
                  </a:lnTo>
                  <a:lnTo>
                    <a:pt x="737220" y="327437"/>
                  </a:lnTo>
                  <a:cubicBezTo>
                    <a:pt x="727709" y="331517"/>
                    <a:pt x="716852" y="333693"/>
                    <a:pt x="704643" y="333963"/>
                  </a:cubicBezTo>
                  <a:cubicBezTo>
                    <a:pt x="678578" y="333676"/>
                    <a:pt x="658478" y="326484"/>
                    <a:pt x="644351" y="312372"/>
                  </a:cubicBezTo>
                  <a:cubicBezTo>
                    <a:pt x="629952" y="297163"/>
                    <a:pt x="622776" y="274765"/>
                    <a:pt x="622776" y="245157"/>
                  </a:cubicBezTo>
                  <a:lnTo>
                    <a:pt x="622776" y="77359"/>
                  </a:lnTo>
                  <a:lnTo>
                    <a:pt x="678165" y="77359"/>
                  </a:lnTo>
                  <a:lnTo>
                    <a:pt x="678165" y="245157"/>
                  </a:lnTo>
                  <a:cubicBezTo>
                    <a:pt x="678165" y="257651"/>
                    <a:pt x="680339" y="266477"/>
                    <a:pt x="684672" y="271637"/>
                  </a:cubicBezTo>
                  <a:cubicBezTo>
                    <a:pt x="688754" y="276257"/>
                    <a:pt x="695388" y="278575"/>
                    <a:pt x="704643" y="278575"/>
                  </a:cubicBezTo>
                  <a:cubicBezTo>
                    <a:pt x="714676" y="278575"/>
                    <a:pt x="723107" y="274367"/>
                    <a:pt x="729884" y="265954"/>
                  </a:cubicBezTo>
                  <a:cubicBezTo>
                    <a:pt x="732853" y="261889"/>
                    <a:pt x="734885" y="257000"/>
                    <a:pt x="735981" y="251302"/>
                  </a:cubicBezTo>
                  <a:close/>
                  <a:moveTo>
                    <a:pt x="879762" y="335200"/>
                  </a:moveTo>
                  <a:lnTo>
                    <a:pt x="815816" y="335200"/>
                  </a:lnTo>
                  <a:cubicBezTo>
                    <a:pt x="825596" y="313754"/>
                    <a:pt x="844058" y="275336"/>
                    <a:pt x="871204" y="219948"/>
                  </a:cubicBezTo>
                  <a:cubicBezTo>
                    <a:pt x="875284" y="210439"/>
                    <a:pt x="879492" y="201485"/>
                    <a:pt x="883841" y="193056"/>
                  </a:cubicBezTo>
                  <a:cubicBezTo>
                    <a:pt x="873766" y="172635"/>
                    <a:pt x="863854" y="152136"/>
                    <a:pt x="854107" y="131557"/>
                  </a:cubicBezTo>
                  <a:cubicBezTo>
                    <a:pt x="845637" y="113588"/>
                    <a:pt x="837355" y="95531"/>
                    <a:pt x="829262" y="77391"/>
                  </a:cubicBezTo>
                  <a:lnTo>
                    <a:pt x="893206" y="77391"/>
                  </a:lnTo>
                  <a:lnTo>
                    <a:pt x="915590" y="126269"/>
                  </a:lnTo>
                  <a:cubicBezTo>
                    <a:pt x="923510" y="110064"/>
                    <a:pt x="931247" y="93769"/>
                    <a:pt x="938800" y="77391"/>
                  </a:cubicBezTo>
                  <a:lnTo>
                    <a:pt x="1002775" y="77391"/>
                  </a:lnTo>
                  <a:lnTo>
                    <a:pt x="946959" y="193880"/>
                  </a:lnTo>
                  <a:lnTo>
                    <a:pt x="1012937" y="335200"/>
                  </a:lnTo>
                  <a:lnTo>
                    <a:pt x="949008" y="335200"/>
                  </a:lnTo>
                  <a:cubicBezTo>
                    <a:pt x="937563" y="310299"/>
                    <a:pt x="926296" y="285317"/>
                    <a:pt x="915211" y="260254"/>
                  </a:cubicBezTo>
                  <a:lnTo>
                    <a:pt x="879762" y="335200"/>
                  </a:lnTo>
                  <a:close/>
                </a:path>
              </a:pathLst>
            </a:custGeom>
            <a:solidFill>
              <a:schemeClr val="tx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73" name="椭圆 72"/>
          <p:cNvSpPr/>
          <p:nvPr/>
        </p:nvSpPr>
        <p:spPr>
          <a:xfrm>
            <a:off x="-770695" y="1595591"/>
            <a:ext cx="4240570" cy="4240570"/>
          </a:xfrm>
          <a:prstGeom prst="ellipse">
            <a:avLst/>
          </a:prstGeom>
          <a:noFill/>
          <a:ln w="6350">
            <a:gradFill flip="none" rotWithShape="1">
              <a:gsLst>
                <a:gs pos="61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椭圆 76"/>
          <p:cNvSpPr/>
          <p:nvPr/>
        </p:nvSpPr>
        <p:spPr>
          <a:xfrm>
            <a:off x="-2568145" y="-201859"/>
            <a:ext cx="7835470" cy="7835470"/>
          </a:xfrm>
          <a:prstGeom prst="ellipse">
            <a:avLst/>
          </a:prstGeom>
          <a:noFill/>
          <a:ln w="6350">
            <a:gradFill flip="none" rotWithShape="1">
              <a:gsLst>
                <a:gs pos="88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椭圆 78"/>
          <p:cNvSpPr/>
          <p:nvPr/>
        </p:nvSpPr>
        <p:spPr>
          <a:xfrm>
            <a:off x="-2694745" y="-328459"/>
            <a:ext cx="8088670" cy="8088670"/>
          </a:xfrm>
          <a:prstGeom prst="ellipse">
            <a:avLst/>
          </a:prstGeom>
          <a:noFill/>
          <a:ln w="6350">
            <a:gradFill flip="none" rotWithShape="1">
              <a:gsLst>
                <a:gs pos="90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59" name="组合 158"/>
          <p:cNvGrpSpPr/>
          <p:nvPr/>
        </p:nvGrpSpPr>
        <p:grpSpPr>
          <a:xfrm rot="10800000" flipH="1" flipV="1">
            <a:off x="6263373" y="2172430"/>
            <a:ext cx="950227" cy="369918"/>
            <a:chOff x="2610942" y="2505783"/>
            <a:chExt cx="1034331" cy="314373"/>
          </a:xfrm>
        </p:grpSpPr>
        <p:sp>
          <p:nvSpPr>
            <p:cNvPr id="160" name="任意多边形: 形状 159"/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61" name="直接连接符 160"/>
            <p:cNvCxnSpPr/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任意多边形: 形状 161"/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63" name="直接连接符 162"/>
            <p:cNvCxnSpPr/>
            <p:nvPr/>
          </p:nvCxnSpPr>
          <p:spPr>
            <a:xfrm rot="10800000" flipH="1" flipV="1">
              <a:off x="2664073" y="2820156"/>
              <a:ext cx="49325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/>
            <p:cNvCxnSpPr/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直接连接符 164"/>
            <p:cNvCxnSpPr/>
            <p:nvPr/>
          </p:nvCxnSpPr>
          <p:spPr>
            <a:xfrm>
              <a:off x="3107988" y="2787881"/>
              <a:ext cx="537285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组合 165"/>
          <p:cNvGrpSpPr/>
          <p:nvPr/>
        </p:nvGrpSpPr>
        <p:grpSpPr>
          <a:xfrm rot="10800000" flipH="1" flipV="1">
            <a:off x="6415773" y="3530917"/>
            <a:ext cx="950227" cy="369918"/>
            <a:chOff x="2610942" y="2505783"/>
            <a:chExt cx="1034331" cy="314373"/>
          </a:xfrm>
        </p:grpSpPr>
        <p:sp>
          <p:nvSpPr>
            <p:cNvPr id="167" name="任意多边形: 形状 166"/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68" name="直接连接符 167"/>
            <p:cNvCxnSpPr/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任意多边形: 形状 168"/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70" name="直接连接符 169"/>
            <p:cNvCxnSpPr/>
            <p:nvPr/>
          </p:nvCxnSpPr>
          <p:spPr>
            <a:xfrm rot="10800000" flipH="1" flipV="1">
              <a:off x="2664073" y="2820156"/>
              <a:ext cx="49325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接连接符 170"/>
            <p:cNvCxnSpPr/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直接连接符 171"/>
            <p:cNvCxnSpPr/>
            <p:nvPr/>
          </p:nvCxnSpPr>
          <p:spPr>
            <a:xfrm>
              <a:off x="3107988" y="2787881"/>
              <a:ext cx="537285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组合 172"/>
          <p:cNvGrpSpPr/>
          <p:nvPr/>
        </p:nvGrpSpPr>
        <p:grpSpPr>
          <a:xfrm rot="10800000" flipH="1" flipV="1">
            <a:off x="6263373" y="4815618"/>
            <a:ext cx="950227" cy="369918"/>
            <a:chOff x="2610942" y="2505783"/>
            <a:chExt cx="1034331" cy="314373"/>
          </a:xfrm>
        </p:grpSpPr>
        <p:sp>
          <p:nvSpPr>
            <p:cNvPr id="174" name="任意多边形: 形状 173"/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75" name="直接连接符 174"/>
            <p:cNvCxnSpPr/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任意多边形: 形状 175"/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177" name="直接连接符 176"/>
            <p:cNvCxnSpPr/>
            <p:nvPr/>
          </p:nvCxnSpPr>
          <p:spPr>
            <a:xfrm rot="10800000" flipH="1" flipV="1">
              <a:off x="2664073" y="2820156"/>
              <a:ext cx="49325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直接连接符 177"/>
            <p:cNvCxnSpPr/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直接连接符 178"/>
            <p:cNvCxnSpPr/>
            <p:nvPr/>
          </p:nvCxnSpPr>
          <p:spPr>
            <a:xfrm>
              <a:off x="3107988" y="2787881"/>
              <a:ext cx="537285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0" name="平行四边形 179"/>
          <p:cNvSpPr/>
          <p:nvPr/>
        </p:nvSpPr>
        <p:spPr>
          <a:xfrm flipV="1">
            <a:off x="9194547" y="1483709"/>
            <a:ext cx="1498853" cy="75697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 flipV="1">
            <a:off x="6029497" y="5968623"/>
            <a:ext cx="1215853" cy="61405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 flipV="1">
            <a:off x="9408106" y="6086611"/>
            <a:ext cx="1498853" cy="75697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矩形: 圆角 111"/>
          <p:cNvSpPr/>
          <p:nvPr/>
        </p:nvSpPr>
        <p:spPr>
          <a:xfrm>
            <a:off x="350043" y="5708564"/>
            <a:ext cx="11491914" cy="612000"/>
          </a:xfrm>
          <a:prstGeom prst="roundRect">
            <a:avLst>
              <a:gd name="adj" fmla="val 3000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9" name="矩形: 圆角 48"/>
          <p:cNvSpPr/>
          <p:nvPr/>
        </p:nvSpPr>
        <p:spPr>
          <a:xfrm>
            <a:off x="6266361" y="1577175"/>
            <a:ext cx="5573691" cy="3486150"/>
          </a:xfrm>
          <a:prstGeom prst="roundRect">
            <a:avLst>
              <a:gd name="adj" fmla="val 3000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grpSp>
        <p:nvGrpSpPr>
          <p:cNvPr id="101" name="组合 100"/>
          <p:cNvGrpSpPr/>
          <p:nvPr/>
        </p:nvGrpSpPr>
        <p:grpSpPr>
          <a:xfrm rot="18900000" flipH="1">
            <a:off x="9849249" y="3213123"/>
            <a:ext cx="955695" cy="231701"/>
            <a:chOff x="8772979" y="3138685"/>
            <a:chExt cx="955695" cy="231701"/>
          </a:xfrm>
        </p:grpSpPr>
        <p:sp>
          <p:nvSpPr>
            <p:cNvPr id="99" name="任意多边形: 形状 98"/>
            <p:cNvSpPr/>
            <p:nvPr/>
          </p:nvSpPr>
          <p:spPr>
            <a:xfrm rot="10800000" flipH="1">
              <a:off x="8837287" y="3295187"/>
              <a:ext cx="891387" cy="75199"/>
            </a:xfrm>
            <a:custGeom>
              <a:avLst/>
              <a:gdLst>
                <a:gd name="connsiteX0" fmla="*/ 794837 w 891387"/>
                <a:gd name="connsiteY0" fmla="*/ 0 h 75199"/>
                <a:gd name="connsiteX1" fmla="*/ 891387 w 891387"/>
                <a:gd name="connsiteY1" fmla="*/ 75199 h 75199"/>
                <a:gd name="connsiteX2" fmla="*/ 387660 w 891387"/>
                <a:gd name="connsiteY2" fmla="*/ 75199 h 75199"/>
                <a:gd name="connsiteX3" fmla="*/ 207169 w 891387"/>
                <a:gd name="connsiteY3" fmla="*/ 75199 h 75199"/>
                <a:gd name="connsiteX4" fmla="*/ 0 w 891387"/>
                <a:gd name="connsiteY4" fmla="*/ 75199 h 75199"/>
                <a:gd name="connsiteX5" fmla="*/ 0 w 891387"/>
                <a:gd name="connsiteY5" fmla="*/ 50748 h 75199"/>
                <a:gd name="connsiteX6" fmla="*/ 207169 w 891387"/>
                <a:gd name="connsiteY6" fmla="*/ 50748 h 75199"/>
                <a:gd name="connsiteX7" fmla="*/ 207169 w 891387"/>
                <a:gd name="connsiteY7" fmla="*/ 50748 h 75199"/>
                <a:gd name="connsiteX8" fmla="*/ 794837 w 891387"/>
                <a:gd name="connsiteY8" fmla="*/ 50748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1387" h="75199">
                  <a:moveTo>
                    <a:pt x="794837" y="0"/>
                  </a:moveTo>
                  <a:lnTo>
                    <a:pt x="891387" y="75199"/>
                  </a:lnTo>
                  <a:lnTo>
                    <a:pt x="387660" y="75199"/>
                  </a:lnTo>
                  <a:lnTo>
                    <a:pt x="207169" y="75199"/>
                  </a:lnTo>
                  <a:lnTo>
                    <a:pt x="0" y="75199"/>
                  </a:lnTo>
                  <a:lnTo>
                    <a:pt x="0" y="50748"/>
                  </a:lnTo>
                  <a:lnTo>
                    <a:pt x="207169" y="50748"/>
                  </a:lnTo>
                  <a:lnTo>
                    <a:pt x="207169" y="50748"/>
                  </a:lnTo>
                  <a:lnTo>
                    <a:pt x="794837" y="5074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100" name="任意多边形: 形状 99"/>
            <p:cNvSpPr/>
            <p:nvPr/>
          </p:nvSpPr>
          <p:spPr>
            <a:xfrm rot="10800000" flipV="1">
              <a:off x="8772979" y="3138685"/>
              <a:ext cx="891387" cy="75199"/>
            </a:xfrm>
            <a:custGeom>
              <a:avLst/>
              <a:gdLst>
                <a:gd name="connsiteX0" fmla="*/ 794837 w 891387"/>
                <a:gd name="connsiteY0" fmla="*/ 0 h 75199"/>
                <a:gd name="connsiteX1" fmla="*/ 891387 w 891387"/>
                <a:gd name="connsiteY1" fmla="*/ 75199 h 75199"/>
                <a:gd name="connsiteX2" fmla="*/ 387660 w 891387"/>
                <a:gd name="connsiteY2" fmla="*/ 75199 h 75199"/>
                <a:gd name="connsiteX3" fmla="*/ 207169 w 891387"/>
                <a:gd name="connsiteY3" fmla="*/ 75199 h 75199"/>
                <a:gd name="connsiteX4" fmla="*/ 0 w 891387"/>
                <a:gd name="connsiteY4" fmla="*/ 75199 h 75199"/>
                <a:gd name="connsiteX5" fmla="*/ 0 w 891387"/>
                <a:gd name="connsiteY5" fmla="*/ 50748 h 75199"/>
                <a:gd name="connsiteX6" fmla="*/ 207169 w 891387"/>
                <a:gd name="connsiteY6" fmla="*/ 50748 h 75199"/>
                <a:gd name="connsiteX7" fmla="*/ 207169 w 891387"/>
                <a:gd name="connsiteY7" fmla="*/ 50748 h 75199"/>
                <a:gd name="connsiteX8" fmla="*/ 794837 w 891387"/>
                <a:gd name="connsiteY8" fmla="*/ 50748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1387" h="75199">
                  <a:moveTo>
                    <a:pt x="794837" y="0"/>
                  </a:moveTo>
                  <a:lnTo>
                    <a:pt x="891387" y="75199"/>
                  </a:lnTo>
                  <a:lnTo>
                    <a:pt x="387660" y="75199"/>
                  </a:lnTo>
                  <a:lnTo>
                    <a:pt x="207169" y="75199"/>
                  </a:lnTo>
                  <a:lnTo>
                    <a:pt x="0" y="75199"/>
                  </a:lnTo>
                  <a:lnTo>
                    <a:pt x="0" y="50748"/>
                  </a:lnTo>
                  <a:lnTo>
                    <a:pt x="207169" y="50748"/>
                  </a:lnTo>
                  <a:lnTo>
                    <a:pt x="207169" y="50748"/>
                  </a:lnTo>
                  <a:lnTo>
                    <a:pt x="794837" y="5074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</p:grpSp>
      <p:sp>
        <p:nvSpPr>
          <p:cNvPr id="48" name="矩形: 圆角 47"/>
          <p:cNvSpPr/>
          <p:nvPr/>
        </p:nvSpPr>
        <p:spPr>
          <a:xfrm>
            <a:off x="348138" y="1577175"/>
            <a:ext cx="5573691" cy="3486150"/>
          </a:xfrm>
          <a:prstGeom prst="roundRect">
            <a:avLst>
              <a:gd name="adj" fmla="val 3000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529689" y="115233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>
                <a:solidFill>
                  <a:schemeClr val="accent1"/>
                </a:solidFill>
                <a:latin typeface="+mj-ea"/>
                <a:ea typeface="+mj-ea"/>
              </a:rPr>
              <a:t>离线部署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319672" y="1152335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>
                <a:solidFill>
                  <a:schemeClr val="accent1"/>
                </a:solidFill>
                <a:latin typeface="+mj-ea"/>
                <a:ea typeface="+mj-ea"/>
              </a:rPr>
              <a:t>公有云部署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2945308" y="1787020"/>
            <a:ext cx="2223391" cy="1077440"/>
            <a:chOff x="1615185" y="1724320"/>
            <a:chExt cx="2223391" cy="1077440"/>
          </a:xfrm>
        </p:grpSpPr>
        <p:grpSp>
          <p:nvGrpSpPr>
            <p:cNvPr id="50" name="组合 49"/>
            <p:cNvGrpSpPr/>
            <p:nvPr/>
          </p:nvGrpSpPr>
          <p:grpSpPr>
            <a:xfrm>
              <a:off x="1615185" y="1724320"/>
              <a:ext cx="1328752" cy="1069590"/>
              <a:chOff x="1467117" y="1930502"/>
              <a:chExt cx="1609726" cy="1203325"/>
            </a:xfrm>
          </p:grpSpPr>
          <p:pic>
            <p:nvPicPr>
              <p:cNvPr id="6" name="图片 5"/>
              <p:cNvPicPr/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67117" y="1930502"/>
                <a:ext cx="1609726" cy="1203325"/>
              </a:xfrm>
              <a:prstGeom prst="rect">
                <a:avLst/>
              </a:prstGeom>
            </p:spPr>
          </p:pic>
          <p:pic>
            <p:nvPicPr>
              <p:cNvPr id="7" name="图片 6"/>
              <p:cNvPicPr/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41047" y="2002180"/>
                <a:ext cx="1458184" cy="738740"/>
              </a:xfrm>
              <a:prstGeom prst="rect">
                <a:avLst/>
              </a:prstGeom>
            </p:spPr>
          </p:pic>
        </p:grpSp>
        <p:pic>
          <p:nvPicPr>
            <p:cNvPr id="10" name="图片 9"/>
            <p:cNvPicPr/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729" b="98551" l="9694" r="89796">
                          <a14:foregroundMark x1="26531" y1="10628" x2="63265" y2="13043"/>
                          <a14:foregroundMark x1="17857" y1="11594" x2="18878" y2="90338"/>
                          <a14:foregroundMark x1="32143" y1="98551" x2="53061" y2="96618"/>
                          <a14:foregroundMark x1="86224" y1="24638" x2="54592" y2="10628"/>
                          <a14:foregroundMark x1="23469" y1="8696" x2="53061" y2="77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4716" y="1857736"/>
              <a:ext cx="893860" cy="944024"/>
            </a:xfrm>
            <a:prstGeom prst="rect">
              <a:avLst/>
            </a:prstGeom>
          </p:spPr>
        </p:pic>
      </p:grpSp>
      <p:grpSp>
        <p:nvGrpSpPr>
          <p:cNvPr id="52" name="组合 51"/>
          <p:cNvGrpSpPr/>
          <p:nvPr/>
        </p:nvGrpSpPr>
        <p:grpSpPr>
          <a:xfrm>
            <a:off x="2945308" y="3798953"/>
            <a:ext cx="2223391" cy="1077440"/>
            <a:chOff x="1615185" y="4168053"/>
            <a:chExt cx="2223391" cy="1077440"/>
          </a:xfrm>
        </p:grpSpPr>
        <p:grpSp>
          <p:nvGrpSpPr>
            <p:cNvPr id="2" name="组合 1"/>
            <p:cNvGrpSpPr/>
            <p:nvPr/>
          </p:nvGrpSpPr>
          <p:grpSpPr>
            <a:xfrm>
              <a:off x="1615185" y="4168053"/>
              <a:ext cx="1328752" cy="1069590"/>
              <a:chOff x="1474698" y="4101185"/>
              <a:chExt cx="1609726" cy="1203325"/>
            </a:xfrm>
          </p:grpSpPr>
          <p:pic>
            <p:nvPicPr>
              <p:cNvPr id="12" name="图片 11"/>
              <p:cNvPicPr/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74698" y="4101185"/>
                <a:ext cx="1609726" cy="1203325"/>
              </a:xfrm>
              <a:prstGeom prst="rect">
                <a:avLst/>
              </a:prstGeom>
            </p:spPr>
          </p:pic>
          <p:pic>
            <p:nvPicPr>
              <p:cNvPr id="13" name="图片 12"/>
              <p:cNvPicPr/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50469" y="4171436"/>
                <a:ext cx="1458184" cy="738740"/>
              </a:xfrm>
              <a:prstGeom prst="rect">
                <a:avLst/>
              </a:prstGeom>
            </p:spPr>
          </p:pic>
        </p:grpSp>
        <p:pic>
          <p:nvPicPr>
            <p:cNvPr id="14" name="图片 13"/>
            <p:cNvPicPr/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729" b="98551" l="9694" r="89796">
                          <a14:foregroundMark x1="26531" y1="10628" x2="63265" y2="13043"/>
                          <a14:foregroundMark x1="17857" y1="11594" x2="18878" y2="90338"/>
                          <a14:foregroundMark x1="32143" y1="98551" x2="53061" y2="96618"/>
                          <a14:foregroundMark x1="86224" y1="24638" x2="54592" y2="10628"/>
                          <a14:foregroundMark x1="23469" y1="8696" x2="53061" y2="77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4716" y="4301469"/>
              <a:ext cx="893860" cy="944024"/>
            </a:xfrm>
            <a:prstGeom prst="rect">
              <a:avLst/>
            </a:prstGeom>
          </p:spPr>
        </p:pic>
      </p:grpSp>
      <p:sp>
        <p:nvSpPr>
          <p:cNvPr id="30" name="文本框 29"/>
          <p:cNvSpPr txBox="1"/>
          <p:nvPr/>
        </p:nvSpPr>
        <p:spPr>
          <a:xfrm rot="3600000">
            <a:off x="8567918" y="3120354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训练样本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9239715" y="1900950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400" dirty="0"/>
              <a:t>发布模型</a:t>
            </a:r>
          </a:p>
        </p:txBody>
      </p:sp>
      <p:sp>
        <p:nvSpPr>
          <p:cNvPr id="32" name="文本框 31"/>
          <p:cNvSpPr txBox="1"/>
          <p:nvPr/>
        </p:nvSpPr>
        <p:spPr>
          <a:xfrm rot="18900000">
            <a:off x="9621788" y="3109204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检测图片</a:t>
            </a:r>
          </a:p>
        </p:txBody>
      </p:sp>
      <p:sp>
        <p:nvSpPr>
          <p:cNvPr id="33" name="文本框 32"/>
          <p:cNvSpPr txBox="1"/>
          <p:nvPr/>
        </p:nvSpPr>
        <p:spPr>
          <a:xfrm rot="18900000">
            <a:off x="10184523" y="3313613"/>
            <a:ext cx="68199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I</a:t>
            </a:r>
            <a:r>
              <a:rPr lang="zh-CN" altLang="en-US" sz="1400" dirty="0"/>
              <a:t>结果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2795564" y="3168090"/>
            <a:ext cx="117246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训练样本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4144495" y="3168090"/>
            <a:ext cx="11180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离线</a:t>
            </a:r>
            <a:r>
              <a:rPr lang="en-US" altLang="zh-CN" sz="1400" dirty="0"/>
              <a:t>SDK</a:t>
            </a:r>
            <a:endParaRPr lang="zh-CN" altLang="en-US" sz="1400" dirty="0"/>
          </a:p>
        </p:txBody>
      </p:sp>
      <p:sp>
        <p:nvSpPr>
          <p:cNvPr id="47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提供多种部署方式</a:t>
            </a:r>
          </a:p>
        </p:txBody>
      </p:sp>
      <p:grpSp>
        <p:nvGrpSpPr>
          <p:cNvPr id="60" name="组合 59"/>
          <p:cNvGrpSpPr/>
          <p:nvPr/>
        </p:nvGrpSpPr>
        <p:grpSpPr>
          <a:xfrm rot="16200000" flipH="1">
            <a:off x="3682739" y="3211400"/>
            <a:ext cx="748528" cy="240613"/>
            <a:chOff x="3560218" y="5748695"/>
            <a:chExt cx="664985" cy="173168"/>
          </a:xfrm>
        </p:grpSpPr>
        <p:sp>
          <p:nvSpPr>
            <p:cNvPr id="54" name="任意多边形: 形状 53"/>
            <p:cNvSpPr/>
            <p:nvPr/>
          </p:nvSpPr>
          <p:spPr>
            <a:xfrm rot="10800000" flipH="1" flipV="1">
              <a:off x="3617350" y="5748695"/>
              <a:ext cx="607853" cy="54120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56" name="任意多边形: 形状 55"/>
            <p:cNvSpPr/>
            <p:nvPr/>
          </p:nvSpPr>
          <p:spPr>
            <a:xfrm rot="10800000">
              <a:off x="3560218" y="5867743"/>
              <a:ext cx="607854" cy="54120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</p:grpSp>
      <p:sp>
        <p:nvSpPr>
          <p:cNvPr id="61" name="平行四边形 60"/>
          <p:cNvSpPr/>
          <p:nvPr/>
        </p:nvSpPr>
        <p:spPr>
          <a:xfrm flipV="1">
            <a:off x="814407" y="2460872"/>
            <a:ext cx="1626389" cy="101188"/>
          </a:xfrm>
          <a:prstGeom prst="parallelogram">
            <a:avLst>
              <a:gd name="adj" fmla="val 5411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平行四边形 61"/>
          <p:cNvSpPr/>
          <p:nvPr/>
        </p:nvSpPr>
        <p:spPr>
          <a:xfrm flipV="1">
            <a:off x="814407" y="4403972"/>
            <a:ext cx="1626389" cy="101188"/>
          </a:xfrm>
          <a:prstGeom prst="parallelogram">
            <a:avLst>
              <a:gd name="adj" fmla="val 5411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847089" y="2246377"/>
            <a:ext cx="15440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>
                <a:solidFill>
                  <a:schemeClr val="accent1"/>
                </a:solidFill>
                <a:latin typeface="+mj-ea"/>
                <a:ea typeface="+mj-ea"/>
              </a:rPr>
              <a:t>ViMo</a:t>
            </a:r>
            <a:r>
              <a:rPr lang="en-US" altLang="zh-CN" sz="16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r>
              <a:rPr lang="zh-CN" altLang="en-US" sz="1600" dirty="0">
                <a:solidFill>
                  <a:schemeClr val="accent1"/>
                </a:solidFill>
                <a:latin typeface="+mj-ea"/>
                <a:ea typeface="+mj-ea"/>
              </a:rPr>
              <a:t>训练平台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847089" y="4195727"/>
            <a:ext cx="1843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err="1">
                <a:solidFill>
                  <a:schemeClr val="accent1"/>
                </a:solidFill>
                <a:latin typeface="+mj-ea"/>
                <a:ea typeface="+mj-ea"/>
              </a:rPr>
              <a:t>ViLab</a:t>
            </a:r>
            <a:r>
              <a:rPr lang="en-US" altLang="zh-CN" sz="16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r>
              <a:rPr lang="zh-CN" altLang="en-US" sz="1600" dirty="0">
                <a:solidFill>
                  <a:schemeClr val="accent1"/>
                </a:solidFill>
                <a:latin typeface="+mj-ea"/>
                <a:ea typeface="+mj-ea"/>
              </a:rPr>
              <a:t>运行平台</a:t>
            </a:r>
          </a:p>
        </p:txBody>
      </p:sp>
      <p:grpSp>
        <p:nvGrpSpPr>
          <p:cNvPr id="63" name="组合 62"/>
          <p:cNvGrpSpPr/>
          <p:nvPr/>
        </p:nvGrpSpPr>
        <p:grpSpPr>
          <a:xfrm>
            <a:off x="8575060" y="3798953"/>
            <a:ext cx="2223391" cy="1077440"/>
            <a:chOff x="1615185" y="4168053"/>
            <a:chExt cx="2223391" cy="1077440"/>
          </a:xfrm>
        </p:grpSpPr>
        <p:grpSp>
          <p:nvGrpSpPr>
            <p:cNvPr id="64" name="组合 63"/>
            <p:cNvGrpSpPr/>
            <p:nvPr/>
          </p:nvGrpSpPr>
          <p:grpSpPr>
            <a:xfrm>
              <a:off x="1615185" y="4168053"/>
              <a:ext cx="1328752" cy="1069590"/>
              <a:chOff x="1474698" y="4101185"/>
              <a:chExt cx="1609726" cy="1203325"/>
            </a:xfrm>
          </p:grpSpPr>
          <p:pic>
            <p:nvPicPr>
              <p:cNvPr id="66" name="图片 65"/>
              <p:cNvPicPr/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74698" y="4101185"/>
                <a:ext cx="1609726" cy="1203325"/>
              </a:xfrm>
              <a:prstGeom prst="rect">
                <a:avLst/>
              </a:prstGeom>
            </p:spPr>
          </p:pic>
          <p:pic>
            <p:nvPicPr>
              <p:cNvPr id="67" name="图片 66"/>
              <p:cNvPicPr/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50469" y="4171436"/>
                <a:ext cx="1458184" cy="738740"/>
              </a:xfrm>
              <a:prstGeom prst="rect">
                <a:avLst/>
              </a:prstGeom>
            </p:spPr>
          </p:pic>
        </p:grpSp>
        <p:pic>
          <p:nvPicPr>
            <p:cNvPr id="65" name="图片 64"/>
            <p:cNvPicPr/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729" b="98551" l="9694" r="89796">
                          <a14:foregroundMark x1="26531" y1="10628" x2="63265" y2="13043"/>
                          <a14:foregroundMark x1="17857" y1="11594" x2="18878" y2="90338"/>
                          <a14:foregroundMark x1="32143" y1="98551" x2="53061" y2="96618"/>
                          <a14:foregroundMark x1="86224" y1="24638" x2="54592" y2="10628"/>
                          <a14:foregroundMark x1="23469" y1="8696" x2="53061" y2="77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44716" y="4301469"/>
              <a:ext cx="893860" cy="944024"/>
            </a:xfrm>
            <a:prstGeom prst="rect">
              <a:avLst/>
            </a:prstGeom>
          </p:spPr>
        </p:pic>
      </p:grpSp>
      <p:sp>
        <p:nvSpPr>
          <p:cNvPr id="76" name="任意多边形: 形状 75"/>
          <p:cNvSpPr/>
          <p:nvPr/>
        </p:nvSpPr>
        <p:spPr>
          <a:xfrm>
            <a:off x="8364391" y="1827667"/>
            <a:ext cx="825028" cy="652494"/>
          </a:xfrm>
          <a:custGeom>
            <a:avLst/>
            <a:gdLst>
              <a:gd name="connsiteX0" fmla="*/ 882861 w 1152307"/>
              <a:gd name="connsiteY0" fmla="*/ 849171 h 911332"/>
              <a:gd name="connsiteX1" fmla="*/ 862604 w 1152307"/>
              <a:gd name="connsiteY1" fmla="*/ 869473 h 911332"/>
              <a:gd name="connsiteX2" fmla="*/ 882861 w 1152307"/>
              <a:gd name="connsiteY2" fmla="*/ 889733 h 911332"/>
              <a:gd name="connsiteX3" fmla="*/ 903118 w 1152307"/>
              <a:gd name="connsiteY3" fmla="*/ 869473 h 911332"/>
              <a:gd name="connsiteX4" fmla="*/ 882861 w 1152307"/>
              <a:gd name="connsiteY4" fmla="*/ 849171 h 911332"/>
              <a:gd name="connsiteX5" fmla="*/ 807024 w 1152307"/>
              <a:gd name="connsiteY5" fmla="*/ 758923 h 911332"/>
              <a:gd name="connsiteX6" fmla="*/ 700426 w 1152307"/>
              <a:gd name="connsiteY6" fmla="*/ 764825 h 911332"/>
              <a:gd name="connsiteX7" fmla="*/ 846910 w 1152307"/>
              <a:gd name="connsiteY7" fmla="*/ 845906 h 911332"/>
              <a:gd name="connsiteX8" fmla="*/ 846240 w 1152307"/>
              <a:gd name="connsiteY8" fmla="*/ 843311 h 911332"/>
              <a:gd name="connsiteX9" fmla="*/ 884158 w 1152307"/>
              <a:gd name="connsiteY9" fmla="*/ 754988 h 911332"/>
              <a:gd name="connsiteX10" fmla="*/ 829876 w 1152307"/>
              <a:gd name="connsiteY10" fmla="*/ 758253 h 911332"/>
              <a:gd name="connsiteX11" fmla="*/ 864572 w 1152307"/>
              <a:gd name="connsiteY11" fmla="*/ 831507 h 911332"/>
              <a:gd name="connsiteX12" fmla="*/ 875035 w 1152307"/>
              <a:gd name="connsiteY12" fmla="*/ 828242 h 911332"/>
              <a:gd name="connsiteX13" fmla="*/ 1068602 w 1152307"/>
              <a:gd name="connsiteY13" fmla="*/ 746490 h 911332"/>
              <a:gd name="connsiteX14" fmla="*/ 905085 w 1152307"/>
              <a:gd name="connsiteY14" fmla="*/ 754988 h 911332"/>
              <a:gd name="connsiteX15" fmla="*/ 894622 w 1152307"/>
              <a:gd name="connsiteY15" fmla="*/ 830209 h 911332"/>
              <a:gd name="connsiteX16" fmla="*/ 916217 w 1152307"/>
              <a:gd name="connsiteY16" fmla="*/ 846576 h 911332"/>
              <a:gd name="connsiteX17" fmla="*/ 1071867 w 1152307"/>
              <a:gd name="connsiteY17" fmla="*/ 755658 h 911332"/>
              <a:gd name="connsiteX18" fmla="*/ 1068602 w 1152307"/>
              <a:gd name="connsiteY18" fmla="*/ 746490 h 911332"/>
              <a:gd name="connsiteX19" fmla="*/ 656607 w 1152307"/>
              <a:gd name="connsiteY19" fmla="*/ 736026 h 911332"/>
              <a:gd name="connsiteX20" fmla="*/ 636308 w 1152307"/>
              <a:gd name="connsiteY20" fmla="*/ 756285 h 911332"/>
              <a:gd name="connsiteX21" fmla="*/ 656607 w 1152307"/>
              <a:gd name="connsiteY21" fmla="*/ 776587 h 911332"/>
              <a:gd name="connsiteX22" fmla="*/ 676863 w 1152307"/>
              <a:gd name="connsiteY22" fmla="*/ 756285 h 911332"/>
              <a:gd name="connsiteX23" fmla="*/ 656607 w 1152307"/>
              <a:gd name="connsiteY23" fmla="*/ 736026 h 911332"/>
              <a:gd name="connsiteX24" fmla="*/ 1108488 w 1152307"/>
              <a:gd name="connsiteY24" fmla="*/ 715766 h 911332"/>
              <a:gd name="connsiteX25" fmla="*/ 1088189 w 1152307"/>
              <a:gd name="connsiteY25" fmla="*/ 736026 h 911332"/>
              <a:gd name="connsiteX26" fmla="*/ 1108488 w 1152307"/>
              <a:gd name="connsiteY26" fmla="*/ 756285 h 911332"/>
              <a:gd name="connsiteX27" fmla="*/ 1128744 w 1152307"/>
              <a:gd name="connsiteY27" fmla="*/ 736026 h 911332"/>
              <a:gd name="connsiteX28" fmla="*/ 1108488 w 1152307"/>
              <a:gd name="connsiteY28" fmla="*/ 715766 h 911332"/>
              <a:gd name="connsiteX29" fmla="*/ 759940 w 1152307"/>
              <a:gd name="connsiteY29" fmla="*/ 654944 h 911332"/>
              <a:gd name="connsiteX30" fmla="*/ 692558 w 1152307"/>
              <a:gd name="connsiteY30" fmla="*/ 735356 h 911332"/>
              <a:gd name="connsiteX31" fmla="*/ 694525 w 1152307"/>
              <a:gd name="connsiteY31" fmla="*/ 742556 h 911332"/>
              <a:gd name="connsiteX32" fmla="*/ 797189 w 1152307"/>
              <a:gd name="connsiteY32" fmla="*/ 737993 h 911332"/>
              <a:gd name="connsiteX33" fmla="*/ 919482 w 1152307"/>
              <a:gd name="connsiteY33" fmla="*/ 652307 h 911332"/>
              <a:gd name="connsiteX34" fmla="*/ 910316 w 1152307"/>
              <a:gd name="connsiteY34" fmla="*/ 728826 h 911332"/>
              <a:gd name="connsiteX35" fmla="*/ 1046337 w 1152307"/>
              <a:gd name="connsiteY35" fmla="*/ 723593 h 911332"/>
              <a:gd name="connsiteX36" fmla="*/ 814851 w 1152307"/>
              <a:gd name="connsiteY36" fmla="*/ 593453 h 911332"/>
              <a:gd name="connsiteX37" fmla="*/ 776263 w 1152307"/>
              <a:gd name="connsiteY37" fmla="*/ 640545 h 911332"/>
              <a:gd name="connsiteX38" fmla="*/ 822049 w 1152307"/>
              <a:gd name="connsiteY38" fmla="*/ 735356 h 911332"/>
              <a:gd name="connsiteX39" fmla="*/ 888093 w 1152307"/>
              <a:gd name="connsiteY39" fmla="*/ 732091 h 911332"/>
              <a:gd name="connsiteX40" fmla="*/ 897258 w 1152307"/>
              <a:gd name="connsiteY40" fmla="*/ 641173 h 911332"/>
              <a:gd name="connsiteX41" fmla="*/ 714782 w 1152307"/>
              <a:gd name="connsiteY41" fmla="*/ 557454 h 911332"/>
              <a:gd name="connsiteX42" fmla="*/ 706286 w 1152307"/>
              <a:gd name="connsiteY42" fmla="*/ 558794 h 911332"/>
              <a:gd name="connsiteX43" fmla="*/ 669037 w 1152307"/>
              <a:gd name="connsiteY43" fmla="*/ 715766 h 911332"/>
              <a:gd name="connsiteX44" fmla="*/ 679500 w 1152307"/>
              <a:gd name="connsiteY44" fmla="*/ 720998 h 911332"/>
              <a:gd name="connsiteX45" fmla="*/ 752072 w 1152307"/>
              <a:gd name="connsiteY45" fmla="*/ 636610 h 911332"/>
              <a:gd name="connsiteX46" fmla="*/ 731816 w 1152307"/>
              <a:gd name="connsiteY46" fmla="*/ 542427 h 911332"/>
              <a:gd name="connsiteX47" fmla="*/ 730476 w 1152307"/>
              <a:gd name="connsiteY47" fmla="*/ 543724 h 911332"/>
              <a:gd name="connsiteX48" fmla="*/ 765172 w 1152307"/>
              <a:gd name="connsiteY48" fmla="*/ 619615 h 911332"/>
              <a:gd name="connsiteX49" fmla="*/ 799156 w 1152307"/>
              <a:gd name="connsiteY49" fmla="*/ 580351 h 911332"/>
              <a:gd name="connsiteX50" fmla="*/ 697162 w 1152307"/>
              <a:gd name="connsiteY50" fmla="*/ 499270 h 911332"/>
              <a:gd name="connsiteX51" fmla="*/ 676863 w 1152307"/>
              <a:gd name="connsiteY51" fmla="*/ 519530 h 911332"/>
              <a:gd name="connsiteX52" fmla="*/ 697162 w 1152307"/>
              <a:gd name="connsiteY52" fmla="*/ 539831 h 911332"/>
              <a:gd name="connsiteX53" fmla="*/ 717418 w 1152307"/>
              <a:gd name="connsiteY53" fmla="*/ 519530 h 911332"/>
              <a:gd name="connsiteX54" fmla="*/ 697162 w 1152307"/>
              <a:gd name="connsiteY54" fmla="*/ 499270 h 911332"/>
              <a:gd name="connsiteX55" fmla="*/ 922746 w 1152307"/>
              <a:gd name="connsiteY55" fmla="*/ 466578 h 911332"/>
              <a:gd name="connsiteX56" fmla="*/ 827281 w 1152307"/>
              <a:gd name="connsiteY56" fmla="*/ 576458 h 911332"/>
              <a:gd name="connsiteX57" fmla="*/ 901820 w 1152307"/>
              <a:gd name="connsiteY57" fmla="*/ 619615 h 911332"/>
              <a:gd name="connsiteX58" fmla="*/ 944970 w 1152307"/>
              <a:gd name="connsiteY58" fmla="*/ 465908 h 911332"/>
              <a:gd name="connsiteX59" fmla="*/ 943045 w 1152307"/>
              <a:gd name="connsiteY59" fmla="*/ 467205 h 911332"/>
              <a:gd name="connsiteX60" fmla="*/ 921449 w 1152307"/>
              <a:gd name="connsiteY60" fmla="*/ 629410 h 911332"/>
              <a:gd name="connsiteX61" fmla="*/ 1072495 w 1152307"/>
              <a:gd name="connsiteY61" fmla="*/ 715766 h 911332"/>
              <a:gd name="connsiteX62" fmla="*/ 1087561 w 1152307"/>
              <a:gd name="connsiteY62" fmla="*/ 699399 h 911332"/>
              <a:gd name="connsiteX63" fmla="*/ 901192 w 1152307"/>
              <a:gd name="connsiteY63" fmla="*/ 452178 h 911332"/>
              <a:gd name="connsiteX64" fmla="*/ 736377 w 1152307"/>
              <a:gd name="connsiteY64" fmla="*/ 512330 h 911332"/>
              <a:gd name="connsiteX65" fmla="*/ 737675 w 1152307"/>
              <a:gd name="connsiteY65" fmla="*/ 519530 h 911332"/>
              <a:gd name="connsiteX66" fmla="*/ 737675 w 1152307"/>
              <a:gd name="connsiteY66" fmla="*/ 524762 h 911332"/>
              <a:gd name="connsiteX67" fmla="*/ 810917 w 1152307"/>
              <a:gd name="connsiteY67" fmla="*/ 566621 h 911332"/>
              <a:gd name="connsiteX68" fmla="*/ 905085 w 1152307"/>
              <a:gd name="connsiteY68" fmla="*/ 457410 h 911332"/>
              <a:gd name="connsiteX69" fmla="*/ 901192 w 1152307"/>
              <a:gd name="connsiteY69" fmla="*/ 452178 h 911332"/>
              <a:gd name="connsiteX70" fmla="*/ 933879 w 1152307"/>
              <a:gd name="connsiteY70" fmla="*/ 406384 h 911332"/>
              <a:gd name="connsiteX71" fmla="*/ 913581 w 1152307"/>
              <a:gd name="connsiteY71" fmla="*/ 426644 h 911332"/>
              <a:gd name="connsiteX72" fmla="*/ 933879 w 1152307"/>
              <a:gd name="connsiteY72" fmla="*/ 446946 h 911332"/>
              <a:gd name="connsiteX73" fmla="*/ 954136 w 1152307"/>
              <a:gd name="connsiteY73" fmla="*/ 426644 h 911332"/>
              <a:gd name="connsiteX74" fmla="*/ 933879 w 1152307"/>
              <a:gd name="connsiteY74" fmla="*/ 406384 h 911332"/>
              <a:gd name="connsiteX75" fmla="*/ 936474 w 1152307"/>
              <a:gd name="connsiteY75" fmla="*/ 386752 h 911332"/>
              <a:gd name="connsiteX76" fmla="*/ 976359 w 1152307"/>
              <a:gd name="connsiteY76" fmla="*/ 427983 h 911332"/>
              <a:gd name="connsiteX77" fmla="*/ 965269 w 1152307"/>
              <a:gd name="connsiteY77" fmla="*/ 454773 h 911332"/>
              <a:gd name="connsiteX78" fmla="*/ 1112380 w 1152307"/>
              <a:gd name="connsiteY78" fmla="*/ 694836 h 911332"/>
              <a:gd name="connsiteX79" fmla="*/ 1152307 w 1152307"/>
              <a:gd name="connsiteY79" fmla="*/ 736695 h 911332"/>
              <a:gd name="connsiteX80" fmla="*/ 1111083 w 1152307"/>
              <a:gd name="connsiteY80" fmla="*/ 777885 h 911332"/>
              <a:gd name="connsiteX81" fmla="*/ 1085594 w 1152307"/>
              <a:gd name="connsiteY81" fmla="*/ 771983 h 911332"/>
              <a:gd name="connsiteX82" fmla="*/ 922746 w 1152307"/>
              <a:gd name="connsiteY82" fmla="*/ 867506 h 911332"/>
              <a:gd name="connsiteX83" fmla="*/ 884158 w 1152307"/>
              <a:gd name="connsiteY83" fmla="*/ 911332 h 911332"/>
              <a:gd name="connsiteX84" fmla="*/ 842976 w 1152307"/>
              <a:gd name="connsiteY84" fmla="*/ 870101 h 911332"/>
              <a:gd name="connsiteX85" fmla="*/ 842976 w 1152307"/>
              <a:gd name="connsiteY85" fmla="*/ 868803 h 911332"/>
              <a:gd name="connsiteX86" fmla="*/ 689963 w 1152307"/>
              <a:gd name="connsiteY86" fmla="*/ 783787 h 911332"/>
              <a:gd name="connsiteX87" fmla="*/ 657904 w 1152307"/>
              <a:gd name="connsiteY87" fmla="*/ 798145 h 911332"/>
              <a:gd name="connsiteX88" fmla="*/ 616721 w 1152307"/>
              <a:gd name="connsiteY88" fmla="*/ 756955 h 911332"/>
              <a:gd name="connsiteX89" fmla="*/ 646771 w 1152307"/>
              <a:gd name="connsiteY89" fmla="*/ 717063 h 911332"/>
              <a:gd name="connsiteX90" fmla="*/ 684062 w 1152307"/>
              <a:gd name="connsiteY90" fmla="*/ 560091 h 911332"/>
              <a:gd name="connsiteX91" fmla="*/ 657904 w 1152307"/>
              <a:gd name="connsiteY91" fmla="*/ 520827 h 911332"/>
              <a:gd name="connsiteX92" fmla="*/ 699087 w 1152307"/>
              <a:gd name="connsiteY92" fmla="*/ 479638 h 911332"/>
              <a:gd name="connsiteX93" fmla="*/ 729848 w 1152307"/>
              <a:gd name="connsiteY93" fmla="*/ 494037 h 911332"/>
              <a:gd name="connsiteX94" fmla="*/ 893324 w 1152307"/>
              <a:gd name="connsiteY94" fmla="*/ 433216 h 911332"/>
              <a:gd name="connsiteX95" fmla="*/ 936474 w 1152307"/>
              <a:gd name="connsiteY95" fmla="*/ 386752 h 911332"/>
              <a:gd name="connsiteX96" fmla="*/ 563353 w 1152307"/>
              <a:gd name="connsiteY96" fmla="*/ 55 h 911332"/>
              <a:gd name="connsiteX97" fmla="*/ 848664 w 1152307"/>
              <a:gd name="connsiteY97" fmla="*/ 217657 h 911332"/>
              <a:gd name="connsiteX98" fmla="*/ 1088600 w 1152307"/>
              <a:gd name="connsiteY98" fmla="*/ 365615 h 911332"/>
              <a:gd name="connsiteX99" fmla="*/ 1077427 w 1152307"/>
              <a:gd name="connsiteY99" fmla="*/ 388073 h 911332"/>
              <a:gd name="connsiteX100" fmla="*/ 1054978 w 1152307"/>
              <a:gd name="connsiteY100" fmla="*/ 376893 h 911332"/>
              <a:gd name="connsiteX101" fmla="*/ 839724 w 1152307"/>
              <a:gd name="connsiteY101" fmla="*/ 255764 h 911332"/>
              <a:gd name="connsiteX102" fmla="*/ 821845 w 1152307"/>
              <a:gd name="connsiteY102" fmla="*/ 260235 h 911332"/>
              <a:gd name="connsiteX103" fmla="*/ 817375 w 1152307"/>
              <a:gd name="connsiteY103" fmla="*/ 244483 h 911332"/>
              <a:gd name="connsiteX104" fmla="*/ 552755 w 1152307"/>
              <a:gd name="connsiteY104" fmla="*/ 38198 h 911332"/>
              <a:gd name="connsiteX105" fmla="*/ 337604 w 1152307"/>
              <a:gd name="connsiteY105" fmla="*/ 213084 h 911332"/>
              <a:gd name="connsiteX106" fmla="*/ 335369 w 1152307"/>
              <a:gd name="connsiteY106" fmla="*/ 237778 h 911332"/>
              <a:gd name="connsiteX107" fmla="*/ 310684 w 1152307"/>
              <a:gd name="connsiteY107" fmla="*/ 228835 h 911332"/>
              <a:gd name="connsiteX108" fmla="*/ 212047 w 1152307"/>
              <a:gd name="connsiteY108" fmla="*/ 237778 h 911332"/>
              <a:gd name="connsiteX109" fmla="*/ 169484 w 1152307"/>
              <a:gd name="connsiteY109" fmla="*/ 399251 h 911332"/>
              <a:gd name="connsiteX110" fmla="*/ 180657 w 1152307"/>
              <a:gd name="connsiteY110" fmla="*/ 417237 h 911332"/>
              <a:gd name="connsiteX111" fmla="*/ 160443 w 1152307"/>
              <a:gd name="connsiteY111" fmla="*/ 423945 h 911332"/>
              <a:gd name="connsiteX112" fmla="*/ 39459 w 1152307"/>
              <a:gd name="connsiteY112" fmla="*/ 551782 h 911332"/>
              <a:gd name="connsiteX113" fmla="*/ 108941 w 1152307"/>
              <a:gd name="connsiteY113" fmla="*/ 762539 h 911332"/>
              <a:gd name="connsiteX114" fmla="*/ 187362 w 1152307"/>
              <a:gd name="connsiteY114" fmla="*/ 807455 h 911332"/>
              <a:gd name="connsiteX115" fmla="*/ 523600 w 1152307"/>
              <a:gd name="connsiteY115" fmla="*/ 807455 h 911332"/>
              <a:gd name="connsiteX116" fmla="*/ 541579 w 1152307"/>
              <a:gd name="connsiteY116" fmla="*/ 825340 h 911332"/>
              <a:gd name="connsiteX117" fmla="*/ 523600 w 1152307"/>
              <a:gd name="connsiteY117" fmla="*/ 843326 h 911332"/>
              <a:gd name="connsiteX118" fmla="*/ 187362 w 1152307"/>
              <a:gd name="connsiteY118" fmla="*/ 843326 h 911332"/>
              <a:gd name="connsiteX119" fmla="*/ 86492 w 1152307"/>
              <a:gd name="connsiteY119" fmla="*/ 789468 h 911332"/>
              <a:gd name="connsiteX120" fmla="*/ 5834 w 1152307"/>
              <a:gd name="connsiteY120" fmla="*/ 542839 h 911332"/>
              <a:gd name="connsiteX121" fmla="*/ 131288 w 1152307"/>
              <a:gd name="connsiteY121" fmla="*/ 397014 h 911332"/>
              <a:gd name="connsiteX122" fmla="*/ 194068 w 1152307"/>
              <a:gd name="connsiteY122" fmla="*/ 204142 h 911332"/>
              <a:gd name="connsiteX123" fmla="*/ 306214 w 1152307"/>
              <a:gd name="connsiteY123" fmla="*/ 186256 h 911332"/>
              <a:gd name="connsiteX124" fmla="*/ 552755 w 1152307"/>
              <a:gd name="connsiteY124" fmla="*/ 89 h 911332"/>
              <a:gd name="connsiteX125" fmla="*/ 563353 w 1152307"/>
              <a:gd name="connsiteY125" fmla="*/ 55 h 911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1152307" h="911332">
                <a:moveTo>
                  <a:pt x="882861" y="849171"/>
                </a:moveTo>
                <a:cubicBezTo>
                  <a:pt x="871728" y="849171"/>
                  <a:pt x="862604" y="858338"/>
                  <a:pt x="862604" y="869473"/>
                </a:cubicBezTo>
                <a:cubicBezTo>
                  <a:pt x="862604" y="880566"/>
                  <a:pt x="871728" y="889733"/>
                  <a:pt x="882861" y="889733"/>
                </a:cubicBezTo>
                <a:cubicBezTo>
                  <a:pt x="893994" y="889733"/>
                  <a:pt x="903118" y="880566"/>
                  <a:pt x="903118" y="869473"/>
                </a:cubicBezTo>
                <a:cubicBezTo>
                  <a:pt x="903118" y="858338"/>
                  <a:pt x="893994" y="849171"/>
                  <a:pt x="882861" y="849171"/>
                </a:cubicBezTo>
                <a:close/>
                <a:moveTo>
                  <a:pt x="807024" y="758923"/>
                </a:moveTo>
                <a:lnTo>
                  <a:pt x="700426" y="764825"/>
                </a:lnTo>
                <a:lnTo>
                  <a:pt x="846910" y="845906"/>
                </a:lnTo>
                <a:cubicBezTo>
                  <a:pt x="847538" y="843311"/>
                  <a:pt x="845571" y="845236"/>
                  <a:pt x="846240" y="843311"/>
                </a:cubicBezTo>
                <a:close/>
                <a:moveTo>
                  <a:pt x="884158" y="754988"/>
                </a:moveTo>
                <a:lnTo>
                  <a:pt x="829876" y="758253"/>
                </a:lnTo>
                <a:lnTo>
                  <a:pt x="864572" y="831507"/>
                </a:lnTo>
                <a:cubicBezTo>
                  <a:pt x="867836" y="830209"/>
                  <a:pt x="871101" y="829539"/>
                  <a:pt x="875035" y="828242"/>
                </a:cubicBezTo>
                <a:close/>
                <a:moveTo>
                  <a:pt x="1068602" y="746490"/>
                </a:moveTo>
                <a:lnTo>
                  <a:pt x="905085" y="754988"/>
                </a:lnTo>
                <a:lnTo>
                  <a:pt x="894622" y="830209"/>
                </a:lnTo>
                <a:cubicBezTo>
                  <a:pt x="903787" y="833474"/>
                  <a:pt x="910986" y="839376"/>
                  <a:pt x="916217" y="846576"/>
                </a:cubicBezTo>
                <a:lnTo>
                  <a:pt x="1071867" y="755658"/>
                </a:lnTo>
                <a:cubicBezTo>
                  <a:pt x="1070528" y="752393"/>
                  <a:pt x="1069900" y="749755"/>
                  <a:pt x="1068602" y="746490"/>
                </a:cubicBezTo>
                <a:close/>
                <a:moveTo>
                  <a:pt x="656607" y="736026"/>
                </a:moveTo>
                <a:cubicBezTo>
                  <a:pt x="645474" y="736026"/>
                  <a:pt x="636308" y="745193"/>
                  <a:pt x="636308" y="756285"/>
                </a:cubicBezTo>
                <a:cubicBezTo>
                  <a:pt x="636308" y="767420"/>
                  <a:pt x="645474" y="776587"/>
                  <a:pt x="656607" y="776587"/>
                </a:cubicBezTo>
                <a:cubicBezTo>
                  <a:pt x="667698" y="776587"/>
                  <a:pt x="676863" y="767420"/>
                  <a:pt x="676863" y="756285"/>
                </a:cubicBezTo>
                <a:cubicBezTo>
                  <a:pt x="676863" y="745193"/>
                  <a:pt x="667698" y="736026"/>
                  <a:pt x="656607" y="736026"/>
                </a:cubicBezTo>
                <a:close/>
                <a:moveTo>
                  <a:pt x="1108488" y="715766"/>
                </a:moveTo>
                <a:cubicBezTo>
                  <a:pt x="1097355" y="715766"/>
                  <a:pt x="1088189" y="724891"/>
                  <a:pt x="1088189" y="736026"/>
                </a:cubicBezTo>
                <a:cubicBezTo>
                  <a:pt x="1088189" y="747160"/>
                  <a:pt x="1097355" y="756285"/>
                  <a:pt x="1108488" y="756285"/>
                </a:cubicBezTo>
                <a:cubicBezTo>
                  <a:pt x="1120248" y="756285"/>
                  <a:pt x="1129414" y="746490"/>
                  <a:pt x="1128744" y="736026"/>
                </a:cubicBezTo>
                <a:cubicBezTo>
                  <a:pt x="1128744" y="724891"/>
                  <a:pt x="1119579" y="715766"/>
                  <a:pt x="1108488" y="715766"/>
                </a:cubicBezTo>
                <a:close/>
                <a:moveTo>
                  <a:pt x="759940" y="654944"/>
                </a:moveTo>
                <a:lnTo>
                  <a:pt x="692558" y="735356"/>
                </a:lnTo>
                <a:cubicBezTo>
                  <a:pt x="694525" y="738663"/>
                  <a:pt x="692558" y="738663"/>
                  <a:pt x="694525" y="742556"/>
                </a:cubicBezTo>
                <a:lnTo>
                  <a:pt x="797189" y="737993"/>
                </a:lnTo>
                <a:close/>
                <a:moveTo>
                  <a:pt x="919482" y="652307"/>
                </a:moveTo>
                <a:lnTo>
                  <a:pt x="910316" y="728826"/>
                </a:lnTo>
                <a:lnTo>
                  <a:pt x="1046337" y="723593"/>
                </a:lnTo>
                <a:close/>
                <a:moveTo>
                  <a:pt x="814851" y="593453"/>
                </a:moveTo>
                <a:lnTo>
                  <a:pt x="776263" y="640545"/>
                </a:lnTo>
                <a:lnTo>
                  <a:pt x="822049" y="735356"/>
                </a:lnTo>
                <a:lnTo>
                  <a:pt x="888093" y="732091"/>
                </a:lnTo>
                <a:lnTo>
                  <a:pt x="897258" y="641173"/>
                </a:lnTo>
                <a:close/>
                <a:moveTo>
                  <a:pt x="714782" y="557454"/>
                </a:moveTo>
                <a:cubicBezTo>
                  <a:pt x="711517" y="558794"/>
                  <a:pt x="709550" y="557454"/>
                  <a:pt x="706286" y="558794"/>
                </a:cubicBezTo>
                <a:lnTo>
                  <a:pt x="669037" y="715766"/>
                </a:lnTo>
                <a:cubicBezTo>
                  <a:pt x="673599" y="717733"/>
                  <a:pt x="676235" y="719031"/>
                  <a:pt x="679500" y="720998"/>
                </a:cubicBezTo>
                <a:lnTo>
                  <a:pt x="752072" y="636610"/>
                </a:lnTo>
                <a:close/>
                <a:moveTo>
                  <a:pt x="731816" y="542427"/>
                </a:moveTo>
                <a:lnTo>
                  <a:pt x="730476" y="543724"/>
                </a:lnTo>
                <a:lnTo>
                  <a:pt x="765172" y="619615"/>
                </a:lnTo>
                <a:lnTo>
                  <a:pt x="799156" y="580351"/>
                </a:lnTo>
                <a:close/>
                <a:moveTo>
                  <a:pt x="697162" y="499270"/>
                </a:moveTo>
                <a:cubicBezTo>
                  <a:pt x="686029" y="499270"/>
                  <a:pt x="676863" y="508437"/>
                  <a:pt x="676863" y="519530"/>
                </a:cubicBezTo>
                <a:cubicBezTo>
                  <a:pt x="676863" y="531292"/>
                  <a:pt x="686029" y="539831"/>
                  <a:pt x="697162" y="539831"/>
                </a:cubicBezTo>
                <a:cubicBezTo>
                  <a:pt x="708253" y="539831"/>
                  <a:pt x="717418" y="530664"/>
                  <a:pt x="717418" y="519530"/>
                </a:cubicBezTo>
                <a:cubicBezTo>
                  <a:pt x="717418" y="508437"/>
                  <a:pt x="708253" y="499270"/>
                  <a:pt x="697162" y="499270"/>
                </a:cubicBezTo>
                <a:close/>
                <a:moveTo>
                  <a:pt x="922746" y="466578"/>
                </a:moveTo>
                <a:lnTo>
                  <a:pt x="827281" y="576458"/>
                </a:lnTo>
                <a:lnTo>
                  <a:pt x="901820" y="619615"/>
                </a:lnTo>
                <a:close/>
                <a:moveTo>
                  <a:pt x="944970" y="465908"/>
                </a:moveTo>
                <a:cubicBezTo>
                  <a:pt x="944970" y="467205"/>
                  <a:pt x="944342" y="467205"/>
                  <a:pt x="943045" y="467205"/>
                </a:cubicBezTo>
                <a:lnTo>
                  <a:pt x="921449" y="629410"/>
                </a:lnTo>
                <a:lnTo>
                  <a:pt x="1072495" y="715766"/>
                </a:lnTo>
                <a:cubicBezTo>
                  <a:pt x="1075759" y="708566"/>
                  <a:pt x="1081660" y="702664"/>
                  <a:pt x="1087561" y="699399"/>
                </a:cubicBezTo>
                <a:close/>
                <a:moveTo>
                  <a:pt x="901192" y="452178"/>
                </a:moveTo>
                <a:lnTo>
                  <a:pt x="736377" y="512330"/>
                </a:lnTo>
                <a:cubicBezTo>
                  <a:pt x="737675" y="514297"/>
                  <a:pt x="737675" y="517562"/>
                  <a:pt x="737675" y="519530"/>
                </a:cubicBezTo>
                <a:lnTo>
                  <a:pt x="737675" y="524762"/>
                </a:lnTo>
                <a:lnTo>
                  <a:pt x="810917" y="566621"/>
                </a:lnTo>
                <a:lnTo>
                  <a:pt x="905085" y="457410"/>
                </a:lnTo>
                <a:cubicBezTo>
                  <a:pt x="904457" y="455443"/>
                  <a:pt x="902490" y="454145"/>
                  <a:pt x="901192" y="452178"/>
                </a:cubicBezTo>
                <a:close/>
                <a:moveTo>
                  <a:pt x="933879" y="406384"/>
                </a:moveTo>
                <a:cubicBezTo>
                  <a:pt x="922746" y="406384"/>
                  <a:pt x="913581" y="416179"/>
                  <a:pt x="913581" y="426644"/>
                </a:cubicBezTo>
                <a:cubicBezTo>
                  <a:pt x="913581" y="437778"/>
                  <a:pt x="922746" y="446946"/>
                  <a:pt x="933879" y="446946"/>
                </a:cubicBezTo>
                <a:cubicBezTo>
                  <a:pt x="944970" y="446946"/>
                  <a:pt x="954136" y="437778"/>
                  <a:pt x="954136" y="426644"/>
                </a:cubicBezTo>
                <a:cubicBezTo>
                  <a:pt x="954136" y="415551"/>
                  <a:pt x="944970" y="406384"/>
                  <a:pt x="933879" y="406384"/>
                </a:cubicBezTo>
                <a:close/>
                <a:moveTo>
                  <a:pt x="936474" y="386752"/>
                </a:moveTo>
                <a:cubicBezTo>
                  <a:pt x="958740" y="387422"/>
                  <a:pt x="976359" y="405714"/>
                  <a:pt x="976359" y="427983"/>
                </a:cubicBezTo>
                <a:cubicBezTo>
                  <a:pt x="976359" y="439746"/>
                  <a:pt x="973765" y="447574"/>
                  <a:pt x="965269" y="454773"/>
                </a:cubicBezTo>
                <a:cubicBezTo>
                  <a:pt x="965269" y="454773"/>
                  <a:pt x="1111083" y="694836"/>
                  <a:pt x="1112380" y="694836"/>
                </a:cubicBezTo>
                <a:cubicBezTo>
                  <a:pt x="1132678" y="694166"/>
                  <a:pt x="1151637" y="715766"/>
                  <a:pt x="1152307" y="736695"/>
                </a:cubicBezTo>
                <a:cubicBezTo>
                  <a:pt x="1152307" y="759592"/>
                  <a:pt x="1133976" y="777885"/>
                  <a:pt x="1111083" y="777885"/>
                </a:cubicBezTo>
                <a:cubicBezTo>
                  <a:pt x="1101917" y="777885"/>
                  <a:pt x="1092793" y="777215"/>
                  <a:pt x="1085594" y="771983"/>
                </a:cubicBezTo>
                <a:lnTo>
                  <a:pt x="922746" y="867506"/>
                </a:lnTo>
                <a:cubicBezTo>
                  <a:pt x="925383" y="889063"/>
                  <a:pt x="909019" y="911332"/>
                  <a:pt x="884158" y="911332"/>
                </a:cubicBezTo>
                <a:cubicBezTo>
                  <a:pt x="861265" y="911332"/>
                  <a:pt x="842976" y="892998"/>
                  <a:pt x="842976" y="870101"/>
                </a:cubicBezTo>
                <a:lnTo>
                  <a:pt x="842976" y="868803"/>
                </a:lnTo>
                <a:lnTo>
                  <a:pt x="689963" y="783787"/>
                </a:lnTo>
                <a:cubicBezTo>
                  <a:pt x="681467" y="792912"/>
                  <a:pt x="670334" y="798145"/>
                  <a:pt x="657904" y="798145"/>
                </a:cubicBezTo>
                <a:cubicBezTo>
                  <a:pt x="635011" y="798145"/>
                  <a:pt x="616721" y="779852"/>
                  <a:pt x="616721" y="756955"/>
                </a:cubicBezTo>
                <a:cubicBezTo>
                  <a:pt x="616721" y="737323"/>
                  <a:pt x="628482" y="720998"/>
                  <a:pt x="646771" y="717063"/>
                </a:cubicBezTo>
                <a:lnTo>
                  <a:pt x="684062" y="560091"/>
                </a:lnTo>
                <a:cubicBezTo>
                  <a:pt x="667698" y="554859"/>
                  <a:pt x="657904" y="539162"/>
                  <a:pt x="657904" y="520827"/>
                </a:cubicBezTo>
                <a:cubicBezTo>
                  <a:pt x="657904" y="497972"/>
                  <a:pt x="676235" y="479638"/>
                  <a:pt x="699087" y="479638"/>
                </a:cubicBezTo>
                <a:cubicBezTo>
                  <a:pt x="712187" y="479638"/>
                  <a:pt x="722650" y="483572"/>
                  <a:pt x="729848" y="494037"/>
                </a:cubicBezTo>
                <a:lnTo>
                  <a:pt x="893324" y="433216"/>
                </a:lnTo>
                <a:cubicBezTo>
                  <a:pt x="892027" y="431248"/>
                  <a:pt x="893324" y="386124"/>
                  <a:pt x="936474" y="386752"/>
                </a:cubicBezTo>
                <a:close/>
                <a:moveTo>
                  <a:pt x="563353" y="55"/>
                </a:moveTo>
                <a:cubicBezTo>
                  <a:pt x="609109" y="1043"/>
                  <a:pt x="789823" y="17504"/>
                  <a:pt x="848664" y="217657"/>
                </a:cubicBezTo>
                <a:cubicBezTo>
                  <a:pt x="898033" y="213084"/>
                  <a:pt x="1039232" y="215420"/>
                  <a:pt x="1088600" y="365615"/>
                </a:cubicBezTo>
                <a:cubicBezTo>
                  <a:pt x="1090836" y="374557"/>
                  <a:pt x="1086365" y="385836"/>
                  <a:pt x="1077427" y="388073"/>
                </a:cubicBezTo>
                <a:cubicBezTo>
                  <a:pt x="1068386" y="390308"/>
                  <a:pt x="1057213" y="385836"/>
                  <a:pt x="1054978" y="376893"/>
                </a:cubicBezTo>
                <a:cubicBezTo>
                  <a:pt x="1005609" y="224363"/>
                  <a:pt x="846429" y="253529"/>
                  <a:pt x="839724" y="255764"/>
                </a:cubicBezTo>
                <a:lnTo>
                  <a:pt x="821845" y="260235"/>
                </a:lnTo>
                <a:lnTo>
                  <a:pt x="817375" y="244483"/>
                </a:lnTo>
                <a:cubicBezTo>
                  <a:pt x="761303" y="29255"/>
                  <a:pt x="561796" y="38198"/>
                  <a:pt x="552755" y="38198"/>
                </a:cubicBezTo>
                <a:cubicBezTo>
                  <a:pt x="351012" y="38198"/>
                  <a:pt x="337604" y="206377"/>
                  <a:pt x="337604" y="213084"/>
                </a:cubicBezTo>
                <a:lnTo>
                  <a:pt x="335369" y="237778"/>
                </a:lnTo>
                <a:lnTo>
                  <a:pt x="310684" y="228835"/>
                </a:lnTo>
                <a:cubicBezTo>
                  <a:pt x="254610" y="206377"/>
                  <a:pt x="214282" y="235541"/>
                  <a:pt x="212047" y="237778"/>
                </a:cubicBezTo>
                <a:cubicBezTo>
                  <a:pt x="113409" y="300579"/>
                  <a:pt x="167249" y="397014"/>
                  <a:pt x="169484" y="399251"/>
                </a:cubicBezTo>
                <a:lnTo>
                  <a:pt x="180657" y="417237"/>
                </a:lnTo>
                <a:lnTo>
                  <a:pt x="160443" y="423945"/>
                </a:lnTo>
                <a:cubicBezTo>
                  <a:pt x="95430" y="450874"/>
                  <a:pt x="50632" y="495686"/>
                  <a:pt x="39459" y="551782"/>
                </a:cubicBezTo>
                <a:cubicBezTo>
                  <a:pt x="23712" y="627995"/>
                  <a:pt x="50632" y="713255"/>
                  <a:pt x="108941" y="762539"/>
                </a:cubicBezTo>
                <a:cubicBezTo>
                  <a:pt x="142564" y="791704"/>
                  <a:pt x="171719" y="807455"/>
                  <a:pt x="187362" y="807455"/>
                </a:cubicBezTo>
                <a:lnTo>
                  <a:pt x="523600" y="807455"/>
                </a:lnTo>
                <a:cubicBezTo>
                  <a:pt x="532641" y="807455"/>
                  <a:pt x="541579" y="816397"/>
                  <a:pt x="541579" y="825340"/>
                </a:cubicBezTo>
                <a:cubicBezTo>
                  <a:pt x="541579" y="834383"/>
                  <a:pt x="534876" y="843326"/>
                  <a:pt x="523600" y="843326"/>
                </a:cubicBezTo>
                <a:lnTo>
                  <a:pt x="187362" y="843326"/>
                </a:lnTo>
                <a:cubicBezTo>
                  <a:pt x="160443" y="843326"/>
                  <a:pt x="126820" y="825340"/>
                  <a:pt x="86492" y="789468"/>
                </a:cubicBezTo>
                <a:cubicBezTo>
                  <a:pt x="19245" y="731138"/>
                  <a:pt x="-14381" y="632468"/>
                  <a:pt x="5834" y="542839"/>
                </a:cubicBezTo>
                <a:cubicBezTo>
                  <a:pt x="19245" y="480038"/>
                  <a:pt x="64040" y="428415"/>
                  <a:pt x="131288" y="397014"/>
                </a:cubicBezTo>
                <a:cubicBezTo>
                  <a:pt x="111177" y="347729"/>
                  <a:pt x="104471" y="260235"/>
                  <a:pt x="194068" y="204142"/>
                </a:cubicBezTo>
                <a:cubicBezTo>
                  <a:pt x="194068" y="204142"/>
                  <a:pt x="241201" y="168270"/>
                  <a:pt x="306214" y="186256"/>
                </a:cubicBezTo>
                <a:cubicBezTo>
                  <a:pt x="317387" y="132398"/>
                  <a:pt x="364521" y="89"/>
                  <a:pt x="552755" y="89"/>
                </a:cubicBezTo>
                <a:cubicBezTo>
                  <a:pt x="553034" y="89"/>
                  <a:pt x="556817" y="-86"/>
                  <a:pt x="563353" y="5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2" name="iconfont-11117-5233421"/>
          <p:cNvSpPr/>
          <p:nvPr/>
        </p:nvSpPr>
        <p:spPr>
          <a:xfrm>
            <a:off x="10232623" y="1847851"/>
            <a:ext cx="779344" cy="633494"/>
          </a:xfrm>
          <a:custGeom>
            <a:avLst/>
            <a:gdLst>
              <a:gd name="connsiteX0" fmla="*/ 254303 w 456672"/>
              <a:gd name="connsiteY0" fmla="*/ 242664 h 371209"/>
              <a:gd name="connsiteX1" fmla="*/ 261995 w 456672"/>
              <a:gd name="connsiteY1" fmla="*/ 250315 h 371209"/>
              <a:gd name="connsiteX2" fmla="*/ 261995 w 456672"/>
              <a:gd name="connsiteY2" fmla="*/ 323217 h 371209"/>
              <a:gd name="connsiteX3" fmla="*/ 327184 w 456672"/>
              <a:gd name="connsiteY3" fmla="*/ 354907 h 371209"/>
              <a:gd name="connsiteX4" fmla="*/ 405845 w 456672"/>
              <a:gd name="connsiteY4" fmla="*/ 306915 h 371209"/>
              <a:gd name="connsiteX5" fmla="*/ 405845 w 456672"/>
              <a:gd name="connsiteY5" fmla="*/ 270486 h 371209"/>
              <a:gd name="connsiteX6" fmla="*/ 413537 w 456672"/>
              <a:gd name="connsiteY6" fmla="*/ 262791 h 371209"/>
              <a:gd name="connsiteX7" fmla="*/ 421186 w 456672"/>
              <a:gd name="connsiteY7" fmla="*/ 270486 h 371209"/>
              <a:gd name="connsiteX8" fmla="*/ 421186 w 456672"/>
              <a:gd name="connsiteY8" fmla="*/ 315566 h 371209"/>
              <a:gd name="connsiteX9" fmla="*/ 328140 w 456672"/>
              <a:gd name="connsiteY9" fmla="*/ 371209 h 371209"/>
              <a:gd name="connsiteX10" fmla="*/ 246654 w 456672"/>
              <a:gd name="connsiteY10" fmla="*/ 332824 h 371209"/>
              <a:gd name="connsiteX11" fmla="*/ 246654 w 456672"/>
              <a:gd name="connsiteY11" fmla="*/ 250315 h 371209"/>
              <a:gd name="connsiteX12" fmla="*/ 254303 w 456672"/>
              <a:gd name="connsiteY12" fmla="*/ 242664 h 371209"/>
              <a:gd name="connsiteX13" fmla="*/ 352135 w 456672"/>
              <a:gd name="connsiteY13" fmla="*/ 198578 h 371209"/>
              <a:gd name="connsiteX14" fmla="*/ 456672 w 456672"/>
              <a:gd name="connsiteY14" fmla="*/ 247493 h 371209"/>
              <a:gd name="connsiteX15" fmla="*/ 456672 w 456672"/>
              <a:gd name="connsiteY15" fmla="*/ 331855 h 371209"/>
              <a:gd name="connsiteX16" fmla="*/ 388588 w 456672"/>
              <a:gd name="connsiteY16" fmla="*/ 368302 h 371209"/>
              <a:gd name="connsiteX17" fmla="*/ 385721 w 456672"/>
              <a:gd name="connsiteY17" fmla="*/ 370213 h 371209"/>
              <a:gd name="connsiteX18" fmla="*/ 378986 w 456672"/>
              <a:gd name="connsiteY18" fmla="*/ 366347 h 371209"/>
              <a:gd name="connsiteX19" fmla="*/ 381854 w 456672"/>
              <a:gd name="connsiteY19" fmla="*/ 356790 h 371209"/>
              <a:gd name="connsiteX20" fmla="*/ 442291 w 456672"/>
              <a:gd name="connsiteY20" fmla="*/ 324166 h 371209"/>
              <a:gd name="connsiteX21" fmla="*/ 442291 w 456672"/>
              <a:gd name="connsiteY21" fmla="*/ 257093 h 371209"/>
              <a:gd name="connsiteX22" fmla="*/ 352135 w 456672"/>
              <a:gd name="connsiteY22" fmla="*/ 214912 h 371209"/>
              <a:gd name="connsiteX23" fmla="*/ 327195 w 456672"/>
              <a:gd name="connsiteY23" fmla="*/ 225424 h 371209"/>
              <a:gd name="connsiteX24" fmla="*/ 317637 w 456672"/>
              <a:gd name="connsiteY24" fmla="*/ 221602 h 371209"/>
              <a:gd name="connsiteX25" fmla="*/ 321460 w 456672"/>
              <a:gd name="connsiteY25" fmla="*/ 212001 h 371209"/>
              <a:gd name="connsiteX26" fmla="*/ 354007 w 456672"/>
              <a:gd name="connsiteY26" fmla="*/ 159290 h 371209"/>
              <a:gd name="connsiteX27" fmla="*/ 431705 w 456672"/>
              <a:gd name="connsiteY27" fmla="*/ 196665 h 371209"/>
              <a:gd name="connsiteX28" fmla="*/ 435529 w 456672"/>
              <a:gd name="connsiteY28" fmla="*/ 206269 h 371209"/>
              <a:gd name="connsiteX29" fmla="*/ 425925 w 456672"/>
              <a:gd name="connsiteY29" fmla="*/ 210094 h 371209"/>
              <a:gd name="connsiteX30" fmla="*/ 354007 w 456672"/>
              <a:gd name="connsiteY30" fmla="*/ 175587 h 371209"/>
              <a:gd name="connsiteX31" fmla="*/ 297429 w 456672"/>
              <a:gd name="connsiteY31" fmla="*/ 200533 h 371209"/>
              <a:gd name="connsiteX32" fmla="*/ 297429 w 456672"/>
              <a:gd name="connsiteY32" fmla="*/ 302184 h 371209"/>
              <a:gd name="connsiteX33" fmla="*/ 332931 w 456672"/>
              <a:gd name="connsiteY33" fmla="*/ 320393 h 371209"/>
              <a:gd name="connsiteX34" fmla="*/ 335800 w 456672"/>
              <a:gd name="connsiteY34" fmla="*/ 329998 h 371209"/>
              <a:gd name="connsiteX35" fmla="*/ 329064 w 456672"/>
              <a:gd name="connsiteY35" fmla="*/ 333822 h 371209"/>
              <a:gd name="connsiteX36" fmla="*/ 326196 w 456672"/>
              <a:gd name="connsiteY36" fmla="*/ 332866 h 371209"/>
              <a:gd name="connsiteX37" fmla="*/ 283045 w 456672"/>
              <a:gd name="connsiteY37" fmla="*/ 310789 h 371209"/>
              <a:gd name="connsiteX38" fmla="*/ 283045 w 456672"/>
              <a:gd name="connsiteY38" fmla="*/ 190928 h 371209"/>
              <a:gd name="connsiteX39" fmla="*/ 228442 w 456672"/>
              <a:gd name="connsiteY39" fmla="*/ 39 h 371209"/>
              <a:gd name="connsiteX40" fmla="*/ 351195 w 456672"/>
              <a:gd name="connsiteY40" fmla="*/ 90207 h 371209"/>
              <a:gd name="connsiteX41" fmla="*/ 450918 w 456672"/>
              <a:gd name="connsiteY41" fmla="*/ 151565 h 371209"/>
              <a:gd name="connsiteX42" fmla="*/ 446138 w 456672"/>
              <a:gd name="connsiteY42" fmla="*/ 161169 h 371209"/>
              <a:gd name="connsiteX43" fmla="*/ 436535 w 456672"/>
              <a:gd name="connsiteY43" fmla="*/ 156345 h 371209"/>
              <a:gd name="connsiteX44" fmla="*/ 347371 w 456672"/>
              <a:gd name="connsiteY44" fmla="*/ 105547 h 371209"/>
              <a:gd name="connsiteX45" fmla="*/ 340636 w 456672"/>
              <a:gd name="connsiteY45" fmla="*/ 106503 h 371209"/>
              <a:gd name="connsiteX46" fmla="*/ 338724 w 456672"/>
              <a:gd name="connsiteY46" fmla="*/ 99767 h 371209"/>
              <a:gd name="connsiteX47" fmla="*/ 229398 w 456672"/>
              <a:gd name="connsiteY47" fmla="*/ 14422 h 371209"/>
              <a:gd name="connsiteX48" fmla="*/ 140234 w 456672"/>
              <a:gd name="connsiteY48" fmla="*/ 87296 h 371209"/>
              <a:gd name="connsiteX49" fmla="*/ 139278 w 456672"/>
              <a:gd name="connsiteY49" fmla="*/ 97855 h 371209"/>
              <a:gd name="connsiteX50" fmla="*/ 129675 w 456672"/>
              <a:gd name="connsiteY50" fmla="*/ 94031 h 371209"/>
              <a:gd name="connsiteX51" fmla="*/ 88439 w 456672"/>
              <a:gd name="connsiteY51" fmla="*/ 96899 h 371209"/>
              <a:gd name="connsiteX52" fmla="*/ 70233 w 456672"/>
              <a:gd name="connsiteY52" fmla="*/ 164037 h 371209"/>
              <a:gd name="connsiteX53" fmla="*/ 74057 w 456672"/>
              <a:gd name="connsiteY53" fmla="*/ 171685 h 371209"/>
              <a:gd name="connsiteX54" fmla="*/ 67365 w 456672"/>
              <a:gd name="connsiteY54" fmla="*/ 175552 h 371209"/>
              <a:gd name="connsiteX55" fmla="*/ 17482 w 456672"/>
              <a:gd name="connsiteY55" fmla="*/ 228306 h 371209"/>
              <a:gd name="connsiteX56" fmla="*/ 46247 w 456672"/>
              <a:gd name="connsiteY56" fmla="*/ 316519 h 371209"/>
              <a:gd name="connsiteX57" fmla="*/ 78836 w 456672"/>
              <a:gd name="connsiteY57" fmla="*/ 335683 h 371209"/>
              <a:gd name="connsiteX58" fmla="*/ 182426 w 456672"/>
              <a:gd name="connsiteY58" fmla="*/ 335683 h 371209"/>
              <a:gd name="connsiteX59" fmla="*/ 190074 w 456672"/>
              <a:gd name="connsiteY59" fmla="*/ 343374 h 371209"/>
              <a:gd name="connsiteX60" fmla="*/ 181471 w 456672"/>
              <a:gd name="connsiteY60" fmla="*/ 351022 h 371209"/>
              <a:gd name="connsiteX61" fmla="*/ 77880 w 456672"/>
              <a:gd name="connsiteY61" fmla="*/ 351022 h 371209"/>
              <a:gd name="connsiteX62" fmla="*/ 35688 w 456672"/>
              <a:gd name="connsiteY62" fmla="*/ 328991 h 371209"/>
              <a:gd name="connsiteX63" fmla="*/ 2143 w 456672"/>
              <a:gd name="connsiteY63" fmla="*/ 226351 h 371209"/>
              <a:gd name="connsiteX64" fmla="*/ 53938 w 456672"/>
              <a:gd name="connsiteY64" fmla="*/ 164993 h 371209"/>
              <a:gd name="connsiteX65" fmla="*/ 79836 w 456672"/>
              <a:gd name="connsiteY65" fmla="*/ 85384 h 371209"/>
              <a:gd name="connsiteX66" fmla="*/ 125852 w 456672"/>
              <a:gd name="connsiteY66" fmla="*/ 77736 h 371209"/>
              <a:gd name="connsiteX67" fmla="*/ 228442 w 456672"/>
              <a:gd name="connsiteY67" fmla="*/ 39 h 371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456672" h="371209">
                <a:moveTo>
                  <a:pt x="254303" y="242664"/>
                </a:moveTo>
                <a:cubicBezTo>
                  <a:pt x="259083" y="242664"/>
                  <a:pt x="261995" y="245533"/>
                  <a:pt x="261995" y="250315"/>
                </a:cubicBezTo>
                <a:lnTo>
                  <a:pt x="261995" y="323217"/>
                </a:lnTo>
                <a:lnTo>
                  <a:pt x="327184" y="354907"/>
                </a:lnTo>
                <a:lnTo>
                  <a:pt x="405845" y="306915"/>
                </a:lnTo>
                <a:lnTo>
                  <a:pt x="405845" y="270486"/>
                </a:lnTo>
                <a:cubicBezTo>
                  <a:pt x="405845" y="266617"/>
                  <a:pt x="408713" y="262791"/>
                  <a:pt x="413537" y="262791"/>
                </a:cubicBezTo>
                <a:cubicBezTo>
                  <a:pt x="418318" y="262791"/>
                  <a:pt x="421186" y="265661"/>
                  <a:pt x="421186" y="270486"/>
                </a:cubicBezTo>
                <a:lnTo>
                  <a:pt x="421186" y="315566"/>
                </a:lnTo>
                <a:lnTo>
                  <a:pt x="328140" y="371209"/>
                </a:lnTo>
                <a:lnTo>
                  <a:pt x="246654" y="332824"/>
                </a:lnTo>
                <a:lnTo>
                  <a:pt x="246654" y="250315"/>
                </a:lnTo>
                <a:cubicBezTo>
                  <a:pt x="246654" y="246490"/>
                  <a:pt x="249522" y="242664"/>
                  <a:pt x="254303" y="242664"/>
                </a:cubicBezTo>
                <a:close/>
                <a:moveTo>
                  <a:pt x="352135" y="198578"/>
                </a:moveTo>
                <a:lnTo>
                  <a:pt x="456672" y="247493"/>
                </a:lnTo>
                <a:lnTo>
                  <a:pt x="456672" y="331855"/>
                </a:lnTo>
                <a:lnTo>
                  <a:pt x="388588" y="368302"/>
                </a:lnTo>
                <a:cubicBezTo>
                  <a:pt x="388588" y="370213"/>
                  <a:pt x="387632" y="370213"/>
                  <a:pt x="385721" y="370213"/>
                </a:cubicBezTo>
                <a:cubicBezTo>
                  <a:pt x="382810" y="370213"/>
                  <a:pt x="380898" y="369257"/>
                  <a:pt x="378986" y="366347"/>
                </a:cubicBezTo>
                <a:cubicBezTo>
                  <a:pt x="377074" y="362524"/>
                  <a:pt x="378030" y="358701"/>
                  <a:pt x="381854" y="356790"/>
                </a:cubicBezTo>
                <a:lnTo>
                  <a:pt x="442291" y="324166"/>
                </a:lnTo>
                <a:lnTo>
                  <a:pt x="442291" y="257093"/>
                </a:lnTo>
                <a:lnTo>
                  <a:pt x="352135" y="214912"/>
                </a:lnTo>
                <a:lnTo>
                  <a:pt x="327195" y="225424"/>
                </a:lnTo>
                <a:cubicBezTo>
                  <a:pt x="323372" y="227336"/>
                  <a:pt x="319548" y="225424"/>
                  <a:pt x="317637" y="221602"/>
                </a:cubicBezTo>
                <a:cubicBezTo>
                  <a:pt x="315725" y="217779"/>
                  <a:pt x="317637" y="213956"/>
                  <a:pt x="321460" y="212001"/>
                </a:cubicBezTo>
                <a:close/>
                <a:moveTo>
                  <a:pt x="354007" y="159290"/>
                </a:moveTo>
                <a:lnTo>
                  <a:pt x="431705" y="196665"/>
                </a:lnTo>
                <a:cubicBezTo>
                  <a:pt x="435529" y="198577"/>
                  <a:pt x="436485" y="202445"/>
                  <a:pt x="435529" y="206269"/>
                </a:cubicBezTo>
                <a:cubicBezTo>
                  <a:pt x="433617" y="210094"/>
                  <a:pt x="429793" y="211050"/>
                  <a:pt x="425925" y="210094"/>
                </a:cubicBezTo>
                <a:lnTo>
                  <a:pt x="354007" y="175587"/>
                </a:lnTo>
                <a:lnTo>
                  <a:pt x="297429" y="200533"/>
                </a:lnTo>
                <a:lnTo>
                  <a:pt x="297429" y="302184"/>
                </a:lnTo>
                <a:lnTo>
                  <a:pt x="332931" y="320393"/>
                </a:lnTo>
                <a:cubicBezTo>
                  <a:pt x="336756" y="322305"/>
                  <a:pt x="337712" y="327129"/>
                  <a:pt x="335800" y="329998"/>
                </a:cubicBezTo>
                <a:cubicBezTo>
                  <a:pt x="334843" y="331910"/>
                  <a:pt x="331975" y="333822"/>
                  <a:pt x="329064" y="333822"/>
                </a:cubicBezTo>
                <a:cubicBezTo>
                  <a:pt x="328108" y="333822"/>
                  <a:pt x="327152" y="333822"/>
                  <a:pt x="326196" y="332866"/>
                </a:cubicBezTo>
                <a:lnTo>
                  <a:pt x="283045" y="310789"/>
                </a:lnTo>
                <a:lnTo>
                  <a:pt x="283045" y="190928"/>
                </a:lnTo>
                <a:close/>
                <a:moveTo>
                  <a:pt x="228442" y="39"/>
                </a:moveTo>
                <a:cubicBezTo>
                  <a:pt x="229398" y="39"/>
                  <a:pt x="323386" y="-4741"/>
                  <a:pt x="351195" y="90207"/>
                </a:cubicBezTo>
                <a:cubicBezTo>
                  <a:pt x="371357" y="88252"/>
                  <a:pt x="430800" y="89251"/>
                  <a:pt x="450918" y="151565"/>
                </a:cubicBezTo>
                <a:cubicBezTo>
                  <a:pt x="451874" y="155389"/>
                  <a:pt x="449962" y="160213"/>
                  <a:pt x="446138" y="161169"/>
                </a:cubicBezTo>
                <a:cubicBezTo>
                  <a:pt x="442314" y="162125"/>
                  <a:pt x="437491" y="160213"/>
                  <a:pt x="436535" y="156345"/>
                </a:cubicBezTo>
                <a:cubicBezTo>
                  <a:pt x="416417" y="93075"/>
                  <a:pt x="350239" y="105547"/>
                  <a:pt x="347371" y="105547"/>
                </a:cubicBezTo>
                <a:lnTo>
                  <a:pt x="340636" y="106503"/>
                </a:lnTo>
                <a:lnTo>
                  <a:pt x="338724" y="99767"/>
                </a:lnTo>
                <a:cubicBezTo>
                  <a:pt x="315738" y="9642"/>
                  <a:pt x="232310" y="13466"/>
                  <a:pt x="229398" y="14422"/>
                </a:cubicBezTo>
                <a:cubicBezTo>
                  <a:pt x="145014" y="14422"/>
                  <a:pt x="140234" y="84428"/>
                  <a:pt x="140234" y="87296"/>
                </a:cubicBezTo>
                <a:lnTo>
                  <a:pt x="139278" y="97855"/>
                </a:lnTo>
                <a:lnTo>
                  <a:pt x="129675" y="94031"/>
                </a:lnTo>
                <a:cubicBezTo>
                  <a:pt x="105690" y="84428"/>
                  <a:pt x="88439" y="96899"/>
                  <a:pt x="88439" y="96899"/>
                </a:cubicBezTo>
                <a:cubicBezTo>
                  <a:pt x="47203" y="122798"/>
                  <a:pt x="69277" y="163081"/>
                  <a:pt x="70233" y="164037"/>
                </a:cubicBezTo>
                <a:lnTo>
                  <a:pt x="74057" y="171685"/>
                </a:lnTo>
                <a:lnTo>
                  <a:pt x="67365" y="175552"/>
                </a:lnTo>
                <a:cubicBezTo>
                  <a:pt x="40511" y="186112"/>
                  <a:pt x="22261" y="205275"/>
                  <a:pt x="17482" y="228306"/>
                </a:cubicBezTo>
                <a:cubicBezTo>
                  <a:pt x="10790" y="259941"/>
                  <a:pt x="22261" y="295400"/>
                  <a:pt x="46247" y="316519"/>
                </a:cubicBezTo>
                <a:cubicBezTo>
                  <a:pt x="59674" y="328035"/>
                  <a:pt x="72145" y="335683"/>
                  <a:pt x="78836" y="335683"/>
                </a:cubicBezTo>
                <a:lnTo>
                  <a:pt x="182426" y="335683"/>
                </a:lnTo>
                <a:cubicBezTo>
                  <a:pt x="186250" y="335683"/>
                  <a:pt x="190074" y="339550"/>
                  <a:pt x="190074" y="343374"/>
                </a:cubicBezTo>
                <a:cubicBezTo>
                  <a:pt x="190074" y="347198"/>
                  <a:pt x="186250" y="351022"/>
                  <a:pt x="181471" y="351022"/>
                </a:cubicBezTo>
                <a:lnTo>
                  <a:pt x="77880" y="351022"/>
                </a:lnTo>
                <a:cubicBezTo>
                  <a:pt x="67365" y="351022"/>
                  <a:pt x="52982" y="343374"/>
                  <a:pt x="35688" y="328991"/>
                </a:cubicBezTo>
                <a:cubicBezTo>
                  <a:pt x="7879" y="305004"/>
                  <a:pt x="-5548" y="263765"/>
                  <a:pt x="2143" y="226351"/>
                </a:cubicBezTo>
                <a:cubicBezTo>
                  <a:pt x="7879" y="200495"/>
                  <a:pt x="26129" y="178420"/>
                  <a:pt x="53938" y="164993"/>
                </a:cubicBezTo>
                <a:cubicBezTo>
                  <a:pt x="45291" y="143874"/>
                  <a:pt x="43379" y="108415"/>
                  <a:pt x="79836" y="85384"/>
                </a:cubicBezTo>
                <a:cubicBezTo>
                  <a:pt x="79836" y="85384"/>
                  <a:pt x="98998" y="71000"/>
                  <a:pt x="125852" y="77736"/>
                </a:cubicBezTo>
                <a:cubicBezTo>
                  <a:pt x="130631" y="54705"/>
                  <a:pt x="150793" y="39"/>
                  <a:pt x="228442" y="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任意多边形: 形状 84"/>
          <p:cNvSpPr/>
          <p:nvPr/>
        </p:nvSpPr>
        <p:spPr>
          <a:xfrm rot="10800000" flipH="1" flipV="1">
            <a:off x="9261303" y="2148523"/>
            <a:ext cx="891387" cy="75199"/>
          </a:xfrm>
          <a:custGeom>
            <a:avLst/>
            <a:gdLst>
              <a:gd name="connsiteX0" fmla="*/ 794837 w 891387"/>
              <a:gd name="connsiteY0" fmla="*/ 0 h 75199"/>
              <a:gd name="connsiteX1" fmla="*/ 891387 w 891387"/>
              <a:gd name="connsiteY1" fmla="*/ 75199 h 75199"/>
              <a:gd name="connsiteX2" fmla="*/ 387660 w 891387"/>
              <a:gd name="connsiteY2" fmla="*/ 75199 h 75199"/>
              <a:gd name="connsiteX3" fmla="*/ 207169 w 891387"/>
              <a:gd name="connsiteY3" fmla="*/ 75199 h 75199"/>
              <a:gd name="connsiteX4" fmla="*/ 0 w 891387"/>
              <a:gd name="connsiteY4" fmla="*/ 75199 h 75199"/>
              <a:gd name="connsiteX5" fmla="*/ 0 w 891387"/>
              <a:gd name="connsiteY5" fmla="*/ 50748 h 75199"/>
              <a:gd name="connsiteX6" fmla="*/ 207169 w 891387"/>
              <a:gd name="connsiteY6" fmla="*/ 50748 h 75199"/>
              <a:gd name="connsiteX7" fmla="*/ 207169 w 891387"/>
              <a:gd name="connsiteY7" fmla="*/ 50748 h 75199"/>
              <a:gd name="connsiteX8" fmla="*/ 794837 w 891387"/>
              <a:gd name="connsiteY8" fmla="*/ 50748 h 7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1387" h="75199">
                <a:moveTo>
                  <a:pt x="794837" y="0"/>
                </a:moveTo>
                <a:lnTo>
                  <a:pt x="891387" y="75199"/>
                </a:lnTo>
                <a:lnTo>
                  <a:pt x="387660" y="75199"/>
                </a:lnTo>
                <a:lnTo>
                  <a:pt x="207169" y="75199"/>
                </a:lnTo>
                <a:lnTo>
                  <a:pt x="0" y="75199"/>
                </a:lnTo>
                <a:lnTo>
                  <a:pt x="0" y="50748"/>
                </a:lnTo>
                <a:lnTo>
                  <a:pt x="207169" y="50748"/>
                </a:lnTo>
                <a:lnTo>
                  <a:pt x="207169" y="50748"/>
                </a:lnTo>
                <a:lnTo>
                  <a:pt x="794837" y="50748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prstClr val="white"/>
              </a:solidFill>
              <a:latin typeface="思源黑体 CN Normal" panose="020B0400000000000000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86" name="平行四边形 85"/>
          <p:cNvSpPr/>
          <p:nvPr/>
        </p:nvSpPr>
        <p:spPr>
          <a:xfrm flipV="1">
            <a:off x="7912126" y="2743837"/>
            <a:ext cx="1626389" cy="101188"/>
          </a:xfrm>
          <a:prstGeom prst="parallelogram">
            <a:avLst>
              <a:gd name="adj" fmla="val 5411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框 86"/>
          <p:cNvSpPr txBox="1"/>
          <p:nvPr/>
        </p:nvSpPr>
        <p:spPr>
          <a:xfrm>
            <a:off x="7944808" y="2529342"/>
            <a:ext cx="15440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>
                <a:solidFill>
                  <a:schemeClr val="accent1"/>
                </a:solidFill>
                <a:latin typeface="+mj-ea"/>
                <a:ea typeface="+mj-ea"/>
              </a:rPr>
              <a:t>ViMo</a:t>
            </a:r>
            <a:r>
              <a:rPr lang="en-US" altLang="zh-CN" sz="16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r>
              <a:rPr lang="zh-CN" altLang="en-US" sz="1600" dirty="0">
                <a:solidFill>
                  <a:schemeClr val="accent1"/>
                </a:solidFill>
                <a:latin typeface="+mj-ea"/>
                <a:ea typeface="+mj-ea"/>
              </a:rPr>
              <a:t>训练平台</a:t>
            </a:r>
          </a:p>
        </p:txBody>
      </p:sp>
      <p:sp>
        <p:nvSpPr>
          <p:cNvPr id="88" name="平行四边形 87"/>
          <p:cNvSpPr/>
          <p:nvPr/>
        </p:nvSpPr>
        <p:spPr>
          <a:xfrm flipV="1">
            <a:off x="9852501" y="2743837"/>
            <a:ext cx="1626389" cy="101188"/>
          </a:xfrm>
          <a:prstGeom prst="parallelogram">
            <a:avLst>
              <a:gd name="adj" fmla="val 5411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框 88"/>
          <p:cNvSpPr txBox="1"/>
          <p:nvPr/>
        </p:nvSpPr>
        <p:spPr>
          <a:xfrm>
            <a:off x="9885183" y="2529342"/>
            <a:ext cx="15440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6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 dirty="0" err="1"/>
              <a:t>ViMo</a:t>
            </a:r>
            <a:r>
              <a:rPr lang="en-US" altLang="zh-CN" dirty="0"/>
              <a:t> </a:t>
            </a:r>
            <a:r>
              <a:rPr lang="zh-CN" altLang="en-US" dirty="0"/>
              <a:t>推理服务</a:t>
            </a:r>
          </a:p>
        </p:txBody>
      </p:sp>
      <p:sp>
        <p:nvSpPr>
          <p:cNvPr id="90" name="平行四边形 89"/>
          <p:cNvSpPr/>
          <p:nvPr/>
        </p:nvSpPr>
        <p:spPr>
          <a:xfrm flipV="1">
            <a:off x="6559389" y="4403972"/>
            <a:ext cx="1626389" cy="101188"/>
          </a:xfrm>
          <a:prstGeom prst="parallelogram">
            <a:avLst>
              <a:gd name="adj" fmla="val 5411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0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文本框 90"/>
          <p:cNvSpPr txBox="1"/>
          <p:nvPr/>
        </p:nvSpPr>
        <p:spPr>
          <a:xfrm>
            <a:off x="6592071" y="4195727"/>
            <a:ext cx="1843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err="1">
                <a:solidFill>
                  <a:schemeClr val="accent1"/>
                </a:solidFill>
                <a:latin typeface="+mj-ea"/>
                <a:ea typeface="+mj-ea"/>
              </a:rPr>
              <a:t>ViLab</a:t>
            </a:r>
            <a:r>
              <a:rPr lang="en-US" altLang="zh-CN" sz="1600" dirty="0">
                <a:solidFill>
                  <a:schemeClr val="accent1"/>
                </a:solidFill>
                <a:latin typeface="+mj-ea"/>
                <a:ea typeface="+mj-ea"/>
              </a:rPr>
              <a:t> </a:t>
            </a:r>
            <a:r>
              <a:rPr lang="zh-CN" altLang="en-US" sz="1600" dirty="0">
                <a:solidFill>
                  <a:schemeClr val="accent1"/>
                </a:solidFill>
                <a:latin typeface="+mj-ea"/>
                <a:ea typeface="+mj-ea"/>
              </a:rPr>
              <a:t>运行平台</a:t>
            </a:r>
          </a:p>
        </p:txBody>
      </p:sp>
      <p:sp>
        <p:nvSpPr>
          <p:cNvPr id="103" name="任意多边形: 形状 102"/>
          <p:cNvSpPr/>
          <p:nvPr/>
        </p:nvSpPr>
        <p:spPr>
          <a:xfrm rot="3600000" flipH="1" flipV="1">
            <a:off x="8429937" y="3302654"/>
            <a:ext cx="891387" cy="75199"/>
          </a:xfrm>
          <a:custGeom>
            <a:avLst/>
            <a:gdLst>
              <a:gd name="connsiteX0" fmla="*/ 794837 w 891387"/>
              <a:gd name="connsiteY0" fmla="*/ 0 h 75199"/>
              <a:gd name="connsiteX1" fmla="*/ 891387 w 891387"/>
              <a:gd name="connsiteY1" fmla="*/ 75199 h 75199"/>
              <a:gd name="connsiteX2" fmla="*/ 387660 w 891387"/>
              <a:gd name="connsiteY2" fmla="*/ 75199 h 75199"/>
              <a:gd name="connsiteX3" fmla="*/ 207169 w 891387"/>
              <a:gd name="connsiteY3" fmla="*/ 75199 h 75199"/>
              <a:gd name="connsiteX4" fmla="*/ 0 w 891387"/>
              <a:gd name="connsiteY4" fmla="*/ 75199 h 75199"/>
              <a:gd name="connsiteX5" fmla="*/ 0 w 891387"/>
              <a:gd name="connsiteY5" fmla="*/ 50748 h 75199"/>
              <a:gd name="connsiteX6" fmla="*/ 207169 w 891387"/>
              <a:gd name="connsiteY6" fmla="*/ 50748 h 75199"/>
              <a:gd name="connsiteX7" fmla="*/ 207169 w 891387"/>
              <a:gd name="connsiteY7" fmla="*/ 50748 h 75199"/>
              <a:gd name="connsiteX8" fmla="*/ 794837 w 891387"/>
              <a:gd name="connsiteY8" fmla="*/ 50748 h 7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1387" h="75199">
                <a:moveTo>
                  <a:pt x="794837" y="0"/>
                </a:moveTo>
                <a:lnTo>
                  <a:pt x="891387" y="75199"/>
                </a:lnTo>
                <a:lnTo>
                  <a:pt x="387660" y="75199"/>
                </a:lnTo>
                <a:lnTo>
                  <a:pt x="207169" y="75199"/>
                </a:lnTo>
                <a:lnTo>
                  <a:pt x="0" y="75199"/>
                </a:lnTo>
                <a:lnTo>
                  <a:pt x="0" y="50748"/>
                </a:lnTo>
                <a:lnTo>
                  <a:pt x="207169" y="50748"/>
                </a:lnTo>
                <a:lnTo>
                  <a:pt x="207169" y="50748"/>
                </a:lnTo>
                <a:lnTo>
                  <a:pt x="794837" y="50748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prstClr val="white"/>
              </a:solidFill>
              <a:latin typeface="思源黑体 CN Normal" panose="020B0400000000000000" pitchFamily="34" charset="-122"/>
              <a:ea typeface="微软雅黑 Light" panose="020B0502040204020203" pitchFamily="34" charset="-122"/>
            </a:endParaRPr>
          </a:p>
        </p:txBody>
      </p:sp>
      <p:grpSp>
        <p:nvGrpSpPr>
          <p:cNvPr id="133" name="组合 132"/>
          <p:cNvGrpSpPr/>
          <p:nvPr/>
        </p:nvGrpSpPr>
        <p:grpSpPr>
          <a:xfrm>
            <a:off x="1676400" y="5852564"/>
            <a:ext cx="8839200" cy="324000"/>
            <a:chOff x="2442571" y="5852564"/>
            <a:chExt cx="7306858" cy="324000"/>
          </a:xfrm>
        </p:grpSpPr>
        <p:sp>
          <p:nvSpPr>
            <p:cNvPr id="105" name="矩形: 圆角 104"/>
            <p:cNvSpPr/>
            <p:nvPr/>
          </p:nvSpPr>
          <p:spPr>
            <a:xfrm>
              <a:off x="2442571" y="5852564"/>
              <a:ext cx="1332000" cy="3240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  <a:latin typeface="+mn-ea"/>
                </a:rPr>
                <a:t>相机</a:t>
              </a:r>
            </a:p>
          </p:txBody>
        </p:sp>
        <p:sp>
          <p:nvSpPr>
            <p:cNvPr id="106" name="矩形: 圆角 105"/>
            <p:cNvSpPr/>
            <p:nvPr/>
          </p:nvSpPr>
          <p:spPr>
            <a:xfrm>
              <a:off x="3936286" y="5852564"/>
              <a:ext cx="1332000" cy="3240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  <a:latin typeface="+mn-ea"/>
                </a:rPr>
                <a:t>光源</a:t>
              </a:r>
            </a:p>
          </p:txBody>
        </p:sp>
        <p:sp>
          <p:nvSpPr>
            <p:cNvPr id="107" name="矩形: 圆角 106"/>
            <p:cNvSpPr/>
            <p:nvPr/>
          </p:nvSpPr>
          <p:spPr>
            <a:xfrm>
              <a:off x="5430001" y="5852564"/>
              <a:ext cx="1332000" cy="3240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  <a:latin typeface="+mn-ea"/>
                </a:rPr>
                <a:t>MES</a:t>
              </a:r>
              <a:endParaRPr lang="zh-CN" altLang="en-US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08" name="矩形: 圆角 107"/>
            <p:cNvSpPr/>
            <p:nvPr/>
          </p:nvSpPr>
          <p:spPr>
            <a:xfrm>
              <a:off x="8417429" y="5852564"/>
              <a:ext cx="1332000" cy="3240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  <a:latin typeface="+mn-ea"/>
                </a:rPr>
                <a:t>机械手</a:t>
              </a:r>
            </a:p>
          </p:txBody>
        </p:sp>
        <p:sp>
          <p:nvSpPr>
            <p:cNvPr id="109" name="矩形: 圆角 108"/>
            <p:cNvSpPr/>
            <p:nvPr/>
          </p:nvSpPr>
          <p:spPr>
            <a:xfrm>
              <a:off x="6923716" y="5852564"/>
              <a:ext cx="1332000" cy="3240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  <a:latin typeface="+mn-ea"/>
                </a:rPr>
                <a:t>DB</a:t>
              </a:r>
              <a:endParaRPr lang="zh-CN" altLang="en-US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18" name="文本框 117"/>
          <p:cNvSpPr txBox="1"/>
          <p:nvPr/>
        </p:nvSpPr>
        <p:spPr>
          <a:xfrm>
            <a:off x="2795564" y="5244540"/>
            <a:ext cx="117246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r">
              <a:defRPr sz="1400"/>
            </a:lvl1pPr>
          </a:lstStyle>
          <a:p>
            <a:r>
              <a:rPr lang="zh-CN" altLang="en-US" dirty="0"/>
              <a:t>图像</a:t>
            </a:r>
          </a:p>
        </p:txBody>
      </p:sp>
      <p:sp>
        <p:nvSpPr>
          <p:cNvPr id="119" name="文本框 118"/>
          <p:cNvSpPr txBox="1"/>
          <p:nvPr/>
        </p:nvSpPr>
        <p:spPr>
          <a:xfrm>
            <a:off x="4144495" y="5244540"/>
            <a:ext cx="11180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/>
            </a:lvl1pPr>
          </a:lstStyle>
          <a:p>
            <a:r>
              <a:rPr lang="en-US" altLang="zh-CN" dirty="0"/>
              <a:t>AI</a:t>
            </a:r>
            <a:r>
              <a:rPr lang="zh-CN" altLang="en-US" dirty="0"/>
              <a:t>结果</a:t>
            </a:r>
          </a:p>
        </p:txBody>
      </p:sp>
      <p:grpSp>
        <p:nvGrpSpPr>
          <p:cNvPr id="127" name="组合 126"/>
          <p:cNvGrpSpPr/>
          <p:nvPr/>
        </p:nvGrpSpPr>
        <p:grpSpPr>
          <a:xfrm flipH="1">
            <a:off x="3936697" y="5100639"/>
            <a:ext cx="240612" cy="570612"/>
            <a:chOff x="3936697" y="5117237"/>
            <a:chExt cx="240612" cy="515167"/>
          </a:xfrm>
        </p:grpSpPr>
        <p:sp>
          <p:nvSpPr>
            <p:cNvPr id="125" name="任意多边形: 形状 124"/>
            <p:cNvSpPr/>
            <p:nvPr/>
          </p:nvSpPr>
          <p:spPr>
            <a:xfrm rot="5400000" flipV="1">
              <a:off x="3763685" y="5384192"/>
              <a:ext cx="421224" cy="75199"/>
            </a:xfrm>
            <a:custGeom>
              <a:avLst/>
              <a:gdLst>
                <a:gd name="connsiteX0" fmla="*/ 0 w 421224"/>
                <a:gd name="connsiteY0" fmla="*/ 50748 h 75199"/>
                <a:gd name="connsiteX1" fmla="*/ 0 w 421224"/>
                <a:gd name="connsiteY1" fmla="*/ 75199 h 75199"/>
                <a:gd name="connsiteX2" fmla="*/ 421224 w 421224"/>
                <a:gd name="connsiteY2" fmla="*/ 75199 h 75199"/>
                <a:gd name="connsiteX3" fmla="*/ 324675 w 421224"/>
                <a:gd name="connsiteY3" fmla="*/ 0 h 75199"/>
                <a:gd name="connsiteX4" fmla="*/ 324675 w 421224"/>
                <a:gd name="connsiteY4" fmla="*/ 50748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224" h="75199">
                  <a:moveTo>
                    <a:pt x="0" y="50748"/>
                  </a:moveTo>
                  <a:lnTo>
                    <a:pt x="0" y="75199"/>
                  </a:lnTo>
                  <a:lnTo>
                    <a:pt x="421224" y="75199"/>
                  </a:lnTo>
                  <a:lnTo>
                    <a:pt x="324675" y="0"/>
                  </a:lnTo>
                  <a:lnTo>
                    <a:pt x="324675" y="5074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126" name="任意多边形: 形状 125"/>
            <p:cNvSpPr/>
            <p:nvPr/>
          </p:nvSpPr>
          <p:spPr>
            <a:xfrm rot="5400000" flipH="1">
              <a:off x="3929097" y="5290250"/>
              <a:ext cx="421226" cy="75199"/>
            </a:xfrm>
            <a:custGeom>
              <a:avLst/>
              <a:gdLst>
                <a:gd name="connsiteX0" fmla="*/ 421226 w 421226"/>
                <a:gd name="connsiteY0" fmla="*/ 75199 h 75199"/>
                <a:gd name="connsiteX1" fmla="*/ 324676 w 421226"/>
                <a:gd name="connsiteY1" fmla="*/ 0 h 75199"/>
                <a:gd name="connsiteX2" fmla="*/ 324676 w 421226"/>
                <a:gd name="connsiteY2" fmla="*/ 50748 h 75199"/>
                <a:gd name="connsiteX3" fmla="*/ 0 w 421226"/>
                <a:gd name="connsiteY3" fmla="*/ 50748 h 75199"/>
                <a:gd name="connsiteX4" fmla="*/ 0 w 421226"/>
                <a:gd name="connsiteY4" fmla="*/ 75199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226" h="75199">
                  <a:moveTo>
                    <a:pt x="421226" y="75199"/>
                  </a:moveTo>
                  <a:lnTo>
                    <a:pt x="324676" y="0"/>
                  </a:lnTo>
                  <a:lnTo>
                    <a:pt x="324676" y="50748"/>
                  </a:lnTo>
                  <a:lnTo>
                    <a:pt x="0" y="50748"/>
                  </a:lnTo>
                  <a:lnTo>
                    <a:pt x="0" y="75199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</p:grpSp>
      <p:sp>
        <p:nvSpPr>
          <p:cNvPr id="128" name="文本框 127"/>
          <p:cNvSpPr txBox="1"/>
          <p:nvPr/>
        </p:nvSpPr>
        <p:spPr>
          <a:xfrm>
            <a:off x="8472464" y="5244540"/>
            <a:ext cx="117246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r">
              <a:defRPr sz="1400"/>
            </a:lvl1pPr>
          </a:lstStyle>
          <a:p>
            <a:r>
              <a:rPr lang="zh-CN" altLang="en-US" dirty="0"/>
              <a:t>图像</a:t>
            </a:r>
          </a:p>
        </p:txBody>
      </p:sp>
      <p:sp>
        <p:nvSpPr>
          <p:cNvPr id="129" name="文本框 128"/>
          <p:cNvSpPr txBox="1"/>
          <p:nvPr/>
        </p:nvSpPr>
        <p:spPr>
          <a:xfrm>
            <a:off x="9821395" y="5244540"/>
            <a:ext cx="11180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/>
            </a:lvl1pPr>
          </a:lstStyle>
          <a:p>
            <a:r>
              <a:rPr lang="en-US" altLang="zh-CN" dirty="0"/>
              <a:t>AI</a:t>
            </a:r>
            <a:r>
              <a:rPr lang="zh-CN" altLang="en-US" dirty="0"/>
              <a:t>结果</a:t>
            </a:r>
          </a:p>
        </p:txBody>
      </p:sp>
      <p:grpSp>
        <p:nvGrpSpPr>
          <p:cNvPr id="130" name="组合 129"/>
          <p:cNvGrpSpPr/>
          <p:nvPr/>
        </p:nvGrpSpPr>
        <p:grpSpPr>
          <a:xfrm flipH="1">
            <a:off x="9613597" y="5100639"/>
            <a:ext cx="240612" cy="570612"/>
            <a:chOff x="3936697" y="5117237"/>
            <a:chExt cx="240612" cy="515167"/>
          </a:xfrm>
        </p:grpSpPr>
        <p:sp>
          <p:nvSpPr>
            <p:cNvPr id="131" name="任意多边形: 形状 130"/>
            <p:cNvSpPr/>
            <p:nvPr/>
          </p:nvSpPr>
          <p:spPr>
            <a:xfrm rot="5400000" flipV="1">
              <a:off x="3763685" y="5384192"/>
              <a:ext cx="421224" cy="75199"/>
            </a:xfrm>
            <a:custGeom>
              <a:avLst/>
              <a:gdLst>
                <a:gd name="connsiteX0" fmla="*/ 0 w 421224"/>
                <a:gd name="connsiteY0" fmla="*/ 50748 h 75199"/>
                <a:gd name="connsiteX1" fmla="*/ 0 w 421224"/>
                <a:gd name="connsiteY1" fmla="*/ 75199 h 75199"/>
                <a:gd name="connsiteX2" fmla="*/ 421224 w 421224"/>
                <a:gd name="connsiteY2" fmla="*/ 75199 h 75199"/>
                <a:gd name="connsiteX3" fmla="*/ 324675 w 421224"/>
                <a:gd name="connsiteY3" fmla="*/ 0 h 75199"/>
                <a:gd name="connsiteX4" fmla="*/ 324675 w 421224"/>
                <a:gd name="connsiteY4" fmla="*/ 50748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224" h="75199">
                  <a:moveTo>
                    <a:pt x="0" y="50748"/>
                  </a:moveTo>
                  <a:lnTo>
                    <a:pt x="0" y="75199"/>
                  </a:lnTo>
                  <a:lnTo>
                    <a:pt x="421224" y="75199"/>
                  </a:lnTo>
                  <a:lnTo>
                    <a:pt x="324675" y="0"/>
                  </a:lnTo>
                  <a:lnTo>
                    <a:pt x="324675" y="5074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132" name="任意多边形: 形状 131"/>
            <p:cNvSpPr/>
            <p:nvPr/>
          </p:nvSpPr>
          <p:spPr>
            <a:xfrm rot="5400000" flipH="1">
              <a:off x="3929097" y="5290250"/>
              <a:ext cx="421226" cy="75199"/>
            </a:xfrm>
            <a:custGeom>
              <a:avLst/>
              <a:gdLst>
                <a:gd name="connsiteX0" fmla="*/ 421226 w 421226"/>
                <a:gd name="connsiteY0" fmla="*/ 75199 h 75199"/>
                <a:gd name="connsiteX1" fmla="*/ 324676 w 421226"/>
                <a:gd name="connsiteY1" fmla="*/ 0 h 75199"/>
                <a:gd name="connsiteX2" fmla="*/ 324676 w 421226"/>
                <a:gd name="connsiteY2" fmla="*/ 50748 h 75199"/>
                <a:gd name="connsiteX3" fmla="*/ 0 w 421226"/>
                <a:gd name="connsiteY3" fmla="*/ 50748 h 75199"/>
                <a:gd name="connsiteX4" fmla="*/ 0 w 421226"/>
                <a:gd name="connsiteY4" fmla="*/ 75199 h 7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226" h="75199">
                  <a:moveTo>
                    <a:pt x="421226" y="75199"/>
                  </a:moveTo>
                  <a:lnTo>
                    <a:pt x="324676" y="0"/>
                  </a:lnTo>
                  <a:lnTo>
                    <a:pt x="324676" y="50748"/>
                  </a:lnTo>
                  <a:lnTo>
                    <a:pt x="0" y="50748"/>
                  </a:lnTo>
                  <a:lnTo>
                    <a:pt x="0" y="75199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思源黑体 CN Normal" panose="020B0400000000000000" pitchFamily="34" charset="-122"/>
                <a:ea typeface="微软雅黑 Light" panose="020B0502040204020203" pitchFamily="34" charset="-122"/>
              </a:endParaRPr>
            </a:p>
          </p:txBody>
        </p: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文本框 181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打造智能制造的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大脑</a:t>
            </a:r>
          </a:p>
        </p:txBody>
      </p:sp>
      <p:pic>
        <p:nvPicPr>
          <p:cNvPr id="179" name="图片 17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2248" y="5453010"/>
            <a:ext cx="2970552" cy="952500"/>
          </a:xfrm>
          <a:prstGeom prst="rect">
            <a:avLst/>
          </a:prstGeom>
        </p:spPr>
      </p:pic>
      <p:grpSp>
        <p:nvGrpSpPr>
          <p:cNvPr id="181" name="组合 180"/>
          <p:cNvGrpSpPr/>
          <p:nvPr/>
        </p:nvGrpSpPr>
        <p:grpSpPr>
          <a:xfrm>
            <a:off x="9855406" y="4023348"/>
            <a:ext cx="1804236" cy="1602546"/>
            <a:chOff x="9855406" y="3945610"/>
            <a:chExt cx="1804236" cy="1602546"/>
          </a:xfrm>
        </p:grpSpPr>
        <p:grpSp>
          <p:nvGrpSpPr>
            <p:cNvPr id="81" name="组合 80"/>
            <p:cNvGrpSpPr/>
            <p:nvPr/>
          </p:nvGrpSpPr>
          <p:grpSpPr>
            <a:xfrm>
              <a:off x="9855406" y="3945610"/>
              <a:ext cx="1804236" cy="1602546"/>
              <a:chOff x="2945308" y="3798953"/>
              <a:chExt cx="1328752" cy="1069590"/>
            </a:xfrm>
          </p:grpSpPr>
          <p:pic>
            <p:nvPicPr>
              <p:cNvPr id="79" name="图片 78"/>
              <p:cNvPicPr/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5308" y="3798953"/>
                <a:ext cx="1328752" cy="1069590"/>
              </a:xfrm>
              <a:prstGeom prst="rect">
                <a:avLst/>
              </a:prstGeom>
            </p:spPr>
          </p:pic>
          <p:pic>
            <p:nvPicPr>
              <p:cNvPr id="80" name="图片 79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3026093" y="3865623"/>
                <a:ext cx="1174199" cy="661656"/>
              </a:xfrm>
              <a:prstGeom prst="rect">
                <a:avLst/>
              </a:prstGeom>
            </p:spPr>
          </p:pic>
        </p:grpSp>
        <p:pic>
          <p:nvPicPr>
            <p:cNvPr id="180" name="图片 179"/>
            <p:cNvPicPr/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855406" y="5439129"/>
              <a:ext cx="1804236" cy="109027"/>
            </a:xfrm>
            <a:prstGeom prst="rect">
              <a:avLst/>
            </a:prstGeom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60" name="组合 159"/>
          <p:cNvGrpSpPr/>
          <p:nvPr/>
        </p:nvGrpSpPr>
        <p:grpSpPr>
          <a:xfrm flipH="1">
            <a:off x="8508206" y="2819979"/>
            <a:ext cx="1735575" cy="108489"/>
            <a:chOff x="9041121" y="1856065"/>
            <a:chExt cx="1325203" cy="165591"/>
          </a:xfrm>
        </p:grpSpPr>
        <p:sp>
          <p:nvSpPr>
            <p:cNvPr id="161" name="任意多边形: 形状 160"/>
            <p:cNvSpPr/>
            <p:nvPr/>
          </p:nvSpPr>
          <p:spPr>
            <a:xfrm rot="10800000" flipH="1">
              <a:off x="9041121" y="1883214"/>
              <a:ext cx="1325203" cy="112929"/>
            </a:xfrm>
            <a:custGeom>
              <a:avLst/>
              <a:gdLst>
                <a:gd name="connsiteX0" fmla="*/ 265926 w 1259572"/>
                <a:gd name="connsiteY0" fmla="*/ 112929 h 112929"/>
                <a:gd name="connsiteX1" fmla="*/ 517420 w 1259572"/>
                <a:gd name="connsiteY1" fmla="*/ 112929 h 112929"/>
                <a:gd name="connsiteX2" fmla="*/ 943534 w 1259572"/>
                <a:gd name="connsiteY2" fmla="*/ 112929 h 112929"/>
                <a:gd name="connsiteX3" fmla="*/ 1195028 w 1259572"/>
                <a:gd name="connsiteY3" fmla="*/ 112929 h 112929"/>
                <a:gd name="connsiteX4" fmla="*/ 1259572 w 1259572"/>
                <a:gd name="connsiteY4" fmla="*/ 56465 h 112929"/>
                <a:gd name="connsiteX5" fmla="*/ 1195028 w 1259572"/>
                <a:gd name="connsiteY5" fmla="*/ 1 h 112929"/>
                <a:gd name="connsiteX6" fmla="*/ 943534 w 1259572"/>
                <a:gd name="connsiteY6" fmla="*/ 1 h 112929"/>
                <a:gd name="connsiteX7" fmla="*/ 929108 w 1259572"/>
                <a:gd name="connsiteY7" fmla="*/ 1 h 112929"/>
                <a:gd name="connsiteX8" fmla="*/ 929103 w 1259572"/>
                <a:gd name="connsiteY8" fmla="*/ 0 h 112929"/>
                <a:gd name="connsiteX9" fmla="*/ 677609 w 1259572"/>
                <a:gd name="connsiteY9" fmla="*/ 0 h 112929"/>
                <a:gd name="connsiteX10" fmla="*/ 251494 w 1259572"/>
                <a:gd name="connsiteY10" fmla="*/ 0 h 112929"/>
                <a:gd name="connsiteX11" fmla="*/ 0 w 1259572"/>
                <a:gd name="connsiteY11" fmla="*/ 0 h 112929"/>
                <a:gd name="connsiteX12" fmla="*/ 0 w 1259572"/>
                <a:gd name="connsiteY12" fmla="*/ 112928 h 112929"/>
                <a:gd name="connsiteX13" fmla="*/ 251494 w 1259572"/>
                <a:gd name="connsiteY13" fmla="*/ 112928 h 112929"/>
                <a:gd name="connsiteX14" fmla="*/ 265926 w 1259572"/>
                <a:gd name="connsiteY14" fmla="*/ 112928 h 11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9572" h="112929">
                  <a:moveTo>
                    <a:pt x="265926" y="112929"/>
                  </a:moveTo>
                  <a:lnTo>
                    <a:pt x="517420" y="112929"/>
                  </a:lnTo>
                  <a:lnTo>
                    <a:pt x="943534" y="112929"/>
                  </a:lnTo>
                  <a:lnTo>
                    <a:pt x="1195028" y="112929"/>
                  </a:lnTo>
                  <a:cubicBezTo>
                    <a:pt x="1230674" y="112929"/>
                    <a:pt x="1259572" y="87649"/>
                    <a:pt x="1259572" y="56465"/>
                  </a:cubicBezTo>
                  <a:cubicBezTo>
                    <a:pt x="1259572" y="25282"/>
                    <a:pt x="1230674" y="1"/>
                    <a:pt x="1195028" y="1"/>
                  </a:cubicBezTo>
                  <a:lnTo>
                    <a:pt x="943534" y="1"/>
                  </a:lnTo>
                  <a:lnTo>
                    <a:pt x="929108" y="1"/>
                  </a:lnTo>
                  <a:lnTo>
                    <a:pt x="929103" y="0"/>
                  </a:lnTo>
                  <a:lnTo>
                    <a:pt x="677609" y="0"/>
                  </a:lnTo>
                  <a:lnTo>
                    <a:pt x="251494" y="0"/>
                  </a:lnTo>
                  <a:lnTo>
                    <a:pt x="0" y="0"/>
                  </a:lnTo>
                  <a:lnTo>
                    <a:pt x="0" y="112928"/>
                  </a:lnTo>
                  <a:lnTo>
                    <a:pt x="251494" y="112928"/>
                  </a:lnTo>
                  <a:lnTo>
                    <a:pt x="265926" y="112928"/>
                  </a:lnTo>
                  <a:close/>
                </a:path>
              </a:pathLst>
            </a:cu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162" name="图片 161"/>
            <p:cNvPicPr>
              <a:picLocks noChangeAspect="1"/>
            </p:cNvPicPr>
            <p:nvPr/>
          </p:nvPicPr>
          <p:blipFill>
            <a:blip r:embed="rId6" cstate="screen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H="1">
              <a:off x="10010714" y="1687763"/>
              <a:ext cx="86829" cy="505983"/>
            </a:xfrm>
            <a:prstGeom prst="rect">
              <a:avLst/>
            </a:prstGeom>
          </p:spPr>
        </p:pic>
        <p:cxnSp>
          <p:nvCxnSpPr>
            <p:cNvPr id="163" name="直接连接符 162"/>
            <p:cNvCxnSpPr/>
            <p:nvPr/>
          </p:nvCxnSpPr>
          <p:spPr>
            <a:xfrm rot="16200000">
              <a:off x="9897638" y="1625656"/>
              <a:ext cx="0" cy="79200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/>
            <p:cNvCxnSpPr/>
            <p:nvPr/>
          </p:nvCxnSpPr>
          <p:spPr>
            <a:xfrm>
              <a:off x="9431357" y="1856065"/>
              <a:ext cx="657052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5" name="图片 164"/>
            <p:cNvPicPr>
              <a:picLocks noChangeAspect="1"/>
            </p:cNvPicPr>
            <p:nvPr/>
          </p:nvPicPr>
          <p:blipFill>
            <a:blip r:embed="rId6" cstate="screen">
              <a:alphaModFix amt="36000"/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H="1">
              <a:off x="9501860" y="1687763"/>
              <a:ext cx="86829" cy="505983"/>
            </a:xfrm>
            <a:prstGeom prst="rect">
              <a:avLst/>
            </a:prstGeom>
          </p:spPr>
        </p:pic>
      </p:grpSp>
      <p:sp>
        <p:nvSpPr>
          <p:cNvPr id="13" name="文本框 12"/>
          <p:cNvSpPr txBox="1"/>
          <p:nvPr/>
        </p:nvSpPr>
        <p:spPr>
          <a:xfrm>
            <a:off x="9061618" y="2208509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图像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9061618" y="2964225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模型</a:t>
            </a:r>
          </a:p>
        </p:txBody>
      </p:sp>
      <p:sp>
        <p:nvSpPr>
          <p:cNvPr id="18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 err="1">
                <a:solidFill>
                  <a:schemeClr val="accent2"/>
                </a:solidFill>
              </a:rPr>
              <a:t>SMore</a:t>
            </a:r>
            <a:r>
              <a:rPr lang="en-US" altLang="zh-CN" dirty="0">
                <a:solidFill>
                  <a:schemeClr val="accent2"/>
                </a:solidFill>
              </a:rPr>
              <a:t> </a:t>
            </a:r>
            <a:r>
              <a:rPr lang="en-US" altLang="zh-CN" dirty="0" err="1">
                <a:solidFill>
                  <a:schemeClr val="accent2"/>
                </a:solidFill>
              </a:rPr>
              <a:t>ViMo</a:t>
            </a:r>
            <a:r>
              <a:rPr lang="zh-CN" altLang="en-US" dirty="0"/>
              <a:t>：产线深度学习的</a:t>
            </a:r>
            <a:r>
              <a:rPr lang="zh-CN" altLang="en-US" dirty="0">
                <a:solidFill>
                  <a:schemeClr val="accent2"/>
                </a:solidFill>
              </a:rPr>
              <a:t>“中枢系统”</a:t>
            </a:r>
          </a:p>
        </p:txBody>
      </p:sp>
      <p:sp>
        <p:nvSpPr>
          <p:cNvPr id="149" name="箭头: 上 148"/>
          <p:cNvSpPr/>
          <p:nvPr/>
        </p:nvSpPr>
        <p:spPr>
          <a:xfrm>
            <a:off x="7849325" y="3390053"/>
            <a:ext cx="302085" cy="592932"/>
          </a:xfrm>
          <a:prstGeom prst="upArrow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97000">
                  <a:schemeClr val="accent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箭头: 上 149"/>
          <p:cNvSpPr/>
          <p:nvPr/>
        </p:nvSpPr>
        <p:spPr>
          <a:xfrm>
            <a:off x="10611906" y="3390053"/>
            <a:ext cx="302085" cy="592932"/>
          </a:xfrm>
          <a:prstGeom prst="upArrow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97000">
                  <a:schemeClr val="accent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椭圆 155"/>
          <p:cNvSpPr>
            <a:spLocks noChangeAspect="1"/>
          </p:cNvSpPr>
          <p:nvPr/>
        </p:nvSpPr>
        <p:spPr>
          <a:xfrm>
            <a:off x="10187121" y="2855505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57" name="椭圆 156"/>
          <p:cNvSpPr>
            <a:spLocks noChangeAspect="1"/>
          </p:cNvSpPr>
          <p:nvPr/>
        </p:nvSpPr>
        <p:spPr>
          <a:xfrm>
            <a:off x="10187121" y="2855505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58" name="椭圆 157"/>
          <p:cNvSpPr>
            <a:spLocks noChangeAspect="1"/>
          </p:cNvSpPr>
          <p:nvPr/>
        </p:nvSpPr>
        <p:spPr>
          <a:xfrm>
            <a:off x="10187121" y="2855505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59" name="椭圆 158"/>
          <p:cNvSpPr>
            <a:spLocks noChangeAspect="1"/>
          </p:cNvSpPr>
          <p:nvPr/>
        </p:nvSpPr>
        <p:spPr>
          <a:xfrm>
            <a:off x="10187121" y="2855505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grpSp>
        <p:nvGrpSpPr>
          <p:cNvPr id="168" name="组合 167"/>
          <p:cNvGrpSpPr/>
          <p:nvPr/>
        </p:nvGrpSpPr>
        <p:grpSpPr>
          <a:xfrm>
            <a:off x="8508206" y="2579472"/>
            <a:ext cx="1735575" cy="108489"/>
            <a:chOff x="9041121" y="1856065"/>
            <a:chExt cx="1325203" cy="165591"/>
          </a:xfrm>
        </p:grpSpPr>
        <p:sp>
          <p:nvSpPr>
            <p:cNvPr id="169" name="任意多边形: 形状 168"/>
            <p:cNvSpPr/>
            <p:nvPr/>
          </p:nvSpPr>
          <p:spPr>
            <a:xfrm rot="10800000" flipH="1">
              <a:off x="9041121" y="1883214"/>
              <a:ext cx="1325203" cy="112929"/>
            </a:xfrm>
            <a:custGeom>
              <a:avLst/>
              <a:gdLst>
                <a:gd name="connsiteX0" fmla="*/ 265926 w 1259572"/>
                <a:gd name="connsiteY0" fmla="*/ 112929 h 112929"/>
                <a:gd name="connsiteX1" fmla="*/ 517420 w 1259572"/>
                <a:gd name="connsiteY1" fmla="*/ 112929 h 112929"/>
                <a:gd name="connsiteX2" fmla="*/ 943534 w 1259572"/>
                <a:gd name="connsiteY2" fmla="*/ 112929 h 112929"/>
                <a:gd name="connsiteX3" fmla="*/ 1195028 w 1259572"/>
                <a:gd name="connsiteY3" fmla="*/ 112929 h 112929"/>
                <a:gd name="connsiteX4" fmla="*/ 1259572 w 1259572"/>
                <a:gd name="connsiteY4" fmla="*/ 56465 h 112929"/>
                <a:gd name="connsiteX5" fmla="*/ 1195028 w 1259572"/>
                <a:gd name="connsiteY5" fmla="*/ 1 h 112929"/>
                <a:gd name="connsiteX6" fmla="*/ 943534 w 1259572"/>
                <a:gd name="connsiteY6" fmla="*/ 1 h 112929"/>
                <a:gd name="connsiteX7" fmla="*/ 929108 w 1259572"/>
                <a:gd name="connsiteY7" fmla="*/ 1 h 112929"/>
                <a:gd name="connsiteX8" fmla="*/ 929103 w 1259572"/>
                <a:gd name="connsiteY8" fmla="*/ 0 h 112929"/>
                <a:gd name="connsiteX9" fmla="*/ 677609 w 1259572"/>
                <a:gd name="connsiteY9" fmla="*/ 0 h 112929"/>
                <a:gd name="connsiteX10" fmla="*/ 251494 w 1259572"/>
                <a:gd name="connsiteY10" fmla="*/ 0 h 112929"/>
                <a:gd name="connsiteX11" fmla="*/ 0 w 1259572"/>
                <a:gd name="connsiteY11" fmla="*/ 0 h 112929"/>
                <a:gd name="connsiteX12" fmla="*/ 0 w 1259572"/>
                <a:gd name="connsiteY12" fmla="*/ 112928 h 112929"/>
                <a:gd name="connsiteX13" fmla="*/ 251494 w 1259572"/>
                <a:gd name="connsiteY13" fmla="*/ 112928 h 112929"/>
                <a:gd name="connsiteX14" fmla="*/ 265926 w 1259572"/>
                <a:gd name="connsiteY14" fmla="*/ 112928 h 11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9572" h="112929">
                  <a:moveTo>
                    <a:pt x="265926" y="112929"/>
                  </a:moveTo>
                  <a:lnTo>
                    <a:pt x="517420" y="112929"/>
                  </a:lnTo>
                  <a:lnTo>
                    <a:pt x="943534" y="112929"/>
                  </a:lnTo>
                  <a:lnTo>
                    <a:pt x="1195028" y="112929"/>
                  </a:lnTo>
                  <a:cubicBezTo>
                    <a:pt x="1230674" y="112929"/>
                    <a:pt x="1259572" y="87649"/>
                    <a:pt x="1259572" y="56465"/>
                  </a:cubicBezTo>
                  <a:cubicBezTo>
                    <a:pt x="1259572" y="25282"/>
                    <a:pt x="1230674" y="1"/>
                    <a:pt x="1195028" y="1"/>
                  </a:cubicBezTo>
                  <a:lnTo>
                    <a:pt x="943534" y="1"/>
                  </a:lnTo>
                  <a:lnTo>
                    <a:pt x="929108" y="1"/>
                  </a:lnTo>
                  <a:lnTo>
                    <a:pt x="929103" y="0"/>
                  </a:lnTo>
                  <a:lnTo>
                    <a:pt x="677609" y="0"/>
                  </a:lnTo>
                  <a:lnTo>
                    <a:pt x="251494" y="0"/>
                  </a:lnTo>
                  <a:lnTo>
                    <a:pt x="0" y="0"/>
                  </a:lnTo>
                  <a:lnTo>
                    <a:pt x="0" y="112928"/>
                  </a:lnTo>
                  <a:lnTo>
                    <a:pt x="251494" y="112928"/>
                  </a:lnTo>
                  <a:lnTo>
                    <a:pt x="265926" y="112928"/>
                  </a:lnTo>
                  <a:close/>
                </a:path>
              </a:pathLst>
            </a:cu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170" name="图片 169"/>
            <p:cNvPicPr>
              <a:picLocks noChangeAspect="1"/>
            </p:cNvPicPr>
            <p:nvPr/>
          </p:nvPicPr>
          <p:blipFill>
            <a:blip r:embed="rId6" cstate="screen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H="1">
              <a:off x="10010714" y="1687763"/>
              <a:ext cx="86829" cy="505983"/>
            </a:xfrm>
            <a:prstGeom prst="rect">
              <a:avLst/>
            </a:prstGeom>
          </p:spPr>
        </p:pic>
        <p:cxnSp>
          <p:nvCxnSpPr>
            <p:cNvPr id="171" name="直接连接符 170"/>
            <p:cNvCxnSpPr/>
            <p:nvPr/>
          </p:nvCxnSpPr>
          <p:spPr>
            <a:xfrm rot="16200000">
              <a:off x="9897638" y="1625656"/>
              <a:ext cx="0" cy="79200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直接连接符 171"/>
            <p:cNvCxnSpPr/>
            <p:nvPr/>
          </p:nvCxnSpPr>
          <p:spPr>
            <a:xfrm>
              <a:off x="9431357" y="1856065"/>
              <a:ext cx="657052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3" name="图片 172"/>
            <p:cNvPicPr>
              <a:picLocks noChangeAspect="1"/>
            </p:cNvPicPr>
            <p:nvPr/>
          </p:nvPicPr>
          <p:blipFill>
            <a:blip r:embed="rId6" cstate="screen">
              <a:alphaModFix amt="36000"/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H="1">
              <a:off x="9501860" y="1687763"/>
              <a:ext cx="86829" cy="505983"/>
            </a:xfrm>
            <a:prstGeom prst="rect">
              <a:avLst/>
            </a:prstGeom>
          </p:spPr>
        </p:pic>
      </p:grpSp>
      <p:sp>
        <p:nvSpPr>
          <p:cNvPr id="174" name="椭圆 173"/>
          <p:cNvSpPr>
            <a:spLocks noChangeAspect="1"/>
          </p:cNvSpPr>
          <p:nvPr/>
        </p:nvSpPr>
        <p:spPr>
          <a:xfrm flipH="1">
            <a:off x="8529771" y="2614998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75" name="椭圆 174"/>
          <p:cNvSpPr>
            <a:spLocks noChangeAspect="1"/>
          </p:cNvSpPr>
          <p:nvPr/>
        </p:nvSpPr>
        <p:spPr>
          <a:xfrm flipH="1">
            <a:off x="8529771" y="2614998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76" name="椭圆 175"/>
          <p:cNvSpPr>
            <a:spLocks noChangeAspect="1"/>
          </p:cNvSpPr>
          <p:nvPr/>
        </p:nvSpPr>
        <p:spPr>
          <a:xfrm flipH="1">
            <a:off x="8529771" y="2614998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sp>
        <p:nvSpPr>
          <p:cNvPr id="177" name="椭圆 176"/>
          <p:cNvSpPr>
            <a:spLocks noChangeAspect="1"/>
          </p:cNvSpPr>
          <p:nvPr/>
        </p:nvSpPr>
        <p:spPr>
          <a:xfrm flipH="1">
            <a:off x="8529771" y="2614998"/>
            <a:ext cx="36000" cy="36000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outerShdw blurRad="76200" sx="120000" sy="120000" algn="ctr" rotWithShape="0">
              <a:schemeClr val="accent1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Source Han Sans CN"/>
            </a:endParaRPr>
          </a:p>
        </p:txBody>
      </p:sp>
      <p:grpSp>
        <p:nvGrpSpPr>
          <p:cNvPr id="166" name="组合 165"/>
          <p:cNvGrpSpPr/>
          <p:nvPr/>
        </p:nvGrpSpPr>
        <p:grpSpPr>
          <a:xfrm>
            <a:off x="7409515" y="2156916"/>
            <a:ext cx="1181704" cy="1181704"/>
            <a:chOff x="7409515" y="2107756"/>
            <a:chExt cx="1181704" cy="1181704"/>
          </a:xfrm>
        </p:grpSpPr>
        <p:sp>
          <p:nvSpPr>
            <p:cNvPr id="97" name="椭圆 96"/>
            <p:cNvSpPr/>
            <p:nvPr/>
          </p:nvSpPr>
          <p:spPr>
            <a:xfrm>
              <a:off x="7409515" y="2107756"/>
              <a:ext cx="1181704" cy="1181704"/>
            </a:xfrm>
            <a:prstGeom prst="ellipse">
              <a:avLst/>
            </a:prstGeom>
            <a:gradFill flip="none" rotWithShape="1">
              <a:gsLst>
                <a:gs pos="0">
                  <a:srgbClr val="ABBCCD"/>
                </a:gs>
                <a:gs pos="100000">
                  <a:srgbClr val="F3F5F8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/>
            <a:lstStyle/>
            <a:p>
              <a:pPr algn="ctr">
                <a:spcBef>
                  <a:spcPts val="500"/>
                </a:spcBef>
              </a:pPr>
              <a:endParaRPr lang="zh-CN" altLang="en-US" sz="1400" b="1" dirty="0">
                <a:solidFill>
                  <a:schemeClr val="accent1"/>
                </a:solidFill>
                <a:latin typeface="+mj-ea"/>
                <a:ea typeface="+mj-ea"/>
              </a:endParaRPr>
            </a:p>
          </p:txBody>
        </p:sp>
        <p:pic>
          <p:nvPicPr>
            <p:cNvPr id="112" name="图片 1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579629" y="2464608"/>
              <a:ext cx="841477" cy="197817"/>
            </a:xfrm>
            <a:custGeom>
              <a:avLst/>
              <a:gdLst>
                <a:gd name="connsiteX0" fmla="*/ 0 w 841477"/>
                <a:gd name="connsiteY0" fmla="*/ 0 h 197817"/>
                <a:gd name="connsiteX1" fmla="*/ 841477 w 841477"/>
                <a:gd name="connsiteY1" fmla="*/ 0 h 197817"/>
                <a:gd name="connsiteX2" fmla="*/ 841477 w 841477"/>
                <a:gd name="connsiteY2" fmla="*/ 197817 h 197817"/>
                <a:gd name="connsiteX3" fmla="*/ 0 w 841477"/>
                <a:gd name="connsiteY3" fmla="*/ 197817 h 19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1477" h="197817">
                  <a:moveTo>
                    <a:pt x="0" y="0"/>
                  </a:moveTo>
                  <a:lnTo>
                    <a:pt x="841477" y="0"/>
                  </a:lnTo>
                  <a:lnTo>
                    <a:pt x="841477" y="197817"/>
                  </a:lnTo>
                  <a:lnTo>
                    <a:pt x="0" y="197817"/>
                  </a:lnTo>
                  <a:close/>
                </a:path>
              </a:pathLst>
            </a:custGeom>
          </p:spPr>
        </p:pic>
        <p:pic>
          <p:nvPicPr>
            <p:cNvPr id="113" name="图片 112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671042" y="2759206"/>
              <a:ext cx="658651" cy="197817"/>
            </a:xfrm>
            <a:custGeom>
              <a:avLst/>
              <a:gdLst>
                <a:gd name="connsiteX0" fmla="*/ 0 w 658651"/>
                <a:gd name="connsiteY0" fmla="*/ 0 h 197817"/>
                <a:gd name="connsiteX1" fmla="*/ 658651 w 658651"/>
                <a:gd name="connsiteY1" fmla="*/ 0 h 197817"/>
                <a:gd name="connsiteX2" fmla="*/ 658651 w 658651"/>
                <a:gd name="connsiteY2" fmla="*/ 197817 h 197817"/>
                <a:gd name="connsiteX3" fmla="*/ 0 w 658651"/>
                <a:gd name="connsiteY3" fmla="*/ 197817 h 19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1" h="197817">
                  <a:moveTo>
                    <a:pt x="0" y="0"/>
                  </a:moveTo>
                  <a:lnTo>
                    <a:pt x="658651" y="0"/>
                  </a:lnTo>
                  <a:lnTo>
                    <a:pt x="658651" y="197817"/>
                  </a:lnTo>
                  <a:lnTo>
                    <a:pt x="0" y="197817"/>
                  </a:lnTo>
                  <a:close/>
                </a:path>
              </a:pathLst>
            </a:custGeom>
          </p:spPr>
        </p:pic>
      </p:grpSp>
      <p:grpSp>
        <p:nvGrpSpPr>
          <p:cNvPr id="167" name="组合 166"/>
          <p:cNvGrpSpPr/>
          <p:nvPr/>
        </p:nvGrpSpPr>
        <p:grpSpPr>
          <a:xfrm>
            <a:off x="10172096" y="2156916"/>
            <a:ext cx="1181704" cy="1181704"/>
            <a:chOff x="10172096" y="2107756"/>
            <a:chExt cx="1181704" cy="1181704"/>
          </a:xfrm>
        </p:grpSpPr>
        <p:sp>
          <p:nvSpPr>
            <p:cNvPr id="98" name="椭圆 97"/>
            <p:cNvSpPr/>
            <p:nvPr/>
          </p:nvSpPr>
          <p:spPr>
            <a:xfrm>
              <a:off x="10172096" y="2107756"/>
              <a:ext cx="1181704" cy="1181704"/>
            </a:xfrm>
            <a:prstGeom prst="ellipse">
              <a:avLst/>
            </a:prstGeom>
            <a:gradFill flip="none" rotWithShape="1">
              <a:gsLst>
                <a:gs pos="0">
                  <a:srgbClr val="ABBCCD"/>
                </a:gs>
                <a:gs pos="100000">
                  <a:srgbClr val="F3F5F8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/>
            <a:lstStyle/>
            <a:p>
              <a:pPr algn="ctr">
                <a:spcBef>
                  <a:spcPts val="500"/>
                </a:spcBef>
              </a:pPr>
              <a:endParaRPr lang="zh-CN" altLang="en-US" sz="1400" b="1" dirty="0">
                <a:solidFill>
                  <a:schemeClr val="accent1"/>
                </a:solidFill>
                <a:latin typeface="+mj-ea"/>
                <a:ea typeface="+mj-ea"/>
              </a:endParaRPr>
            </a:p>
          </p:txBody>
        </p:sp>
        <p:pic>
          <p:nvPicPr>
            <p:cNvPr id="116" name="图片 115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451239" y="2759480"/>
              <a:ext cx="623419" cy="197543"/>
            </a:xfrm>
            <a:custGeom>
              <a:avLst/>
              <a:gdLst>
                <a:gd name="connsiteX0" fmla="*/ 0 w 623419"/>
                <a:gd name="connsiteY0" fmla="*/ 0 h 197543"/>
                <a:gd name="connsiteX1" fmla="*/ 623419 w 623419"/>
                <a:gd name="connsiteY1" fmla="*/ 0 h 197543"/>
                <a:gd name="connsiteX2" fmla="*/ 623419 w 623419"/>
                <a:gd name="connsiteY2" fmla="*/ 197543 h 197543"/>
                <a:gd name="connsiteX3" fmla="*/ 0 w 623419"/>
                <a:gd name="connsiteY3" fmla="*/ 197543 h 1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419" h="197543">
                  <a:moveTo>
                    <a:pt x="0" y="0"/>
                  </a:moveTo>
                  <a:lnTo>
                    <a:pt x="623419" y="0"/>
                  </a:lnTo>
                  <a:lnTo>
                    <a:pt x="623419" y="197543"/>
                  </a:lnTo>
                  <a:lnTo>
                    <a:pt x="0" y="197543"/>
                  </a:lnTo>
                  <a:close/>
                </a:path>
              </a:pathLst>
            </a:custGeom>
          </p:spPr>
        </p:pic>
        <p:pic>
          <p:nvPicPr>
            <p:cNvPr id="117" name="图片 116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342210" y="2464608"/>
              <a:ext cx="841477" cy="197817"/>
            </a:xfrm>
            <a:custGeom>
              <a:avLst/>
              <a:gdLst>
                <a:gd name="connsiteX0" fmla="*/ 0 w 841477"/>
                <a:gd name="connsiteY0" fmla="*/ 0 h 197817"/>
                <a:gd name="connsiteX1" fmla="*/ 841477 w 841477"/>
                <a:gd name="connsiteY1" fmla="*/ 0 h 197817"/>
                <a:gd name="connsiteX2" fmla="*/ 841477 w 841477"/>
                <a:gd name="connsiteY2" fmla="*/ 197817 h 197817"/>
                <a:gd name="connsiteX3" fmla="*/ 0 w 841477"/>
                <a:gd name="connsiteY3" fmla="*/ 197817 h 19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1477" h="197817">
                  <a:moveTo>
                    <a:pt x="0" y="0"/>
                  </a:moveTo>
                  <a:lnTo>
                    <a:pt x="841477" y="0"/>
                  </a:lnTo>
                  <a:lnTo>
                    <a:pt x="841477" y="197817"/>
                  </a:lnTo>
                  <a:lnTo>
                    <a:pt x="0" y="197817"/>
                  </a:lnTo>
                  <a:close/>
                </a:path>
              </a:pathLst>
            </a:custGeom>
          </p:spPr>
        </p:pic>
      </p:grpSp>
      <p:grpSp>
        <p:nvGrpSpPr>
          <p:cNvPr id="49" name="组合 48"/>
          <p:cNvGrpSpPr/>
          <p:nvPr/>
        </p:nvGrpSpPr>
        <p:grpSpPr>
          <a:xfrm>
            <a:off x="328457" y="2156916"/>
            <a:ext cx="8595626" cy="4096283"/>
            <a:chOff x="328457" y="2156916"/>
            <a:chExt cx="8595626" cy="4096283"/>
          </a:xfrm>
        </p:grpSpPr>
        <p:sp>
          <p:nvSpPr>
            <p:cNvPr id="148" name="任意多边形: 形状 147"/>
            <p:cNvSpPr/>
            <p:nvPr/>
          </p:nvSpPr>
          <p:spPr>
            <a:xfrm>
              <a:off x="4557571" y="3559123"/>
              <a:ext cx="2595704" cy="1066800"/>
            </a:xfrm>
            <a:custGeom>
              <a:avLst/>
              <a:gdLst>
                <a:gd name="connsiteX0" fmla="*/ 233363 w 2533650"/>
                <a:gd name="connsiteY0" fmla="*/ 0 h 985838"/>
                <a:gd name="connsiteX1" fmla="*/ 0 w 2533650"/>
                <a:gd name="connsiteY1" fmla="*/ 71438 h 985838"/>
                <a:gd name="connsiteX2" fmla="*/ 61913 w 2533650"/>
                <a:gd name="connsiteY2" fmla="*/ 457200 h 985838"/>
                <a:gd name="connsiteX3" fmla="*/ 928688 w 2533650"/>
                <a:gd name="connsiteY3" fmla="*/ 881063 h 985838"/>
                <a:gd name="connsiteX4" fmla="*/ 2533650 w 2533650"/>
                <a:gd name="connsiteY4" fmla="*/ 985838 h 985838"/>
                <a:gd name="connsiteX0-1" fmla="*/ 271167 w 2571454"/>
                <a:gd name="connsiteY0-2" fmla="*/ 0 h 985838"/>
                <a:gd name="connsiteX1-3" fmla="*/ 37804 w 2571454"/>
                <a:gd name="connsiteY1-4" fmla="*/ 71438 h 985838"/>
                <a:gd name="connsiteX2-5" fmla="*/ 99717 w 2571454"/>
                <a:gd name="connsiteY2-6" fmla="*/ 457200 h 985838"/>
                <a:gd name="connsiteX3-7" fmla="*/ 966492 w 2571454"/>
                <a:gd name="connsiteY3-8" fmla="*/ 881063 h 985838"/>
                <a:gd name="connsiteX4-9" fmla="*/ 2571454 w 2571454"/>
                <a:gd name="connsiteY4-10" fmla="*/ 985838 h 985838"/>
                <a:gd name="connsiteX0-11" fmla="*/ 271167 w 2571454"/>
                <a:gd name="connsiteY0-12" fmla="*/ 0 h 985838"/>
                <a:gd name="connsiteX1-13" fmla="*/ 37804 w 2571454"/>
                <a:gd name="connsiteY1-14" fmla="*/ 71438 h 985838"/>
                <a:gd name="connsiteX2-15" fmla="*/ 99717 w 2571454"/>
                <a:gd name="connsiteY2-16" fmla="*/ 457200 h 985838"/>
                <a:gd name="connsiteX3-17" fmla="*/ 966492 w 2571454"/>
                <a:gd name="connsiteY3-18" fmla="*/ 881063 h 985838"/>
                <a:gd name="connsiteX4-19" fmla="*/ 2571454 w 2571454"/>
                <a:gd name="connsiteY4-20" fmla="*/ 985838 h 985838"/>
                <a:gd name="connsiteX0-21" fmla="*/ 287080 w 2587367"/>
                <a:gd name="connsiteY0-22" fmla="*/ 0 h 985838"/>
                <a:gd name="connsiteX1-23" fmla="*/ 25142 w 2587367"/>
                <a:gd name="connsiteY1-24" fmla="*/ 125413 h 985838"/>
                <a:gd name="connsiteX2-25" fmla="*/ 115630 w 2587367"/>
                <a:gd name="connsiteY2-26" fmla="*/ 457200 h 985838"/>
                <a:gd name="connsiteX3-27" fmla="*/ 982405 w 2587367"/>
                <a:gd name="connsiteY3-28" fmla="*/ 881063 h 985838"/>
                <a:gd name="connsiteX4-29" fmla="*/ 2587367 w 2587367"/>
                <a:gd name="connsiteY4-30" fmla="*/ 985838 h 985838"/>
                <a:gd name="connsiteX0-31" fmla="*/ 289943 w 2590230"/>
                <a:gd name="connsiteY0-32" fmla="*/ 0 h 985838"/>
                <a:gd name="connsiteX1-33" fmla="*/ 28005 w 2590230"/>
                <a:gd name="connsiteY1-34" fmla="*/ 125413 h 985838"/>
                <a:gd name="connsiteX2-35" fmla="*/ 985268 w 2590230"/>
                <a:gd name="connsiteY2-36" fmla="*/ 881063 h 985838"/>
                <a:gd name="connsiteX3-37" fmla="*/ 2590230 w 2590230"/>
                <a:gd name="connsiteY3-38" fmla="*/ 985838 h 985838"/>
                <a:gd name="connsiteX0-39" fmla="*/ 319469 w 2619756"/>
                <a:gd name="connsiteY0-40" fmla="*/ 0 h 985838"/>
                <a:gd name="connsiteX1-41" fmla="*/ 25781 w 2619756"/>
                <a:gd name="connsiteY1-42" fmla="*/ 274638 h 985838"/>
                <a:gd name="connsiteX2-43" fmla="*/ 1014794 w 2619756"/>
                <a:gd name="connsiteY2-44" fmla="*/ 881063 h 985838"/>
                <a:gd name="connsiteX3-45" fmla="*/ 2619756 w 2619756"/>
                <a:gd name="connsiteY3-46" fmla="*/ 985838 h 985838"/>
                <a:gd name="connsiteX0-47" fmla="*/ 303334 w 2603621"/>
                <a:gd name="connsiteY0-48" fmla="*/ 0 h 985838"/>
                <a:gd name="connsiteX1-49" fmla="*/ 9646 w 2603621"/>
                <a:gd name="connsiteY1-50" fmla="*/ 274638 h 985838"/>
                <a:gd name="connsiteX2-51" fmla="*/ 998659 w 2603621"/>
                <a:gd name="connsiteY2-52" fmla="*/ 881063 h 985838"/>
                <a:gd name="connsiteX3-53" fmla="*/ 2603621 w 2603621"/>
                <a:gd name="connsiteY3-54" fmla="*/ 985838 h 985838"/>
                <a:gd name="connsiteX0-55" fmla="*/ 303334 w 2603621"/>
                <a:gd name="connsiteY0-56" fmla="*/ 0 h 985838"/>
                <a:gd name="connsiteX1-57" fmla="*/ 9646 w 2603621"/>
                <a:gd name="connsiteY1-58" fmla="*/ 274638 h 985838"/>
                <a:gd name="connsiteX2-59" fmla="*/ 998659 w 2603621"/>
                <a:gd name="connsiteY2-60" fmla="*/ 881063 h 985838"/>
                <a:gd name="connsiteX3-61" fmla="*/ 2603621 w 2603621"/>
                <a:gd name="connsiteY3-62" fmla="*/ 985838 h 985838"/>
                <a:gd name="connsiteX0-63" fmla="*/ 303334 w 2603621"/>
                <a:gd name="connsiteY0-64" fmla="*/ 0 h 998144"/>
                <a:gd name="connsiteX1-65" fmla="*/ 9646 w 2603621"/>
                <a:gd name="connsiteY1-66" fmla="*/ 274638 h 998144"/>
                <a:gd name="connsiteX2-67" fmla="*/ 998659 w 2603621"/>
                <a:gd name="connsiteY2-68" fmla="*/ 881063 h 998144"/>
                <a:gd name="connsiteX3-69" fmla="*/ 2603621 w 2603621"/>
                <a:gd name="connsiteY3-70" fmla="*/ 985838 h 998144"/>
                <a:gd name="connsiteX0-71" fmla="*/ 303334 w 2603621"/>
                <a:gd name="connsiteY0-72" fmla="*/ 0 h 1004292"/>
                <a:gd name="connsiteX1-73" fmla="*/ 9646 w 2603621"/>
                <a:gd name="connsiteY1-74" fmla="*/ 274638 h 1004292"/>
                <a:gd name="connsiteX2-75" fmla="*/ 998659 w 2603621"/>
                <a:gd name="connsiteY2-76" fmla="*/ 881063 h 1004292"/>
                <a:gd name="connsiteX3-77" fmla="*/ 2603621 w 2603621"/>
                <a:gd name="connsiteY3-78" fmla="*/ 985838 h 1004292"/>
                <a:gd name="connsiteX0-79" fmla="*/ 303334 w 2603621"/>
                <a:gd name="connsiteY0-80" fmla="*/ 0 h 998376"/>
                <a:gd name="connsiteX1-81" fmla="*/ 9646 w 2603621"/>
                <a:gd name="connsiteY1-82" fmla="*/ 274638 h 998376"/>
                <a:gd name="connsiteX2-83" fmla="*/ 998659 w 2603621"/>
                <a:gd name="connsiteY2-84" fmla="*/ 881063 h 998376"/>
                <a:gd name="connsiteX3-85" fmla="*/ 2603621 w 2603621"/>
                <a:gd name="connsiteY3-86" fmla="*/ 985838 h 998376"/>
                <a:gd name="connsiteX0-87" fmla="*/ 319821 w 2620108"/>
                <a:gd name="connsiteY0-88" fmla="*/ 0 h 1002317"/>
                <a:gd name="connsiteX1-89" fmla="*/ 26133 w 2620108"/>
                <a:gd name="connsiteY1-90" fmla="*/ 274638 h 1002317"/>
                <a:gd name="connsiteX2-91" fmla="*/ 1021496 w 2620108"/>
                <a:gd name="connsiteY2-92" fmla="*/ 919163 h 1002317"/>
                <a:gd name="connsiteX3-93" fmla="*/ 2620108 w 2620108"/>
                <a:gd name="connsiteY3-94" fmla="*/ 985838 h 1002317"/>
                <a:gd name="connsiteX0-95" fmla="*/ 319821 w 2620108"/>
                <a:gd name="connsiteY0-96" fmla="*/ 0 h 1005959"/>
                <a:gd name="connsiteX1-97" fmla="*/ 26133 w 2620108"/>
                <a:gd name="connsiteY1-98" fmla="*/ 274638 h 1005959"/>
                <a:gd name="connsiteX2-99" fmla="*/ 1021496 w 2620108"/>
                <a:gd name="connsiteY2-100" fmla="*/ 919163 h 1005959"/>
                <a:gd name="connsiteX3-101" fmla="*/ 2620108 w 2620108"/>
                <a:gd name="connsiteY3-102" fmla="*/ 985838 h 1005959"/>
                <a:gd name="connsiteX0-103" fmla="*/ 327061 w 2627348"/>
                <a:gd name="connsiteY0-104" fmla="*/ 0 h 1004298"/>
                <a:gd name="connsiteX1-105" fmla="*/ 33373 w 2627348"/>
                <a:gd name="connsiteY1-106" fmla="*/ 274638 h 1004298"/>
                <a:gd name="connsiteX2-107" fmla="*/ 1155736 w 2627348"/>
                <a:gd name="connsiteY2-108" fmla="*/ 909638 h 1004298"/>
                <a:gd name="connsiteX3-109" fmla="*/ 2627348 w 2627348"/>
                <a:gd name="connsiteY3-110" fmla="*/ 985838 h 1004298"/>
                <a:gd name="connsiteX0-111" fmla="*/ 304999 w 2605286"/>
                <a:gd name="connsiteY0-112" fmla="*/ 0 h 1004298"/>
                <a:gd name="connsiteX1-113" fmla="*/ 11311 w 2605286"/>
                <a:gd name="connsiteY1-114" fmla="*/ 274638 h 1004298"/>
                <a:gd name="connsiteX2-115" fmla="*/ 1133674 w 2605286"/>
                <a:gd name="connsiteY2-116" fmla="*/ 909638 h 1004298"/>
                <a:gd name="connsiteX3-117" fmla="*/ 2605286 w 2605286"/>
                <a:gd name="connsiteY3-118" fmla="*/ 985838 h 1004298"/>
                <a:gd name="connsiteX0-119" fmla="*/ 297622 w 2597909"/>
                <a:gd name="connsiteY0-120" fmla="*/ 0 h 1004298"/>
                <a:gd name="connsiteX1-121" fmla="*/ 3934 w 2597909"/>
                <a:gd name="connsiteY1-122" fmla="*/ 274638 h 1004298"/>
                <a:gd name="connsiteX2-123" fmla="*/ 1126297 w 2597909"/>
                <a:gd name="connsiteY2-124" fmla="*/ 909638 h 1004298"/>
                <a:gd name="connsiteX3-125" fmla="*/ 2597909 w 2597909"/>
                <a:gd name="connsiteY3-126" fmla="*/ 985838 h 1004298"/>
                <a:gd name="connsiteX0-127" fmla="*/ 424093 w 2724380"/>
                <a:gd name="connsiteY0-128" fmla="*/ 0 h 985838"/>
                <a:gd name="connsiteX1-129" fmla="*/ 130405 w 2724380"/>
                <a:gd name="connsiteY1-130" fmla="*/ 274638 h 985838"/>
                <a:gd name="connsiteX2-131" fmla="*/ 2724380 w 2724380"/>
                <a:gd name="connsiteY2-132" fmla="*/ 985838 h 985838"/>
                <a:gd name="connsiteX0-133" fmla="*/ 293710 w 2593997"/>
                <a:gd name="connsiteY0-134" fmla="*/ 0 h 985838"/>
                <a:gd name="connsiteX1-135" fmla="*/ 22 w 2593997"/>
                <a:gd name="connsiteY1-136" fmla="*/ 274638 h 985838"/>
                <a:gd name="connsiteX2-137" fmla="*/ 2593997 w 2593997"/>
                <a:gd name="connsiteY2-138" fmla="*/ 985838 h 985838"/>
                <a:gd name="connsiteX0-139" fmla="*/ 243712 w 2543999"/>
                <a:gd name="connsiteY0-140" fmla="*/ 0 h 985838"/>
                <a:gd name="connsiteX1-141" fmla="*/ 30 w 2543999"/>
                <a:gd name="connsiteY1-142" fmla="*/ 391319 h 985838"/>
                <a:gd name="connsiteX2-143" fmla="*/ 2543999 w 2543999"/>
                <a:gd name="connsiteY2-144" fmla="*/ 985838 h 985838"/>
                <a:gd name="connsiteX0-145" fmla="*/ 255226 w 2555513"/>
                <a:gd name="connsiteY0-146" fmla="*/ 0 h 985838"/>
                <a:gd name="connsiteX1-147" fmla="*/ 11544 w 2555513"/>
                <a:gd name="connsiteY1-148" fmla="*/ 391319 h 985838"/>
                <a:gd name="connsiteX2-149" fmla="*/ 2555513 w 2555513"/>
                <a:gd name="connsiteY2-150" fmla="*/ 985838 h 985838"/>
                <a:gd name="connsiteX0-151" fmla="*/ 382409 w 2687458"/>
                <a:gd name="connsiteY0-152" fmla="*/ 0 h 935832"/>
                <a:gd name="connsiteX1-153" fmla="*/ 138727 w 2687458"/>
                <a:gd name="connsiteY1-154" fmla="*/ 391319 h 935832"/>
                <a:gd name="connsiteX2-155" fmla="*/ 2687458 w 2687458"/>
                <a:gd name="connsiteY2-156" fmla="*/ 935832 h 935832"/>
                <a:gd name="connsiteX0-157" fmla="*/ 382409 w 2687458"/>
                <a:gd name="connsiteY0-158" fmla="*/ 0 h 935832"/>
                <a:gd name="connsiteX1-159" fmla="*/ 138727 w 2687458"/>
                <a:gd name="connsiteY1-160" fmla="*/ 391319 h 935832"/>
                <a:gd name="connsiteX2-161" fmla="*/ 2687458 w 2687458"/>
                <a:gd name="connsiteY2-162" fmla="*/ 935832 h 935832"/>
                <a:gd name="connsiteX0-163" fmla="*/ 325218 w 2630267"/>
                <a:gd name="connsiteY0-164" fmla="*/ 0 h 935832"/>
                <a:gd name="connsiteX1-165" fmla="*/ 81536 w 2630267"/>
                <a:gd name="connsiteY1-166" fmla="*/ 391319 h 935832"/>
                <a:gd name="connsiteX2-167" fmla="*/ 2630267 w 2630267"/>
                <a:gd name="connsiteY2-168" fmla="*/ 935832 h 935832"/>
                <a:gd name="connsiteX0-169" fmla="*/ 298218 w 2603267"/>
                <a:gd name="connsiteY0-170" fmla="*/ 0 h 935832"/>
                <a:gd name="connsiteX1-171" fmla="*/ 54536 w 2603267"/>
                <a:gd name="connsiteY1-172" fmla="*/ 391319 h 935832"/>
                <a:gd name="connsiteX2-173" fmla="*/ 2603267 w 2603267"/>
                <a:gd name="connsiteY2-174" fmla="*/ 935832 h 935832"/>
                <a:gd name="connsiteX0-175" fmla="*/ 384392 w 2689441"/>
                <a:gd name="connsiteY0-176" fmla="*/ 18275 h 954107"/>
                <a:gd name="connsiteX1-177" fmla="*/ 336768 w 2689441"/>
                <a:gd name="connsiteY1-178" fmla="*/ 32563 h 954107"/>
                <a:gd name="connsiteX2-179" fmla="*/ 140710 w 2689441"/>
                <a:gd name="connsiteY2-180" fmla="*/ 409594 h 954107"/>
                <a:gd name="connsiteX3-181" fmla="*/ 2689441 w 2689441"/>
                <a:gd name="connsiteY3-182" fmla="*/ 954107 h 954107"/>
                <a:gd name="connsiteX0-183" fmla="*/ 336768 w 2689441"/>
                <a:gd name="connsiteY0-184" fmla="*/ 0 h 921544"/>
                <a:gd name="connsiteX1-185" fmla="*/ 140710 w 2689441"/>
                <a:gd name="connsiteY1-186" fmla="*/ 377031 h 921544"/>
                <a:gd name="connsiteX2-187" fmla="*/ 2689441 w 2689441"/>
                <a:gd name="connsiteY2-188" fmla="*/ 921544 h 921544"/>
                <a:gd name="connsiteX0-189" fmla="*/ 249465 w 2602138"/>
                <a:gd name="connsiteY0-190" fmla="*/ 0 h 921544"/>
                <a:gd name="connsiteX1-191" fmla="*/ 53407 w 2602138"/>
                <a:gd name="connsiteY1-192" fmla="*/ 377031 h 921544"/>
                <a:gd name="connsiteX2-193" fmla="*/ 2602138 w 2602138"/>
                <a:gd name="connsiteY2-194" fmla="*/ 921544 h 921544"/>
                <a:gd name="connsiteX0-195" fmla="*/ 254568 w 2607241"/>
                <a:gd name="connsiteY0-196" fmla="*/ 0 h 921544"/>
                <a:gd name="connsiteX1-197" fmla="*/ 58510 w 2607241"/>
                <a:gd name="connsiteY1-198" fmla="*/ 377031 h 921544"/>
                <a:gd name="connsiteX2-199" fmla="*/ 2607241 w 2607241"/>
                <a:gd name="connsiteY2-200" fmla="*/ 921544 h 921544"/>
                <a:gd name="connsiteX0-201" fmla="*/ 343546 w 2691457"/>
                <a:gd name="connsiteY0-202" fmla="*/ 0 h 1066800"/>
                <a:gd name="connsiteX1-203" fmla="*/ 147488 w 2691457"/>
                <a:gd name="connsiteY1-204" fmla="*/ 377031 h 1066800"/>
                <a:gd name="connsiteX2-205" fmla="*/ 2691457 w 2691457"/>
                <a:gd name="connsiteY2-206" fmla="*/ 1066800 h 1066800"/>
                <a:gd name="connsiteX0-207" fmla="*/ 247793 w 2595704"/>
                <a:gd name="connsiteY0-208" fmla="*/ 0 h 1066800"/>
                <a:gd name="connsiteX1-209" fmla="*/ 51735 w 2595704"/>
                <a:gd name="connsiteY1-210" fmla="*/ 377031 h 1066800"/>
                <a:gd name="connsiteX2-211" fmla="*/ 2595704 w 2595704"/>
                <a:gd name="connsiteY2-212" fmla="*/ 1066800 h 10668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</a:cxnLst>
              <a:rect l="l" t="t" r="r" b="b"/>
              <a:pathLst>
                <a:path w="2595704" h="1066800">
                  <a:moveTo>
                    <a:pt x="247793" y="0"/>
                  </a:moveTo>
                  <a:cubicBezTo>
                    <a:pt x="161935" y="31883"/>
                    <a:pt x="-113364" y="163512"/>
                    <a:pt x="51735" y="377031"/>
                  </a:cubicBezTo>
                  <a:cubicBezTo>
                    <a:pt x="216834" y="590550"/>
                    <a:pt x="1045643" y="987690"/>
                    <a:pt x="2595704" y="1066800"/>
                  </a:cubicBezTo>
                </a:path>
              </a:pathLst>
            </a:cu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7076652" y="4023349"/>
              <a:ext cx="1847431" cy="1602546"/>
              <a:chOff x="6742390" y="3656975"/>
              <a:chExt cx="2196823" cy="1905625"/>
            </a:xfrm>
          </p:grpSpPr>
          <p:pic>
            <p:nvPicPr>
              <p:cNvPr id="8" name="图片 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2390" y="3656975"/>
                <a:ext cx="2196823" cy="1905625"/>
              </a:xfrm>
              <a:prstGeom prst="rect">
                <a:avLst/>
              </a:prstGeom>
            </p:spPr>
          </p:pic>
          <p:pic>
            <p:nvPicPr>
              <p:cNvPr id="74" name="图片 73"/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6875978" y="3775755"/>
                <a:ext cx="1933458" cy="1178834"/>
              </a:xfrm>
              <a:custGeom>
                <a:avLst/>
                <a:gdLst>
                  <a:gd name="connsiteX0" fmla="*/ 0 w 1922858"/>
                  <a:gd name="connsiteY0" fmla="*/ 0 h 1178834"/>
                  <a:gd name="connsiteX1" fmla="*/ 1922858 w 1922858"/>
                  <a:gd name="connsiteY1" fmla="*/ 0 h 1178834"/>
                  <a:gd name="connsiteX2" fmla="*/ 1922858 w 1922858"/>
                  <a:gd name="connsiteY2" fmla="*/ 1178834 h 1178834"/>
                  <a:gd name="connsiteX3" fmla="*/ 0 w 1922858"/>
                  <a:gd name="connsiteY3" fmla="*/ 1178834 h 1178834"/>
                  <a:gd name="connsiteX4" fmla="*/ 0 w 1922858"/>
                  <a:gd name="connsiteY4" fmla="*/ 0 h 117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2858" h="1178834">
                    <a:moveTo>
                      <a:pt x="0" y="0"/>
                    </a:moveTo>
                    <a:lnTo>
                      <a:pt x="1922858" y="0"/>
                    </a:lnTo>
                    <a:lnTo>
                      <a:pt x="1922858" y="1178834"/>
                    </a:lnTo>
                    <a:lnTo>
                      <a:pt x="0" y="117883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</p:pic>
        </p:grpSp>
        <p:sp>
          <p:nvSpPr>
            <p:cNvPr id="61" name="梯形 60"/>
            <p:cNvSpPr/>
            <p:nvPr/>
          </p:nvSpPr>
          <p:spPr>
            <a:xfrm>
              <a:off x="1700217" y="3992510"/>
              <a:ext cx="1790696" cy="2128838"/>
            </a:xfrm>
            <a:prstGeom prst="trapezoid">
              <a:avLst>
                <a:gd name="adj" fmla="val 25532"/>
              </a:avLst>
            </a:prstGeom>
            <a:gradFill flip="none" rotWithShape="1">
              <a:gsLst>
                <a:gs pos="0">
                  <a:schemeClr val="accent1">
                    <a:alpha val="3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平行四边形 20"/>
            <p:cNvSpPr/>
            <p:nvPr/>
          </p:nvSpPr>
          <p:spPr>
            <a:xfrm flipV="1">
              <a:off x="328457" y="5582632"/>
              <a:ext cx="8568000" cy="670567"/>
            </a:xfrm>
            <a:prstGeom prst="parallelogram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平行四边形 21"/>
            <p:cNvSpPr/>
            <p:nvPr/>
          </p:nvSpPr>
          <p:spPr>
            <a:xfrm flipV="1">
              <a:off x="328457" y="5582632"/>
              <a:ext cx="8568000" cy="36000"/>
            </a:xfrm>
            <a:prstGeom prst="parallelogram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平行四边形 22"/>
            <p:cNvSpPr/>
            <p:nvPr/>
          </p:nvSpPr>
          <p:spPr>
            <a:xfrm flipV="1">
              <a:off x="328458" y="6217199"/>
              <a:ext cx="7090043" cy="36000"/>
            </a:xfrm>
            <a:prstGeom prst="parallelogram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5188743" y="5754158"/>
              <a:ext cx="519113" cy="288132"/>
              <a:chOff x="5934075" y="5579268"/>
              <a:chExt cx="519113" cy="288132"/>
            </a:xfrm>
          </p:grpSpPr>
          <p:sp>
            <p:nvSpPr>
              <p:cNvPr id="26" name="梯形 25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" name="梯形 26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9" name="平行四边形 28"/>
            <p:cNvSpPr/>
            <p:nvPr/>
          </p:nvSpPr>
          <p:spPr>
            <a:xfrm flipV="1">
              <a:off x="328457" y="6217199"/>
              <a:ext cx="8568000" cy="36000"/>
            </a:xfrm>
            <a:prstGeom prst="parallelogram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6629400" y="5754158"/>
              <a:ext cx="519113" cy="288132"/>
              <a:chOff x="5934075" y="5579268"/>
              <a:chExt cx="519113" cy="288132"/>
            </a:xfrm>
          </p:grpSpPr>
          <p:sp>
            <p:nvSpPr>
              <p:cNvPr id="31" name="梯形 30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梯形 31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2307431" y="5754158"/>
              <a:ext cx="519113" cy="288132"/>
              <a:chOff x="5934075" y="5579268"/>
              <a:chExt cx="519113" cy="288132"/>
            </a:xfrm>
          </p:grpSpPr>
          <p:sp>
            <p:nvSpPr>
              <p:cNvPr id="34" name="梯形 33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梯形 34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866775" y="5754158"/>
              <a:ext cx="519113" cy="288132"/>
              <a:chOff x="5934075" y="5579268"/>
              <a:chExt cx="519113" cy="288132"/>
            </a:xfrm>
          </p:grpSpPr>
          <p:sp>
            <p:nvSpPr>
              <p:cNvPr id="37" name="梯形 36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梯形 37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>
              <a:off x="3748087" y="5754158"/>
              <a:ext cx="519113" cy="288132"/>
              <a:chOff x="5934075" y="5579268"/>
              <a:chExt cx="519113" cy="288132"/>
            </a:xfrm>
          </p:grpSpPr>
          <p:sp>
            <p:nvSpPr>
              <p:cNvPr id="40" name="梯形 39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梯形 40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6" name="矩形: 圆角 65"/>
            <p:cNvSpPr/>
            <p:nvPr/>
          </p:nvSpPr>
          <p:spPr>
            <a:xfrm>
              <a:off x="776287" y="3896532"/>
              <a:ext cx="700088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光源</a:t>
              </a:r>
            </a:p>
          </p:txBody>
        </p:sp>
        <p:sp>
          <p:nvSpPr>
            <p:cNvPr id="67" name="矩形: 圆角 66"/>
            <p:cNvSpPr/>
            <p:nvPr/>
          </p:nvSpPr>
          <p:spPr>
            <a:xfrm>
              <a:off x="776287" y="3201207"/>
              <a:ext cx="700088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镜头</a:t>
              </a:r>
            </a:p>
          </p:txBody>
        </p:sp>
        <p:sp>
          <p:nvSpPr>
            <p:cNvPr id="68" name="矩形: 圆角 67"/>
            <p:cNvSpPr/>
            <p:nvPr/>
          </p:nvSpPr>
          <p:spPr>
            <a:xfrm>
              <a:off x="776287" y="2395963"/>
              <a:ext cx="700088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相机</a:t>
              </a:r>
            </a:p>
          </p:txBody>
        </p:sp>
        <p:sp>
          <p:nvSpPr>
            <p:cNvPr id="69" name="矩形: 圆角 68"/>
            <p:cNvSpPr/>
            <p:nvPr/>
          </p:nvSpPr>
          <p:spPr>
            <a:xfrm>
              <a:off x="776287" y="4903007"/>
              <a:ext cx="700088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工件</a:t>
              </a:r>
            </a:p>
          </p:txBody>
        </p:sp>
        <p:sp>
          <p:nvSpPr>
            <p:cNvPr id="70" name="矩形: 圆角 69"/>
            <p:cNvSpPr/>
            <p:nvPr/>
          </p:nvSpPr>
          <p:spPr>
            <a:xfrm>
              <a:off x="3498849" y="2156916"/>
              <a:ext cx="1020764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光源控制器</a:t>
              </a:r>
            </a:p>
          </p:txBody>
        </p:sp>
        <p:sp>
          <p:nvSpPr>
            <p:cNvPr id="71" name="矩形: 圆角 70"/>
            <p:cNvSpPr/>
            <p:nvPr/>
          </p:nvSpPr>
          <p:spPr>
            <a:xfrm>
              <a:off x="4678361" y="2156916"/>
              <a:ext cx="1020764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视觉控制器</a:t>
              </a:r>
            </a:p>
          </p:txBody>
        </p:sp>
        <p:cxnSp>
          <p:nvCxnSpPr>
            <p:cNvPr id="121" name="直接连接符 120"/>
            <p:cNvCxnSpPr>
              <a:stCxn id="69" idx="2"/>
            </p:cNvCxnSpPr>
            <p:nvPr/>
          </p:nvCxnSpPr>
          <p:spPr>
            <a:xfrm>
              <a:off x="1126331" y="5119007"/>
              <a:ext cx="0" cy="721353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/>
            <p:cNvCxnSpPr>
              <a:stCxn id="70" idx="2"/>
            </p:cNvCxnSpPr>
            <p:nvPr/>
          </p:nvCxnSpPr>
          <p:spPr>
            <a:xfrm>
              <a:off x="4009231" y="2372916"/>
              <a:ext cx="0" cy="302763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直接连接符 133"/>
            <p:cNvCxnSpPr/>
            <p:nvPr/>
          </p:nvCxnSpPr>
          <p:spPr>
            <a:xfrm>
              <a:off x="5188743" y="2372916"/>
              <a:ext cx="0" cy="302763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矩形: 圆角 134"/>
            <p:cNvSpPr/>
            <p:nvPr/>
          </p:nvSpPr>
          <p:spPr>
            <a:xfrm>
              <a:off x="4317348" y="4903007"/>
              <a:ext cx="744766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传送带</a:t>
              </a: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4689731" y="5119007"/>
              <a:ext cx="0" cy="573716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矩形: 圆角 77"/>
            <p:cNvSpPr/>
            <p:nvPr/>
          </p:nvSpPr>
          <p:spPr>
            <a:xfrm>
              <a:off x="6007967" y="4903007"/>
              <a:ext cx="744766" cy="216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40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+mn-ea"/>
                </a:rPr>
                <a:t>显示器</a:t>
              </a:r>
            </a:p>
          </p:txBody>
        </p:sp>
        <p:cxnSp>
          <p:nvCxnSpPr>
            <p:cNvPr id="141" name="直接连接符 140"/>
            <p:cNvCxnSpPr>
              <a:stCxn id="78" idx="3"/>
            </p:cNvCxnSpPr>
            <p:nvPr/>
          </p:nvCxnSpPr>
          <p:spPr>
            <a:xfrm>
              <a:off x="6752733" y="5011007"/>
              <a:ext cx="391017" cy="0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3" name="组合 152"/>
            <p:cNvGrpSpPr/>
            <p:nvPr/>
          </p:nvGrpSpPr>
          <p:grpSpPr>
            <a:xfrm>
              <a:off x="8070057" y="5754158"/>
              <a:ext cx="519113" cy="288132"/>
              <a:chOff x="5934075" y="5579268"/>
              <a:chExt cx="519113" cy="288132"/>
            </a:xfrm>
          </p:grpSpPr>
          <p:sp>
            <p:nvSpPr>
              <p:cNvPr id="154" name="梯形 153"/>
              <p:cNvSpPr/>
              <p:nvPr/>
            </p:nvSpPr>
            <p:spPr>
              <a:xfrm>
                <a:off x="5934075" y="5579268"/>
                <a:ext cx="519113" cy="232316"/>
              </a:xfrm>
              <a:prstGeom prst="trapezoid">
                <a:avLst>
                  <a:gd name="adj" fmla="val 9625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5" name="梯形 154"/>
              <p:cNvSpPr/>
              <p:nvPr/>
            </p:nvSpPr>
            <p:spPr>
              <a:xfrm>
                <a:off x="5934075" y="5807612"/>
                <a:ext cx="519113" cy="59788"/>
              </a:xfrm>
              <a:prstGeom prst="trapezoid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42" name="图片 41" descr="银色的照相机&#10;&#10;中度可信度描述已自动生成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0800000">
              <a:off x="2319777" y="3025781"/>
              <a:ext cx="485334" cy="718968"/>
            </a:xfrm>
            <a:prstGeom prst="rect">
              <a:avLst/>
            </a:prstGeom>
          </p:spPr>
        </p:pic>
        <p:sp>
          <p:nvSpPr>
            <p:cNvPr id="47" name="任意多边形: 形状 46"/>
            <p:cNvSpPr/>
            <p:nvPr/>
          </p:nvSpPr>
          <p:spPr>
            <a:xfrm>
              <a:off x="2971800" y="3405986"/>
              <a:ext cx="749300" cy="604123"/>
            </a:xfrm>
            <a:custGeom>
              <a:avLst/>
              <a:gdLst>
                <a:gd name="connsiteX0" fmla="*/ 0 w 749300"/>
                <a:gd name="connsiteY0" fmla="*/ 577850 h 577850"/>
                <a:gd name="connsiteX1" fmla="*/ 749300 w 749300"/>
                <a:gd name="connsiteY1" fmla="*/ 0 h 577850"/>
                <a:gd name="connsiteX0-1" fmla="*/ 0 w 749300"/>
                <a:gd name="connsiteY0-2" fmla="*/ 578123 h 578123"/>
                <a:gd name="connsiteX1-3" fmla="*/ 749300 w 749300"/>
                <a:gd name="connsiteY1-4" fmla="*/ 273 h 578123"/>
                <a:gd name="connsiteX0-5" fmla="*/ 0 w 749300"/>
                <a:gd name="connsiteY0-6" fmla="*/ 578017 h 583125"/>
                <a:gd name="connsiteX1-7" fmla="*/ 749300 w 749300"/>
                <a:gd name="connsiteY1-8" fmla="*/ 167 h 583125"/>
                <a:gd name="connsiteX0-9" fmla="*/ 0 w 749300"/>
                <a:gd name="connsiteY0-10" fmla="*/ 581716 h 586491"/>
                <a:gd name="connsiteX1-11" fmla="*/ 749300 w 749300"/>
                <a:gd name="connsiteY1-12" fmla="*/ 3866 h 586491"/>
                <a:gd name="connsiteX0-13" fmla="*/ 0 w 749300"/>
                <a:gd name="connsiteY0-14" fmla="*/ 603040 h 607683"/>
                <a:gd name="connsiteX1-15" fmla="*/ 749300 w 749300"/>
                <a:gd name="connsiteY1-16" fmla="*/ 3759 h 607683"/>
                <a:gd name="connsiteX0-17" fmla="*/ 0 w 749300"/>
                <a:gd name="connsiteY0-18" fmla="*/ 603244 h 604123"/>
                <a:gd name="connsiteX1-19" fmla="*/ 749300 w 749300"/>
                <a:gd name="connsiteY1-20" fmla="*/ 3963 h 60412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749300" h="604123">
                  <a:moveTo>
                    <a:pt x="0" y="603244"/>
                  </a:moveTo>
                  <a:cubicBezTo>
                    <a:pt x="309298" y="632082"/>
                    <a:pt x="170920" y="-58213"/>
                    <a:pt x="749300" y="3963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2645569" y="2171874"/>
              <a:ext cx="2235994" cy="1016619"/>
            </a:xfrm>
            <a:custGeom>
              <a:avLst/>
              <a:gdLst>
                <a:gd name="connsiteX0" fmla="*/ 0 w 2235994"/>
                <a:gd name="connsiteY0" fmla="*/ 0 h 959644"/>
                <a:gd name="connsiteX1" fmla="*/ 762000 w 2235994"/>
                <a:gd name="connsiteY1" fmla="*/ 216694 h 959644"/>
                <a:gd name="connsiteX2" fmla="*/ 2235994 w 2235994"/>
                <a:gd name="connsiteY2" fmla="*/ 959644 h 959644"/>
                <a:gd name="connsiteX0-1" fmla="*/ 0 w 2235994"/>
                <a:gd name="connsiteY0-2" fmla="*/ 120668 h 1080312"/>
                <a:gd name="connsiteX1-3" fmla="*/ 762000 w 2235994"/>
                <a:gd name="connsiteY1-4" fmla="*/ 337362 h 1080312"/>
                <a:gd name="connsiteX2-5" fmla="*/ 2235994 w 2235994"/>
                <a:gd name="connsiteY2-6" fmla="*/ 1080312 h 1080312"/>
                <a:gd name="connsiteX0-7" fmla="*/ 0 w 2235994"/>
                <a:gd name="connsiteY0-8" fmla="*/ 151239 h 1110883"/>
                <a:gd name="connsiteX1-9" fmla="*/ 762000 w 2235994"/>
                <a:gd name="connsiteY1-10" fmla="*/ 367933 h 1110883"/>
                <a:gd name="connsiteX2-11" fmla="*/ 2235994 w 2235994"/>
                <a:gd name="connsiteY2-12" fmla="*/ 1110883 h 1110883"/>
                <a:gd name="connsiteX0-13" fmla="*/ 0 w 2235994"/>
                <a:gd name="connsiteY0-14" fmla="*/ 165295 h 1124939"/>
                <a:gd name="connsiteX1-15" fmla="*/ 762000 w 2235994"/>
                <a:gd name="connsiteY1-16" fmla="*/ 381989 h 1124939"/>
                <a:gd name="connsiteX2-17" fmla="*/ 2235994 w 2235994"/>
                <a:gd name="connsiteY2-18" fmla="*/ 1124939 h 1124939"/>
                <a:gd name="connsiteX0-19" fmla="*/ 0 w 2235994"/>
                <a:gd name="connsiteY0-20" fmla="*/ 165295 h 1124939"/>
                <a:gd name="connsiteX1-21" fmla="*/ 762000 w 2235994"/>
                <a:gd name="connsiteY1-22" fmla="*/ 381989 h 1124939"/>
                <a:gd name="connsiteX2-23" fmla="*/ 2235994 w 2235994"/>
                <a:gd name="connsiteY2-24" fmla="*/ 1124939 h 1124939"/>
                <a:gd name="connsiteX0-25" fmla="*/ 0 w 2235994"/>
                <a:gd name="connsiteY0-26" fmla="*/ 131719 h 988969"/>
                <a:gd name="connsiteX1-27" fmla="*/ 762000 w 2235994"/>
                <a:gd name="connsiteY1-28" fmla="*/ 348413 h 988969"/>
                <a:gd name="connsiteX2-29" fmla="*/ 2235994 w 2235994"/>
                <a:gd name="connsiteY2-30" fmla="*/ 988969 h 988969"/>
                <a:gd name="connsiteX0-31" fmla="*/ 0 w 2235994"/>
                <a:gd name="connsiteY0-32" fmla="*/ 159369 h 1016619"/>
                <a:gd name="connsiteX1-33" fmla="*/ 762000 w 2235994"/>
                <a:gd name="connsiteY1-34" fmla="*/ 376063 h 1016619"/>
                <a:gd name="connsiteX2-35" fmla="*/ 2235994 w 2235994"/>
                <a:gd name="connsiteY2-36" fmla="*/ 1016619 h 1016619"/>
                <a:gd name="connsiteX0-37" fmla="*/ 0 w 2235994"/>
                <a:gd name="connsiteY0-38" fmla="*/ 159369 h 1016619"/>
                <a:gd name="connsiteX1-39" fmla="*/ 762000 w 2235994"/>
                <a:gd name="connsiteY1-40" fmla="*/ 376063 h 1016619"/>
                <a:gd name="connsiteX2-41" fmla="*/ 2235994 w 2235994"/>
                <a:gd name="connsiteY2-42" fmla="*/ 1016619 h 101661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</a:cxnLst>
              <a:rect l="l" t="t" r="r" b="b"/>
              <a:pathLst>
                <a:path w="2235994" h="1016619">
                  <a:moveTo>
                    <a:pt x="0" y="159369"/>
                  </a:moveTo>
                  <a:cubicBezTo>
                    <a:pt x="327819" y="-182737"/>
                    <a:pt x="606028" y="90313"/>
                    <a:pt x="762000" y="376063"/>
                  </a:cubicBezTo>
                  <a:cubicBezTo>
                    <a:pt x="917972" y="661813"/>
                    <a:pt x="1082675" y="988044"/>
                    <a:pt x="2235994" y="1016619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91" name="图片 90"/>
            <p:cNvPicPr/>
            <p:nvPr/>
          </p:nvPicPr>
          <p:blipFill>
            <a:blip r:embed="rId12" cstate="screen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7729" b="98551" l="9694" r="89796">
                          <a14:foregroundMark x1="26531" y1="10628" x2="63265" y2="13043"/>
                          <a14:foregroundMark x1="17857" y1="11594" x2="18878" y2="90338"/>
                          <a14:foregroundMark x1="32143" y1="98551" x2="53061" y2="96618"/>
                          <a14:foregroundMark x1="86224" y1="24638" x2="54592" y2="10628"/>
                          <a14:foregroundMark x1="23469" y1="8696" x2="53061" y2="77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45183" y="2730230"/>
              <a:ext cx="998144" cy="1054161"/>
            </a:xfrm>
            <a:prstGeom prst="rect">
              <a:avLst/>
            </a:prstGeom>
          </p:spPr>
        </p:pic>
        <p:grpSp>
          <p:nvGrpSpPr>
            <p:cNvPr id="46" name="组合 45"/>
            <p:cNvGrpSpPr/>
            <p:nvPr/>
          </p:nvGrpSpPr>
          <p:grpSpPr>
            <a:xfrm>
              <a:off x="2119315" y="3774165"/>
              <a:ext cx="942972" cy="366293"/>
              <a:chOff x="2147890" y="3774165"/>
              <a:chExt cx="881059" cy="366293"/>
            </a:xfrm>
          </p:grpSpPr>
          <p:sp>
            <p:nvSpPr>
              <p:cNvPr id="122" name="任意多边形: 形状 121"/>
              <p:cNvSpPr/>
              <p:nvPr/>
            </p:nvSpPr>
            <p:spPr>
              <a:xfrm>
                <a:off x="2150271" y="3807619"/>
                <a:ext cx="878678" cy="332839"/>
              </a:xfrm>
              <a:custGeom>
                <a:avLst/>
                <a:gdLst>
                  <a:gd name="connsiteX0" fmla="*/ 2378 w 878678"/>
                  <a:gd name="connsiteY0" fmla="*/ 0 h 332839"/>
                  <a:gd name="connsiteX1" fmla="*/ 869153 w 878678"/>
                  <a:gd name="connsiteY1" fmla="*/ 2381 h 332839"/>
                  <a:gd name="connsiteX2" fmla="*/ 878678 w 878678"/>
                  <a:gd name="connsiteY2" fmla="*/ 297656 h 332839"/>
                  <a:gd name="connsiteX3" fmla="*/ 864569 w 878678"/>
                  <a:gd name="connsiteY3" fmla="*/ 297656 h 332839"/>
                  <a:gd name="connsiteX4" fmla="*/ 866774 w 878678"/>
                  <a:gd name="connsiteY4" fmla="*/ 298521 h 332839"/>
                  <a:gd name="connsiteX5" fmla="*/ 433387 w 878678"/>
                  <a:gd name="connsiteY5" fmla="*/ 332839 h 332839"/>
                  <a:gd name="connsiteX6" fmla="*/ 0 w 878678"/>
                  <a:gd name="connsiteY6" fmla="*/ 298521 h 332839"/>
                  <a:gd name="connsiteX7" fmla="*/ 2378 w 878678"/>
                  <a:gd name="connsiteY7" fmla="*/ 297588 h 332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8678" h="332839">
                    <a:moveTo>
                      <a:pt x="2378" y="0"/>
                    </a:moveTo>
                    <a:lnTo>
                      <a:pt x="869153" y="2381"/>
                    </a:lnTo>
                    <a:lnTo>
                      <a:pt x="878678" y="297656"/>
                    </a:lnTo>
                    <a:lnTo>
                      <a:pt x="864569" y="297656"/>
                    </a:lnTo>
                    <a:lnTo>
                      <a:pt x="866774" y="298521"/>
                    </a:lnTo>
                    <a:cubicBezTo>
                      <a:pt x="866774" y="317474"/>
                      <a:pt x="672740" y="332839"/>
                      <a:pt x="433387" y="332839"/>
                    </a:cubicBezTo>
                    <a:cubicBezTo>
                      <a:pt x="194034" y="332839"/>
                      <a:pt x="0" y="317474"/>
                      <a:pt x="0" y="298521"/>
                    </a:cubicBezTo>
                    <a:lnTo>
                      <a:pt x="2378" y="297588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44" name="椭圆 43"/>
              <p:cNvSpPr/>
              <p:nvPr/>
            </p:nvSpPr>
            <p:spPr>
              <a:xfrm>
                <a:off x="2147890" y="3774165"/>
                <a:ext cx="866774" cy="6863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3" name="椭圆 122"/>
              <p:cNvSpPr/>
              <p:nvPr/>
            </p:nvSpPr>
            <p:spPr>
              <a:xfrm>
                <a:off x="2292588" y="3785623"/>
                <a:ext cx="577378" cy="4571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2255044" y="2262188"/>
              <a:ext cx="585787" cy="854868"/>
              <a:chOff x="2255044" y="2262188"/>
              <a:chExt cx="488763" cy="1085850"/>
            </a:xfrm>
          </p:grpSpPr>
          <p:pic>
            <p:nvPicPr>
              <p:cNvPr id="101" name="图片 100" descr="银色的机器&#10;&#10;描述已自动生成"/>
              <p:cNvPicPr>
                <a:picLocks noChangeAspect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 rot="5400000" flipH="1">
                <a:off x="1835944" y="2681288"/>
                <a:ext cx="1085850" cy="247650"/>
              </a:xfrm>
              <a:prstGeom prst="rect">
                <a:avLst/>
              </a:prstGeom>
            </p:spPr>
          </p:pic>
          <p:pic>
            <p:nvPicPr>
              <p:cNvPr id="114" name="图片 113" descr="银色的机器&#10;&#10;描述已自动生成"/>
              <p:cNvPicPr>
                <a:picLocks noChangeAspect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 rot="16200000">
                <a:off x="2077057" y="2681288"/>
                <a:ext cx="1085850" cy="247650"/>
              </a:xfrm>
              <a:prstGeom prst="rect">
                <a:avLst/>
              </a:prstGeom>
            </p:spPr>
          </p:pic>
        </p:grpSp>
        <p:cxnSp>
          <p:nvCxnSpPr>
            <p:cNvPr id="125" name="直接连接符 124"/>
            <p:cNvCxnSpPr>
              <a:stCxn id="66" idx="3"/>
            </p:cNvCxnSpPr>
            <p:nvPr/>
          </p:nvCxnSpPr>
          <p:spPr>
            <a:xfrm>
              <a:off x="1476375" y="4004532"/>
              <a:ext cx="720000" cy="0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直接连接符 127"/>
            <p:cNvCxnSpPr/>
            <p:nvPr/>
          </p:nvCxnSpPr>
          <p:spPr>
            <a:xfrm>
              <a:off x="1476375" y="3309207"/>
              <a:ext cx="936000" cy="0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直接连接符 129"/>
            <p:cNvCxnSpPr/>
            <p:nvPr/>
          </p:nvCxnSpPr>
          <p:spPr>
            <a:xfrm>
              <a:off x="1476375" y="2503963"/>
              <a:ext cx="900000" cy="0"/>
            </a:xfrm>
            <a:prstGeom prst="line">
              <a:avLst/>
            </a:prstGeom>
            <a:ln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9C8C594A-2E6F-4554-B739-A3D6EFF8961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4348" b="95352" l="5298" r="97351">
                        <a14:foregroundMark x1="15673" y1="22789" x2="13907" y2="73463"/>
                        <a14:foregroundMark x1="13907" y1="73463" x2="63576" y2="95802"/>
                        <a14:foregroundMark x1="33775" y1="4348" x2="79912" y2="58771"/>
                        <a14:foregroundMark x1="79912" y1="58771" x2="77925" y2="87856"/>
                        <a14:foregroundMark x1="83002" y1="15742" x2="83002" y2="78261"/>
                        <a14:foregroundMark x1="89625" y1="14843" x2="97351" y2="77361"/>
                        <a14:foregroundMark x1="5298" y1="18441" x2="5298" y2="88756"/>
                        <a14:foregroundMark x1="49448" y1="5997" x2="84327" y2="130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468" y="2632998"/>
            <a:ext cx="705589" cy="103891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repeatCount="indefinite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8.33333E-7 -1.48148E-6 L -0.13399 -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06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repeatCount="indefinite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8.33333E-7 -1.48148E-6 L -0.13399 -1.48148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06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repeatCount="indefinite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8.33333E-7 -1.48148E-6 L -0.13451 -1.48148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32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repeatCount="indefinite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8.33333E-7 -1.48148E-6 L -0.13542 -1.48148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71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repeatCount="indefinite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66667E-6 3.7037E-6 L 0.13685 3.7037E-6 " pathEditMode="relative" rAng="0" ptsTypes="AA">
                                      <p:cBhvr>
                                        <p:cTn id="76" dur="1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36" y="0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repeatCount="indefinite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66667E-6 3.7037E-6 L 0.13659 3.7037E-6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23" y="0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42" presetClass="path" presetSubtype="0" repeatCount="indefinite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66667E-6 3.7037E-6 L 0.13711 3.7037E-6 " pathEditMode="relative" rAng="0" ptsTypes="AA">
                                      <p:cBhvr>
                                        <p:cTn id="86" dur="1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49" y="0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42" presetClass="path" presetSubtype="0" repeatCount="indefinite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66667E-6 3.7037E-6 L 0.13711 3.7037E-6 " pathEditMode="relative" rAng="0" ptsTypes="AA">
                                      <p:cBhvr>
                                        <p:cTn id="91" dur="10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4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49" grpId="0" animBg="1"/>
      <p:bldP spid="150" grpId="0" animBg="1"/>
      <p:bldP spid="156" grpId="0" animBg="1"/>
      <p:bldP spid="156" grpId="1" animBg="1"/>
      <p:bldP spid="157" grpId="0" animBg="1"/>
      <p:bldP spid="157" grpId="1" animBg="1"/>
      <p:bldP spid="158" grpId="0" animBg="1"/>
      <p:bldP spid="158" grpId="1" animBg="1"/>
      <p:bldP spid="159" grpId="0" animBg="1"/>
      <p:bldP spid="159" grpId="1" animBg="1"/>
      <p:bldP spid="174" grpId="0" animBg="1"/>
      <p:bldP spid="174" grpId="1" animBg="1"/>
      <p:bldP spid="175" grpId="0" animBg="1"/>
      <p:bldP spid="175" grpId="1" animBg="1"/>
      <p:bldP spid="176" grpId="0" animBg="1"/>
      <p:bldP spid="176" grpId="1" animBg="1"/>
      <p:bldP spid="177" grpId="0" animBg="1"/>
      <p:bldP spid="177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椭圆 78"/>
          <p:cNvSpPr/>
          <p:nvPr/>
        </p:nvSpPr>
        <p:spPr>
          <a:xfrm>
            <a:off x="2153138" y="2492840"/>
            <a:ext cx="1588582" cy="1587998"/>
          </a:xfrm>
          <a:prstGeom prst="ellipse">
            <a:avLst/>
          </a:prstGeom>
          <a:solidFill>
            <a:schemeClr val="accent1">
              <a:alpha val="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0" y="5307419"/>
            <a:ext cx="12192000" cy="756000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3" name="图片 32"/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2956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sp>
        <p:nvSpPr>
          <p:cNvPr id="25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32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制造市场广阔，</a:t>
            </a:r>
            <a:r>
              <a:rPr lang="zh-CN" altLang="en-US" sz="3200" dirty="0">
                <a:solidFill>
                  <a:schemeClr val="accent1"/>
                </a:solidFill>
                <a:latin typeface="+mj-ea"/>
              </a:rPr>
              <a:t>工业</a:t>
            </a:r>
            <a:r>
              <a:rPr lang="en-US" altLang="zh-CN" sz="3200" dirty="0">
                <a:solidFill>
                  <a:schemeClr val="accent1"/>
                </a:solidFill>
                <a:latin typeface="+mj-ea"/>
              </a:rPr>
              <a:t>AI</a:t>
            </a:r>
            <a:r>
              <a:rPr lang="zh-CN" altLang="en-US" sz="3200" dirty="0">
                <a:solidFill>
                  <a:schemeClr val="accent1"/>
                </a:solidFill>
                <a:latin typeface="+mj-ea"/>
              </a:rPr>
              <a:t>落地困难重重</a:t>
            </a:r>
          </a:p>
        </p:txBody>
      </p:sp>
      <p:pic>
        <p:nvPicPr>
          <p:cNvPr id="34" name="图片 33"/>
          <p:cNvPicPr/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78290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pic>
        <p:nvPicPr>
          <p:cNvPr id="35" name="图片 34"/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213623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pic>
        <p:nvPicPr>
          <p:cNvPr id="36" name="图片 35"/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48957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pic>
        <p:nvPicPr>
          <p:cNvPr id="37" name="图片 36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84290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pic>
        <p:nvPicPr>
          <p:cNvPr id="38" name="图片 37"/>
          <p:cNvPicPr/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0019623" y="5027751"/>
            <a:ext cx="1829477" cy="1029081"/>
          </a:xfrm>
          <a:prstGeom prst="round2SameRect">
            <a:avLst>
              <a:gd name="adj1" fmla="val 4326"/>
              <a:gd name="adj2" fmla="val 0"/>
            </a:avLst>
          </a:prstGeom>
          <a:ln w="3175">
            <a:noFill/>
          </a:ln>
        </p:spPr>
      </p:pic>
      <p:sp>
        <p:nvSpPr>
          <p:cNvPr id="40" name="矩形: 圆角 34"/>
          <p:cNvSpPr/>
          <p:nvPr/>
        </p:nvSpPr>
        <p:spPr>
          <a:xfrm>
            <a:off x="2388130" y="1958149"/>
            <a:ext cx="1118596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+mn-ea"/>
              </a:rPr>
              <a:t>标准量化</a:t>
            </a:r>
            <a:endParaRPr lang="zh-CN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1" name="矩形: 圆角 35"/>
          <p:cNvSpPr/>
          <p:nvPr/>
        </p:nvSpPr>
        <p:spPr>
          <a:xfrm>
            <a:off x="3751248" y="2483314"/>
            <a:ext cx="1090612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>
                <a:latin typeface="+mn-ea"/>
              </a:rPr>
              <a:t>需求明确</a:t>
            </a:r>
            <a:endParaRPr lang="zh-CN" altLang="en-US" sz="1200" dirty="0">
              <a:latin typeface="+mn-ea"/>
            </a:endParaRPr>
          </a:p>
        </p:txBody>
      </p:sp>
      <p:sp>
        <p:nvSpPr>
          <p:cNvPr id="42" name="矩形: 圆角 36"/>
          <p:cNvSpPr/>
          <p:nvPr/>
        </p:nvSpPr>
        <p:spPr>
          <a:xfrm>
            <a:off x="4006668" y="3178843"/>
            <a:ext cx="1075496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 dirty="0">
                <a:latin typeface="+mn-ea"/>
              </a:rPr>
              <a:t>场景确定</a:t>
            </a:r>
          </a:p>
        </p:txBody>
      </p:sp>
      <p:sp>
        <p:nvSpPr>
          <p:cNvPr id="43" name="矩形: 圆角 37"/>
          <p:cNvSpPr/>
          <p:nvPr/>
        </p:nvSpPr>
        <p:spPr>
          <a:xfrm>
            <a:off x="3751248" y="3871659"/>
            <a:ext cx="1981197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 dirty="0">
                <a:latin typeface="+mn-ea"/>
              </a:rPr>
              <a:t>所需适配的设备确定</a:t>
            </a:r>
          </a:p>
        </p:txBody>
      </p:sp>
      <p:sp>
        <p:nvSpPr>
          <p:cNvPr id="44" name="矩形: 圆角 38"/>
          <p:cNvSpPr/>
          <p:nvPr/>
        </p:nvSpPr>
        <p:spPr>
          <a:xfrm>
            <a:off x="500267" y="2483314"/>
            <a:ext cx="1648051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有良好的训练环境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5" name="矩形: 圆角 39"/>
          <p:cNvSpPr/>
          <p:nvPr/>
        </p:nvSpPr>
        <p:spPr>
          <a:xfrm>
            <a:off x="246938" y="3179682"/>
            <a:ext cx="1648051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样本一致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6" name="矩形: 圆角 40"/>
          <p:cNvSpPr/>
          <p:nvPr/>
        </p:nvSpPr>
        <p:spPr>
          <a:xfrm>
            <a:off x="500267" y="3871659"/>
            <a:ext cx="1648051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跨行业需求相似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8" name="椭圆 57"/>
          <p:cNvSpPr/>
          <p:nvPr/>
        </p:nvSpPr>
        <p:spPr>
          <a:xfrm>
            <a:off x="1983461" y="2323226"/>
            <a:ext cx="1927936" cy="1927226"/>
          </a:xfrm>
          <a:prstGeom prst="ellipse">
            <a:avLst/>
          </a:prstGeom>
          <a:noFill/>
          <a:ln w="3175">
            <a:solidFill>
              <a:schemeClr val="accent1">
                <a:alpha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9" name="椭圆 58"/>
          <p:cNvSpPr/>
          <p:nvPr/>
        </p:nvSpPr>
        <p:spPr>
          <a:xfrm>
            <a:off x="2053567" y="2393306"/>
            <a:ext cx="1787723" cy="1787064"/>
          </a:xfrm>
          <a:prstGeom prst="ellipse">
            <a:avLst/>
          </a:prstGeom>
          <a:noFill/>
          <a:ln w="3175">
            <a:solidFill>
              <a:schemeClr val="accent1">
                <a:alpha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1" name="椭圆 60"/>
          <p:cNvSpPr/>
          <p:nvPr/>
        </p:nvSpPr>
        <p:spPr>
          <a:xfrm>
            <a:off x="2237554" y="2577226"/>
            <a:ext cx="1419750" cy="1419226"/>
          </a:xfrm>
          <a:prstGeom prst="ellipse">
            <a:avLst/>
          </a:prstGeom>
          <a:solidFill>
            <a:schemeClr val="accent1">
              <a:alpha val="1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2" name="椭圆 61"/>
          <p:cNvSpPr/>
          <p:nvPr/>
        </p:nvSpPr>
        <p:spPr>
          <a:xfrm>
            <a:off x="2285451" y="2625105"/>
            <a:ext cx="1323955" cy="1323468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0" rtlCol="0" anchor="ctr"/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AI</a:t>
            </a:r>
            <a:r>
              <a:rPr lang="zh-CN" altLang="en-US" sz="2000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产业化</a:t>
            </a:r>
            <a:br>
              <a:rPr lang="en-US" altLang="zh-CN" sz="2000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</a:br>
            <a:r>
              <a:rPr lang="zh-CN" altLang="en-US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前提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342956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</a:rPr>
              <a:t>汽车行业</a:t>
            </a:r>
          </a:p>
        </p:txBody>
      </p:sp>
      <p:sp>
        <p:nvSpPr>
          <p:cNvPr id="72" name="文本框 71"/>
          <p:cNvSpPr txBox="1"/>
          <p:nvPr/>
        </p:nvSpPr>
        <p:spPr>
          <a:xfrm>
            <a:off x="2278290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消费电子行业</a:t>
            </a:r>
          </a:p>
        </p:txBody>
      </p:sp>
      <p:sp>
        <p:nvSpPr>
          <p:cNvPr id="73" name="文本框 72"/>
          <p:cNvSpPr txBox="1"/>
          <p:nvPr/>
        </p:nvSpPr>
        <p:spPr>
          <a:xfrm>
            <a:off x="4213623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PCB </a:t>
            </a:r>
            <a:r>
              <a:rPr lang="zh-CN" altLang="en-US" dirty="0"/>
              <a:t>行业</a:t>
            </a:r>
          </a:p>
        </p:txBody>
      </p:sp>
      <p:sp>
        <p:nvSpPr>
          <p:cNvPr id="74" name="文本框 73"/>
          <p:cNvSpPr txBox="1"/>
          <p:nvPr/>
        </p:nvSpPr>
        <p:spPr>
          <a:xfrm>
            <a:off x="6148957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食品溯源</a:t>
            </a:r>
          </a:p>
        </p:txBody>
      </p:sp>
      <p:sp>
        <p:nvSpPr>
          <p:cNvPr id="75" name="文本框 74"/>
          <p:cNvSpPr txBox="1"/>
          <p:nvPr/>
        </p:nvSpPr>
        <p:spPr>
          <a:xfrm>
            <a:off x="8084290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新能源检测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10019623" y="6052018"/>
            <a:ext cx="1829477" cy="288000"/>
          </a:xfrm>
          <a:prstGeom prst="round2SameRect">
            <a:avLst>
              <a:gd name="adj1" fmla="val 0"/>
              <a:gd name="adj2" fmla="val 15592"/>
            </a:avLst>
          </a:prstGeom>
          <a:solidFill>
            <a:schemeClr val="accent1"/>
          </a:solidFill>
          <a:ln w="3175">
            <a:noFill/>
          </a:ln>
        </p:spPr>
        <p:txBody>
          <a:bodyPr wrap="none" tIns="36000" bIns="18000" rtlCol="0" anchor="ctr" anchorCtr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家居品质分类</a:t>
            </a:r>
          </a:p>
        </p:txBody>
      </p:sp>
      <p:sp>
        <p:nvSpPr>
          <p:cNvPr id="82" name="椭圆 81"/>
          <p:cNvSpPr/>
          <p:nvPr/>
        </p:nvSpPr>
        <p:spPr>
          <a:xfrm>
            <a:off x="2911428" y="22813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椭圆 82"/>
          <p:cNvSpPr/>
          <p:nvPr/>
        </p:nvSpPr>
        <p:spPr>
          <a:xfrm>
            <a:off x="2911428" y="421679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椭圆 83"/>
          <p:cNvSpPr/>
          <p:nvPr/>
        </p:nvSpPr>
        <p:spPr>
          <a:xfrm>
            <a:off x="1941570" y="32508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椭圆 84"/>
          <p:cNvSpPr/>
          <p:nvPr/>
        </p:nvSpPr>
        <p:spPr>
          <a:xfrm>
            <a:off x="3875434" y="32508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椭圆 89"/>
          <p:cNvSpPr/>
          <p:nvPr/>
        </p:nvSpPr>
        <p:spPr>
          <a:xfrm>
            <a:off x="2232734" y="2567115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椭圆 90"/>
          <p:cNvSpPr/>
          <p:nvPr/>
        </p:nvSpPr>
        <p:spPr>
          <a:xfrm>
            <a:off x="2232734" y="393521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椭圆 91"/>
          <p:cNvSpPr/>
          <p:nvPr/>
        </p:nvSpPr>
        <p:spPr>
          <a:xfrm>
            <a:off x="3595645" y="2567115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椭圆 92"/>
          <p:cNvSpPr/>
          <p:nvPr/>
        </p:nvSpPr>
        <p:spPr>
          <a:xfrm>
            <a:off x="3595645" y="393521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矩形: 圆角 34"/>
          <p:cNvSpPr/>
          <p:nvPr/>
        </p:nvSpPr>
        <p:spPr>
          <a:xfrm>
            <a:off x="2388130" y="4404462"/>
            <a:ext cx="1118596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pPr algn="ctr"/>
            <a:r>
              <a:rPr lang="en-US" altLang="zh-CN" sz="1200">
                <a:latin typeface="+mn-ea"/>
              </a:rPr>
              <a:t>……</a:t>
            </a:r>
            <a:endParaRPr lang="en-US" altLang="zh-CN" sz="1200" dirty="0">
              <a:latin typeface="+mn-ea"/>
            </a:endParaRPr>
          </a:p>
        </p:txBody>
      </p:sp>
      <p:sp>
        <p:nvSpPr>
          <p:cNvPr id="95" name="椭圆 94"/>
          <p:cNvSpPr/>
          <p:nvPr/>
        </p:nvSpPr>
        <p:spPr>
          <a:xfrm>
            <a:off x="8462009" y="2492840"/>
            <a:ext cx="1588582" cy="1587998"/>
          </a:xfrm>
          <a:prstGeom prst="ellipse">
            <a:avLst/>
          </a:prstGeom>
          <a:solidFill>
            <a:schemeClr val="accent1">
              <a:alpha val="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6" name="矩形: 圆角 34"/>
          <p:cNvSpPr/>
          <p:nvPr/>
        </p:nvSpPr>
        <p:spPr>
          <a:xfrm>
            <a:off x="8562081" y="1958149"/>
            <a:ext cx="1388436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pPr algn="ctr"/>
            <a:r>
              <a:rPr lang="zh-CN" altLang="en-US" sz="1200">
                <a:latin typeface="+mn-ea"/>
              </a:rPr>
              <a:t>工业场景现状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7" name="矩形: 圆角 35"/>
          <p:cNvSpPr/>
          <p:nvPr/>
        </p:nvSpPr>
        <p:spPr>
          <a:xfrm>
            <a:off x="10060118" y="2483314"/>
            <a:ext cx="1643343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 dirty="0">
                <a:latin typeface="+mn-ea"/>
              </a:rPr>
              <a:t>频繁变更的需求</a:t>
            </a:r>
          </a:p>
        </p:txBody>
      </p:sp>
      <p:sp>
        <p:nvSpPr>
          <p:cNvPr id="98" name="矩形: 圆角 36"/>
          <p:cNvSpPr/>
          <p:nvPr/>
        </p:nvSpPr>
        <p:spPr>
          <a:xfrm>
            <a:off x="10315539" y="3178843"/>
            <a:ext cx="1472668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 dirty="0">
                <a:latin typeface="+mn-ea"/>
              </a:rPr>
              <a:t>频繁更换的场景</a:t>
            </a:r>
          </a:p>
        </p:txBody>
      </p:sp>
      <p:sp>
        <p:nvSpPr>
          <p:cNvPr id="99" name="矩形: 圆角 37"/>
          <p:cNvSpPr/>
          <p:nvPr/>
        </p:nvSpPr>
        <p:spPr>
          <a:xfrm>
            <a:off x="10060119" y="3871659"/>
            <a:ext cx="1981197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r>
              <a:rPr lang="zh-CN" altLang="en-US" sz="1200" dirty="0">
                <a:latin typeface="+mn-ea"/>
              </a:rPr>
              <a:t>频繁更换型号的设备</a:t>
            </a:r>
          </a:p>
        </p:txBody>
      </p:sp>
      <p:sp>
        <p:nvSpPr>
          <p:cNvPr id="100" name="矩形: 圆角 38"/>
          <p:cNvSpPr/>
          <p:nvPr/>
        </p:nvSpPr>
        <p:spPr>
          <a:xfrm>
            <a:off x="6251008" y="2483314"/>
            <a:ext cx="2206182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latin typeface="+mn-ea"/>
              </a:rPr>
              <a:t>难以提供良好的训练环境</a:t>
            </a:r>
          </a:p>
        </p:txBody>
      </p:sp>
      <p:sp>
        <p:nvSpPr>
          <p:cNvPr id="101" name="矩形: 圆角 39"/>
          <p:cNvSpPr/>
          <p:nvPr/>
        </p:nvSpPr>
        <p:spPr>
          <a:xfrm>
            <a:off x="5798853" y="3179682"/>
            <a:ext cx="2405007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latin typeface="+mn-ea"/>
              </a:rPr>
              <a:t>难以保证的样本一致性问题</a:t>
            </a:r>
          </a:p>
        </p:txBody>
      </p:sp>
      <p:sp>
        <p:nvSpPr>
          <p:cNvPr id="102" name="矩形: 圆角 40"/>
          <p:cNvSpPr/>
          <p:nvPr/>
        </p:nvSpPr>
        <p:spPr>
          <a:xfrm>
            <a:off x="6471284" y="3871659"/>
            <a:ext cx="1985905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75600" anchor="ctr" anchorCtr="0">
            <a:noAutofit/>
          </a:bodyPr>
          <a:lstStyle/>
          <a:p>
            <a:pPr algn="r"/>
            <a:r>
              <a:rPr lang="zh-CN" altLang="en-US" sz="1400" dirty="0">
                <a:latin typeface="+mn-ea"/>
              </a:rPr>
              <a:t>同行业细分领域之间</a:t>
            </a:r>
            <a:br>
              <a:rPr lang="en-US" altLang="zh-CN" sz="1400" dirty="0">
                <a:latin typeface="+mn-ea"/>
              </a:rPr>
            </a:br>
            <a:r>
              <a:rPr lang="zh-CN" altLang="en-US" sz="1400" dirty="0">
                <a:latin typeface="+mn-ea"/>
              </a:rPr>
              <a:t>需求千差万别</a:t>
            </a:r>
          </a:p>
        </p:txBody>
      </p:sp>
      <p:sp>
        <p:nvSpPr>
          <p:cNvPr id="103" name="椭圆 102"/>
          <p:cNvSpPr/>
          <p:nvPr/>
        </p:nvSpPr>
        <p:spPr>
          <a:xfrm>
            <a:off x="8292332" y="2323226"/>
            <a:ext cx="1927936" cy="1927226"/>
          </a:xfrm>
          <a:prstGeom prst="ellipse">
            <a:avLst/>
          </a:prstGeom>
          <a:noFill/>
          <a:ln w="3175">
            <a:solidFill>
              <a:schemeClr val="accent1">
                <a:alpha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4" name="椭圆 103"/>
          <p:cNvSpPr/>
          <p:nvPr/>
        </p:nvSpPr>
        <p:spPr>
          <a:xfrm>
            <a:off x="8362438" y="2393306"/>
            <a:ext cx="1787723" cy="1787064"/>
          </a:xfrm>
          <a:prstGeom prst="ellipse">
            <a:avLst/>
          </a:prstGeom>
          <a:noFill/>
          <a:ln w="3175">
            <a:solidFill>
              <a:schemeClr val="accent1">
                <a:alpha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5" name="椭圆 104"/>
          <p:cNvSpPr/>
          <p:nvPr/>
        </p:nvSpPr>
        <p:spPr>
          <a:xfrm>
            <a:off x="8546425" y="2577226"/>
            <a:ext cx="1419750" cy="1419226"/>
          </a:xfrm>
          <a:prstGeom prst="ellipse">
            <a:avLst/>
          </a:prstGeom>
          <a:solidFill>
            <a:schemeClr val="accent1">
              <a:alpha val="1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6" name="椭圆 105"/>
          <p:cNvSpPr/>
          <p:nvPr/>
        </p:nvSpPr>
        <p:spPr>
          <a:xfrm>
            <a:off x="8594322" y="2625105"/>
            <a:ext cx="1323955" cy="1323468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0" rtlCol="0" anchor="ctr"/>
          <a:lstStyle/>
          <a:p>
            <a:pPr algn="ctr"/>
            <a:r>
              <a:rPr lang="zh-CN" altLang="en-US" sz="200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工业场景</a:t>
            </a:r>
            <a:br>
              <a:rPr lang="en-US" altLang="zh-CN" sz="2000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</a:br>
            <a:r>
              <a:rPr lang="zh-CN" altLang="en-US" sz="2000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现状</a:t>
            </a:r>
          </a:p>
        </p:txBody>
      </p:sp>
      <p:sp>
        <p:nvSpPr>
          <p:cNvPr id="107" name="椭圆 106"/>
          <p:cNvSpPr/>
          <p:nvPr/>
        </p:nvSpPr>
        <p:spPr>
          <a:xfrm>
            <a:off x="9220299" y="22813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/>
          <p:cNvSpPr/>
          <p:nvPr/>
        </p:nvSpPr>
        <p:spPr>
          <a:xfrm>
            <a:off x="9220299" y="421679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椭圆 108"/>
          <p:cNvSpPr/>
          <p:nvPr/>
        </p:nvSpPr>
        <p:spPr>
          <a:xfrm>
            <a:off x="8250441" y="32508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椭圆 109"/>
          <p:cNvSpPr/>
          <p:nvPr/>
        </p:nvSpPr>
        <p:spPr>
          <a:xfrm>
            <a:off x="10184305" y="3250838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椭圆 110"/>
          <p:cNvSpPr/>
          <p:nvPr/>
        </p:nvSpPr>
        <p:spPr>
          <a:xfrm>
            <a:off x="8541605" y="2567115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椭圆 111"/>
          <p:cNvSpPr/>
          <p:nvPr/>
        </p:nvSpPr>
        <p:spPr>
          <a:xfrm>
            <a:off x="8541605" y="393521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椭圆 112"/>
          <p:cNvSpPr/>
          <p:nvPr/>
        </p:nvSpPr>
        <p:spPr>
          <a:xfrm>
            <a:off x="9904516" y="2567115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椭圆 113"/>
          <p:cNvSpPr/>
          <p:nvPr/>
        </p:nvSpPr>
        <p:spPr>
          <a:xfrm>
            <a:off x="9904516" y="3935219"/>
            <a:ext cx="72000" cy="72000"/>
          </a:xfrm>
          <a:prstGeom prst="ellipse">
            <a:avLst/>
          </a:prstGeom>
          <a:ln w="2540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5" name="矩形: 圆角 34"/>
          <p:cNvSpPr/>
          <p:nvPr/>
        </p:nvSpPr>
        <p:spPr>
          <a:xfrm>
            <a:off x="8697001" y="4404462"/>
            <a:ext cx="1118596" cy="214315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txBody>
          <a:bodyPr wrap="none" tIns="36000" bIns="18000" anchor="ctr" anchorCtr="0">
            <a:noAutofit/>
          </a:bodyPr>
          <a:lstStyle/>
          <a:p>
            <a:pPr algn="ctr"/>
            <a:r>
              <a:rPr lang="en-US" altLang="zh-CN" sz="1200">
                <a:latin typeface="+mn-ea"/>
              </a:rPr>
              <a:t>……</a:t>
            </a:r>
            <a:endParaRPr lang="en-US" altLang="zh-CN" sz="1200" dirty="0">
              <a:latin typeface="+mn-ea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342900" y="1096482"/>
            <a:ext cx="115062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400">
                <a:latin typeface="+mj-ea"/>
                <a:ea typeface="+mj-ea"/>
              </a:defRPr>
            </a:lvl1pPr>
          </a:lstStyle>
          <a:p>
            <a:r>
              <a:rPr lang="zh-CN" altLang="en-US" sz="22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工业产品种类多，生产周期短，现有</a:t>
            </a:r>
            <a:r>
              <a:rPr lang="en-US" altLang="zh-CN" sz="22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sz="2200" dirty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打法无法满足规模化交付需求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98780" y="6389207"/>
            <a:ext cx="300990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i="1" spc="300" dirty="0">
                <a:solidFill>
                  <a:schemeClr val="bg1">
                    <a:alpha val="50000"/>
                  </a:schemeClr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Arial" panose="020B0604020202020204" pitchFamily="34" charset="0"/>
              </a:rPr>
              <a:t>www.smartmore.com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680251" y="3594090"/>
            <a:ext cx="3349662" cy="6642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algn="r">
              <a:lnSpc>
                <a:spcPct val="90000"/>
              </a:lnSpc>
              <a:spcBef>
                <a:spcPct val="0"/>
              </a:spcBef>
              <a:buNone/>
              <a:defRPr sz="4800">
                <a:solidFill>
                  <a:schemeClr val="accent1"/>
                </a:solidFill>
                <a:latin typeface="+mj-ea"/>
                <a:ea typeface="+mj-ea"/>
                <a:cs typeface="+mj-cs"/>
              </a:defRPr>
            </a:lvl1pPr>
          </a:lstStyle>
          <a:p>
            <a:r>
              <a:rPr lang="zh-CN" altLang="en-US" dirty="0"/>
              <a:t>应用案例</a:t>
            </a:r>
          </a:p>
        </p:txBody>
      </p:sp>
      <p:sp>
        <p:nvSpPr>
          <p:cNvPr id="5" name="任意多边形: 形状 4"/>
          <p:cNvSpPr/>
          <p:nvPr/>
        </p:nvSpPr>
        <p:spPr>
          <a:xfrm>
            <a:off x="7851887" y="3298237"/>
            <a:ext cx="1193688" cy="691083"/>
          </a:xfrm>
          <a:custGeom>
            <a:avLst/>
            <a:gdLst>
              <a:gd name="connsiteX0" fmla="*/ 1796695 w 1845255"/>
              <a:gd name="connsiteY0" fmla="*/ 971187 h 1068306"/>
              <a:gd name="connsiteX1" fmla="*/ 1845255 w 1845255"/>
              <a:gd name="connsiteY1" fmla="*/ 1019746 h 1068306"/>
              <a:gd name="connsiteX2" fmla="*/ 1796695 w 1845255"/>
              <a:gd name="connsiteY2" fmla="*/ 1068306 h 1068306"/>
              <a:gd name="connsiteX3" fmla="*/ 1748136 w 1845255"/>
              <a:gd name="connsiteY3" fmla="*/ 1019746 h 1068306"/>
              <a:gd name="connsiteX4" fmla="*/ 1796695 w 1845255"/>
              <a:gd name="connsiteY4" fmla="*/ 971187 h 1068306"/>
              <a:gd name="connsiteX5" fmla="*/ 1602458 w 1845255"/>
              <a:gd name="connsiteY5" fmla="*/ 971187 h 1068306"/>
              <a:gd name="connsiteX6" fmla="*/ 1651018 w 1845255"/>
              <a:gd name="connsiteY6" fmla="*/ 1019746 h 1068306"/>
              <a:gd name="connsiteX7" fmla="*/ 1602458 w 1845255"/>
              <a:gd name="connsiteY7" fmla="*/ 1068306 h 1068306"/>
              <a:gd name="connsiteX8" fmla="*/ 1553898 w 1845255"/>
              <a:gd name="connsiteY8" fmla="*/ 1019746 h 1068306"/>
              <a:gd name="connsiteX9" fmla="*/ 1602458 w 1845255"/>
              <a:gd name="connsiteY9" fmla="*/ 971187 h 1068306"/>
              <a:gd name="connsiteX10" fmla="*/ 1408221 w 1845255"/>
              <a:gd name="connsiteY10" fmla="*/ 971187 h 1068306"/>
              <a:gd name="connsiteX11" fmla="*/ 1456780 w 1845255"/>
              <a:gd name="connsiteY11" fmla="*/ 1019746 h 1068306"/>
              <a:gd name="connsiteX12" fmla="*/ 1408221 w 1845255"/>
              <a:gd name="connsiteY12" fmla="*/ 1068306 h 1068306"/>
              <a:gd name="connsiteX13" fmla="*/ 1359661 w 1845255"/>
              <a:gd name="connsiteY13" fmla="*/ 1019746 h 1068306"/>
              <a:gd name="connsiteX14" fmla="*/ 1408221 w 1845255"/>
              <a:gd name="connsiteY14" fmla="*/ 971187 h 1068306"/>
              <a:gd name="connsiteX15" fmla="*/ 1213983 w 1845255"/>
              <a:gd name="connsiteY15" fmla="*/ 971187 h 1068306"/>
              <a:gd name="connsiteX16" fmla="*/ 1262543 w 1845255"/>
              <a:gd name="connsiteY16" fmla="*/ 1019746 h 1068306"/>
              <a:gd name="connsiteX17" fmla="*/ 1213983 w 1845255"/>
              <a:gd name="connsiteY17" fmla="*/ 1068306 h 1068306"/>
              <a:gd name="connsiteX18" fmla="*/ 1165424 w 1845255"/>
              <a:gd name="connsiteY18" fmla="*/ 1019746 h 1068306"/>
              <a:gd name="connsiteX19" fmla="*/ 1213983 w 1845255"/>
              <a:gd name="connsiteY19" fmla="*/ 971187 h 1068306"/>
              <a:gd name="connsiteX20" fmla="*/ 1019746 w 1845255"/>
              <a:gd name="connsiteY20" fmla="*/ 971187 h 1068306"/>
              <a:gd name="connsiteX21" fmla="*/ 1068306 w 1845255"/>
              <a:gd name="connsiteY21" fmla="*/ 1019746 h 1068306"/>
              <a:gd name="connsiteX22" fmla="*/ 1019746 w 1845255"/>
              <a:gd name="connsiteY22" fmla="*/ 1068306 h 1068306"/>
              <a:gd name="connsiteX23" fmla="*/ 971186 w 1845255"/>
              <a:gd name="connsiteY23" fmla="*/ 1019746 h 1068306"/>
              <a:gd name="connsiteX24" fmla="*/ 1019746 w 1845255"/>
              <a:gd name="connsiteY24" fmla="*/ 971187 h 1068306"/>
              <a:gd name="connsiteX25" fmla="*/ 825509 w 1845255"/>
              <a:gd name="connsiteY25" fmla="*/ 971187 h 1068306"/>
              <a:gd name="connsiteX26" fmla="*/ 874069 w 1845255"/>
              <a:gd name="connsiteY26" fmla="*/ 1019746 h 1068306"/>
              <a:gd name="connsiteX27" fmla="*/ 825509 w 1845255"/>
              <a:gd name="connsiteY27" fmla="*/ 1068306 h 1068306"/>
              <a:gd name="connsiteX28" fmla="*/ 776949 w 1845255"/>
              <a:gd name="connsiteY28" fmla="*/ 1019746 h 1068306"/>
              <a:gd name="connsiteX29" fmla="*/ 825509 w 1845255"/>
              <a:gd name="connsiteY29" fmla="*/ 971187 h 1068306"/>
              <a:gd name="connsiteX30" fmla="*/ 631272 w 1845255"/>
              <a:gd name="connsiteY30" fmla="*/ 971187 h 1068306"/>
              <a:gd name="connsiteX31" fmla="*/ 679831 w 1845255"/>
              <a:gd name="connsiteY31" fmla="*/ 1019746 h 1068306"/>
              <a:gd name="connsiteX32" fmla="*/ 631272 w 1845255"/>
              <a:gd name="connsiteY32" fmla="*/ 1068306 h 1068306"/>
              <a:gd name="connsiteX33" fmla="*/ 582712 w 1845255"/>
              <a:gd name="connsiteY33" fmla="*/ 1019746 h 1068306"/>
              <a:gd name="connsiteX34" fmla="*/ 631272 w 1845255"/>
              <a:gd name="connsiteY34" fmla="*/ 971187 h 1068306"/>
              <a:gd name="connsiteX35" fmla="*/ 437034 w 1845255"/>
              <a:gd name="connsiteY35" fmla="*/ 971187 h 1068306"/>
              <a:gd name="connsiteX36" fmla="*/ 485594 w 1845255"/>
              <a:gd name="connsiteY36" fmla="*/ 1019746 h 1068306"/>
              <a:gd name="connsiteX37" fmla="*/ 437034 w 1845255"/>
              <a:gd name="connsiteY37" fmla="*/ 1068306 h 1068306"/>
              <a:gd name="connsiteX38" fmla="*/ 388475 w 1845255"/>
              <a:gd name="connsiteY38" fmla="*/ 1019746 h 1068306"/>
              <a:gd name="connsiteX39" fmla="*/ 437034 w 1845255"/>
              <a:gd name="connsiteY39" fmla="*/ 971187 h 1068306"/>
              <a:gd name="connsiteX40" fmla="*/ 242797 w 1845255"/>
              <a:gd name="connsiteY40" fmla="*/ 971187 h 1068306"/>
              <a:gd name="connsiteX41" fmla="*/ 291357 w 1845255"/>
              <a:gd name="connsiteY41" fmla="*/ 1019746 h 1068306"/>
              <a:gd name="connsiteX42" fmla="*/ 242797 w 1845255"/>
              <a:gd name="connsiteY42" fmla="*/ 1068306 h 1068306"/>
              <a:gd name="connsiteX43" fmla="*/ 194237 w 1845255"/>
              <a:gd name="connsiteY43" fmla="*/ 1019746 h 1068306"/>
              <a:gd name="connsiteX44" fmla="*/ 242797 w 1845255"/>
              <a:gd name="connsiteY44" fmla="*/ 971187 h 1068306"/>
              <a:gd name="connsiteX45" fmla="*/ 48560 w 1845255"/>
              <a:gd name="connsiteY45" fmla="*/ 971187 h 1068306"/>
              <a:gd name="connsiteX46" fmla="*/ 97119 w 1845255"/>
              <a:gd name="connsiteY46" fmla="*/ 1019746 h 1068306"/>
              <a:gd name="connsiteX47" fmla="*/ 48560 w 1845255"/>
              <a:gd name="connsiteY47" fmla="*/ 1068306 h 1068306"/>
              <a:gd name="connsiteX48" fmla="*/ 0 w 1845255"/>
              <a:gd name="connsiteY48" fmla="*/ 1019746 h 1068306"/>
              <a:gd name="connsiteX49" fmla="*/ 48560 w 1845255"/>
              <a:gd name="connsiteY49" fmla="*/ 971187 h 1068306"/>
              <a:gd name="connsiteX50" fmla="*/ 1796695 w 1845255"/>
              <a:gd name="connsiteY50" fmla="*/ 776949 h 1068306"/>
              <a:gd name="connsiteX51" fmla="*/ 1845255 w 1845255"/>
              <a:gd name="connsiteY51" fmla="*/ 825509 h 1068306"/>
              <a:gd name="connsiteX52" fmla="*/ 1796695 w 1845255"/>
              <a:gd name="connsiteY52" fmla="*/ 874069 h 1068306"/>
              <a:gd name="connsiteX53" fmla="*/ 1748136 w 1845255"/>
              <a:gd name="connsiteY53" fmla="*/ 825509 h 1068306"/>
              <a:gd name="connsiteX54" fmla="*/ 1796695 w 1845255"/>
              <a:gd name="connsiteY54" fmla="*/ 776949 h 1068306"/>
              <a:gd name="connsiteX55" fmla="*/ 1602458 w 1845255"/>
              <a:gd name="connsiteY55" fmla="*/ 776949 h 1068306"/>
              <a:gd name="connsiteX56" fmla="*/ 1651018 w 1845255"/>
              <a:gd name="connsiteY56" fmla="*/ 825509 h 1068306"/>
              <a:gd name="connsiteX57" fmla="*/ 1602458 w 1845255"/>
              <a:gd name="connsiteY57" fmla="*/ 874069 h 1068306"/>
              <a:gd name="connsiteX58" fmla="*/ 1553898 w 1845255"/>
              <a:gd name="connsiteY58" fmla="*/ 825509 h 1068306"/>
              <a:gd name="connsiteX59" fmla="*/ 1602458 w 1845255"/>
              <a:gd name="connsiteY59" fmla="*/ 776949 h 1068306"/>
              <a:gd name="connsiteX60" fmla="*/ 1408221 w 1845255"/>
              <a:gd name="connsiteY60" fmla="*/ 776949 h 1068306"/>
              <a:gd name="connsiteX61" fmla="*/ 1456780 w 1845255"/>
              <a:gd name="connsiteY61" fmla="*/ 825509 h 1068306"/>
              <a:gd name="connsiteX62" fmla="*/ 1408221 w 1845255"/>
              <a:gd name="connsiteY62" fmla="*/ 874069 h 1068306"/>
              <a:gd name="connsiteX63" fmla="*/ 1359661 w 1845255"/>
              <a:gd name="connsiteY63" fmla="*/ 825509 h 1068306"/>
              <a:gd name="connsiteX64" fmla="*/ 1408221 w 1845255"/>
              <a:gd name="connsiteY64" fmla="*/ 776949 h 1068306"/>
              <a:gd name="connsiteX65" fmla="*/ 1213983 w 1845255"/>
              <a:gd name="connsiteY65" fmla="*/ 776949 h 1068306"/>
              <a:gd name="connsiteX66" fmla="*/ 1262543 w 1845255"/>
              <a:gd name="connsiteY66" fmla="*/ 825509 h 1068306"/>
              <a:gd name="connsiteX67" fmla="*/ 1213983 w 1845255"/>
              <a:gd name="connsiteY67" fmla="*/ 874069 h 1068306"/>
              <a:gd name="connsiteX68" fmla="*/ 1165424 w 1845255"/>
              <a:gd name="connsiteY68" fmla="*/ 825509 h 1068306"/>
              <a:gd name="connsiteX69" fmla="*/ 1213983 w 1845255"/>
              <a:gd name="connsiteY69" fmla="*/ 776949 h 1068306"/>
              <a:gd name="connsiteX70" fmla="*/ 1019746 w 1845255"/>
              <a:gd name="connsiteY70" fmla="*/ 776949 h 1068306"/>
              <a:gd name="connsiteX71" fmla="*/ 1068306 w 1845255"/>
              <a:gd name="connsiteY71" fmla="*/ 825509 h 1068306"/>
              <a:gd name="connsiteX72" fmla="*/ 1019746 w 1845255"/>
              <a:gd name="connsiteY72" fmla="*/ 874069 h 1068306"/>
              <a:gd name="connsiteX73" fmla="*/ 971186 w 1845255"/>
              <a:gd name="connsiteY73" fmla="*/ 825509 h 1068306"/>
              <a:gd name="connsiteX74" fmla="*/ 1019746 w 1845255"/>
              <a:gd name="connsiteY74" fmla="*/ 776949 h 1068306"/>
              <a:gd name="connsiteX75" fmla="*/ 825509 w 1845255"/>
              <a:gd name="connsiteY75" fmla="*/ 776949 h 1068306"/>
              <a:gd name="connsiteX76" fmla="*/ 874069 w 1845255"/>
              <a:gd name="connsiteY76" fmla="*/ 825509 h 1068306"/>
              <a:gd name="connsiteX77" fmla="*/ 825509 w 1845255"/>
              <a:gd name="connsiteY77" fmla="*/ 874069 h 1068306"/>
              <a:gd name="connsiteX78" fmla="*/ 776949 w 1845255"/>
              <a:gd name="connsiteY78" fmla="*/ 825509 h 1068306"/>
              <a:gd name="connsiteX79" fmla="*/ 825509 w 1845255"/>
              <a:gd name="connsiteY79" fmla="*/ 776949 h 1068306"/>
              <a:gd name="connsiteX80" fmla="*/ 631272 w 1845255"/>
              <a:gd name="connsiteY80" fmla="*/ 776949 h 1068306"/>
              <a:gd name="connsiteX81" fmla="*/ 679831 w 1845255"/>
              <a:gd name="connsiteY81" fmla="*/ 825509 h 1068306"/>
              <a:gd name="connsiteX82" fmla="*/ 631272 w 1845255"/>
              <a:gd name="connsiteY82" fmla="*/ 874069 h 1068306"/>
              <a:gd name="connsiteX83" fmla="*/ 582712 w 1845255"/>
              <a:gd name="connsiteY83" fmla="*/ 825509 h 1068306"/>
              <a:gd name="connsiteX84" fmla="*/ 631272 w 1845255"/>
              <a:gd name="connsiteY84" fmla="*/ 776949 h 1068306"/>
              <a:gd name="connsiteX85" fmla="*/ 437034 w 1845255"/>
              <a:gd name="connsiteY85" fmla="*/ 776949 h 1068306"/>
              <a:gd name="connsiteX86" fmla="*/ 485594 w 1845255"/>
              <a:gd name="connsiteY86" fmla="*/ 825509 h 1068306"/>
              <a:gd name="connsiteX87" fmla="*/ 437034 w 1845255"/>
              <a:gd name="connsiteY87" fmla="*/ 874069 h 1068306"/>
              <a:gd name="connsiteX88" fmla="*/ 388475 w 1845255"/>
              <a:gd name="connsiteY88" fmla="*/ 825509 h 1068306"/>
              <a:gd name="connsiteX89" fmla="*/ 437034 w 1845255"/>
              <a:gd name="connsiteY89" fmla="*/ 776949 h 1068306"/>
              <a:gd name="connsiteX90" fmla="*/ 242797 w 1845255"/>
              <a:gd name="connsiteY90" fmla="*/ 776949 h 1068306"/>
              <a:gd name="connsiteX91" fmla="*/ 291357 w 1845255"/>
              <a:gd name="connsiteY91" fmla="*/ 825509 h 1068306"/>
              <a:gd name="connsiteX92" fmla="*/ 242797 w 1845255"/>
              <a:gd name="connsiteY92" fmla="*/ 874069 h 1068306"/>
              <a:gd name="connsiteX93" fmla="*/ 194237 w 1845255"/>
              <a:gd name="connsiteY93" fmla="*/ 825509 h 1068306"/>
              <a:gd name="connsiteX94" fmla="*/ 242797 w 1845255"/>
              <a:gd name="connsiteY94" fmla="*/ 776949 h 1068306"/>
              <a:gd name="connsiteX95" fmla="*/ 48560 w 1845255"/>
              <a:gd name="connsiteY95" fmla="*/ 776949 h 1068306"/>
              <a:gd name="connsiteX96" fmla="*/ 97119 w 1845255"/>
              <a:gd name="connsiteY96" fmla="*/ 825509 h 1068306"/>
              <a:gd name="connsiteX97" fmla="*/ 48560 w 1845255"/>
              <a:gd name="connsiteY97" fmla="*/ 874069 h 1068306"/>
              <a:gd name="connsiteX98" fmla="*/ 0 w 1845255"/>
              <a:gd name="connsiteY98" fmla="*/ 825509 h 1068306"/>
              <a:gd name="connsiteX99" fmla="*/ 48560 w 1845255"/>
              <a:gd name="connsiteY99" fmla="*/ 776949 h 1068306"/>
              <a:gd name="connsiteX100" fmla="*/ 1796695 w 1845255"/>
              <a:gd name="connsiteY100" fmla="*/ 582712 h 1068306"/>
              <a:gd name="connsiteX101" fmla="*/ 1845255 w 1845255"/>
              <a:gd name="connsiteY101" fmla="*/ 631272 h 1068306"/>
              <a:gd name="connsiteX102" fmla="*/ 1796695 w 1845255"/>
              <a:gd name="connsiteY102" fmla="*/ 679832 h 1068306"/>
              <a:gd name="connsiteX103" fmla="*/ 1748136 w 1845255"/>
              <a:gd name="connsiteY103" fmla="*/ 631272 h 1068306"/>
              <a:gd name="connsiteX104" fmla="*/ 1796695 w 1845255"/>
              <a:gd name="connsiteY104" fmla="*/ 582712 h 1068306"/>
              <a:gd name="connsiteX105" fmla="*/ 1602458 w 1845255"/>
              <a:gd name="connsiteY105" fmla="*/ 582712 h 1068306"/>
              <a:gd name="connsiteX106" fmla="*/ 1651018 w 1845255"/>
              <a:gd name="connsiteY106" fmla="*/ 631272 h 1068306"/>
              <a:gd name="connsiteX107" fmla="*/ 1602458 w 1845255"/>
              <a:gd name="connsiteY107" fmla="*/ 679832 h 1068306"/>
              <a:gd name="connsiteX108" fmla="*/ 1553898 w 1845255"/>
              <a:gd name="connsiteY108" fmla="*/ 631272 h 1068306"/>
              <a:gd name="connsiteX109" fmla="*/ 1602458 w 1845255"/>
              <a:gd name="connsiteY109" fmla="*/ 582712 h 1068306"/>
              <a:gd name="connsiteX110" fmla="*/ 1408221 w 1845255"/>
              <a:gd name="connsiteY110" fmla="*/ 582712 h 1068306"/>
              <a:gd name="connsiteX111" fmla="*/ 1456780 w 1845255"/>
              <a:gd name="connsiteY111" fmla="*/ 631272 h 1068306"/>
              <a:gd name="connsiteX112" fmla="*/ 1408221 w 1845255"/>
              <a:gd name="connsiteY112" fmla="*/ 679832 h 1068306"/>
              <a:gd name="connsiteX113" fmla="*/ 1359661 w 1845255"/>
              <a:gd name="connsiteY113" fmla="*/ 631272 h 1068306"/>
              <a:gd name="connsiteX114" fmla="*/ 1408221 w 1845255"/>
              <a:gd name="connsiteY114" fmla="*/ 582712 h 1068306"/>
              <a:gd name="connsiteX115" fmla="*/ 1213983 w 1845255"/>
              <a:gd name="connsiteY115" fmla="*/ 582712 h 1068306"/>
              <a:gd name="connsiteX116" fmla="*/ 1262543 w 1845255"/>
              <a:gd name="connsiteY116" fmla="*/ 631272 h 1068306"/>
              <a:gd name="connsiteX117" fmla="*/ 1213983 w 1845255"/>
              <a:gd name="connsiteY117" fmla="*/ 679832 h 1068306"/>
              <a:gd name="connsiteX118" fmla="*/ 1165424 w 1845255"/>
              <a:gd name="connsiteY118" fmla="*/ 631272 h 1068306"/>
              <a:gd name="connsiteX119" fmla="*/ 1213983 w 1845255"/>
              <a:gd name="connsiteY119" fmla="*/ 582712 h 1068306"/>
              <a:gd name="connsiteX120" fmla="*/ 1019746 w 1845255"/>
              <a:gd name="connsiteY120" fmla="*/ 582712 h 1068306"/>
              <a:gd name="connsiteX121" fmla="*/ 1068306 w 1845255"/>
              <a:gd name="connsiteY121" fmla="*/ 631272 h 1068306"/>
              <a:gd name="connsiteX122" fmla="*/ 1019746 w 1845255"/>
              <a:gd name="connsiteY122" fmla="*/ 679832 h 1068306"/>
              <a:gd name="connsiteX123" fmla="*/ 971186 w 1845255"/>
              <a:gd name="connsiteY123" fmla="*/ 631272 h 1068306"/>
              <a:gd name="connsiteX124" fmla="*/ 1019746 w 1845255"/>
              <a:gd name="connsiteY124" fmla="*/ 582712 h 1068306"/>
              <a:gd name="connsiteX125" fmla="*/ 825509 w 1845255"/>
              <a:gd name="connsiteY125" fmla="*/ 582712 h 1068306"/>
              <a:gd name="connsiteX126" fmla="*/ 874069 w 1845255"/>
              <a:gd name="connsiteY126" fmla="*/ 631272 h 1068306"/>
              <a:gd name="connsiteX127" fmla="*/ 825509 w 1845255"/>
              <a:gd name="connsiteY127" fmla="*/ 679832 h 1068306"/>
              <a:gd name="connsiteX128" fmla="*/ 776949 w 1845255"/>
              <a:gd name="connsiteY128" fmla="*/ 631272 h 1068306"/>
              <a:gd name="connsiteX129" fmla="*/ 825509 w 1845255"/>
              <a:gd name="connsiteY129" fmla="*/ 582712 h 1068306"/>
              <a:gd name="connsiteX130" fmla="*/ 631272 w 1845255"/>
              <a:gd name="connsiteY130" fmla="*/ 582712 h 1068306"/>
              <a:gd name="connsiteX131" fmla="*/ 679831 w 1845255"/>
              <a:gd name="connsiteY131" fmla="*/ 631272 h 1068306"/>
              <a:gd name="connsiteX132" fmla="*/ 631272 w 1845255"/>
              <a:gd name="connsiteY132" fmla="*/ 679832 h 1068306"/>
              <a:gd name="connsiteX133" fmla="*/ 582712 w 1845255"/>
              <a:gd name="connsiteY133" fmla="*/ 631272 h 1068306"/>
              <a:gd name="connsiteX134" fmla="*/ 631272 w 1845255"/>
              <a:gd name="connsiteY134" fmla="*/ 582712 h 1068306"/>
              <a:gd name="connsiteX135" fmla="*/ 437034 w 1845255"/>
              <a:gd name="connsiteY135" fmla="*/ 582712 h 1068306"/>
              <a:gd name="connsiteX136" fmla="*/ 485594 w 1845255"/>
              <a:gd name="connsiteY136" fmla="*/ 631272 h 1068306"/>
              <a:gd name="connsiteX137" fmla="*/ 437034 w 1845255"/>
              <a:gd name="connsiteY137" fmla="*/ 679832 h 1068306"/>
              <a:gd name="connsiteX138" fmla="*/ 388475 w 1845255"/>
              <a:gd name="connsiteY138" fmla="*/ 631272 h 1068306"/>
              <a:gd name="connsiteX139" fmla="*/ 437034 w 1845255"/>
              <a:gd name="connsiteY139" fmla="*/ 582712 h 1068306"/>
              <a:gd name="connsiteX140" fmla="*/ 242797 w 1845255"/>
              <a:gd name="connsiteY140" fmla="*/ 582712 h 1068306"/>
              <a:gd name="connsiteX141" fmla="*/ 291357 w 1845255"/>
              <a:gd name="connsiteY141" fmla="*/ 631272 h 1068306"/>
              <a:gd name="connsiteX142" fmla="*/ 242797 w 1845255"/>
              <a:gd name="connsiteY142" fmla="*/ 679832 h 1068306"/>
              <a:gd name="connsiteX143" fmla="*/ 194237 w 1845255"/>
              <a:gd name="connsiteY143" fmla="*/ 631272 h 1068306"/>
              <a:gd name="connsiteX144" fmla="*/ 242797 w 1845255"/>
              <a:gd name="connsiteY144" fmla="*/ 582712 h 1068306"/>
              <a:gd name="connsiteX145" fmla="*/ 48560 w 1845255"/>
              <a:gd name="connsiteY145" fmla="*/ 582712 h 1068306"/>
              <a:gd name="connsiteX146" fmla="*/ 97119 w 1845255"/>
              <a:gd name="connsiteY146" fmla="*/ 631272 h 1068306"/>
              <a:gd name="connsiteX147" fmla="*/ 48560 w 1845255"/>
              <a:gd name="connsiteY147" fmla="*/ 679832 h 1068306"/>
              <a:gd name="connsiteX148" fmla="*/ 0 w 1845255"/>
              <a:gd name="connsiteY148" fmla="*/ 631272 h 1068306"/>
              <a:gd name="connsiteX149" fmla="*/ 48560 w 1845255"/>
              <a:gd name="connsiteY149" fmla="*/ 582712 h 1068306"/>
              <a:gd name="connsiteX150" fmla="*/ 1796695 w 1845255"/>
              <a:gd name="connsiteY150" fmla="*/ 388475 h 1068306"/>
              <a:gd name="connsiteX151" fmla="*/ 1845255 w 1845255"/>
              <a:gd name="connsiteY151" fmla="*/ 437035 h 1068306"/>
              <a:gd name="connsiteX152" fmla="*/ 1796695 w 1845255"/>
              <a:gd name="connsiteY152" fmla="*/ 485594 h 1068306"/>
              <a:gd name="connsiteX153" fmla="*/ 1748136 w 1845255"/>
              <a:gd name="connsiteY153" fmla="*/ 437035 h 1068306"/>
              <a:gd name="connsiteX154" fmla="*/ 1796695 w 1845255"/>
              <a:gd name="connsiteY154" fmla="*/ 388475 h 1068306"/>
              <a:gd name="connsiteX155" fmla="*/ 1602458 w 1845255"/>
              <a:gd name="connsiteY155" fmla="*/ 388475 h 1068306"/>
              <a:gd name="connsiteX156" fmla="*/ 1651018 w 1845255"/>
              <a:gd name="connsiteY156" fmla="*/ 437035 h 1068306"/>
              <a:gd name="connsiteX157" fmla="*/ 1602458 w 1845255"/>
              <a:gd name="connsiteY157" fmla="*/ 485594 h 1068306"/>
              <a:gd name="connsiteX158" fmla="*/ 1553898 w 1845255"/>
              <a:gd name="connsiteY158" fmla="*/ 437035 h 1068306"/>
              <a:gd name="connsiteX159" fmla="*/ 1602458 w 1845255"/>
              <a:gd name="connsiteY159" fmla="*/ 388475 h 1068306"/>
              <a:gd name="connsiteX160" fmla="*/ 1408221 w 1845255"/>
              <a:gd name="connsiteY160" fmla="*/ 388475 h 1068306"/>
              <a:gd name="connsiteX161" fmla="*/ 1456780 w 1845255"/>
              <a:gd name="connsiteY161" fmla="*/ 437035 h 1068306"/>
              <a:gd name="connsiteX162" fmla="*/ 1408221 w 1845255"/>
              <a:gd name="connsiteY162" fmla="*/ 485594 h 1068306"/>
              <a:gd name="connsiteX163" fmla="*/ 1359661 w 1845255"/>
              <a:gd name="connsiteY163" fmla="*/ 437035 h 1068306"/>
              <a:gd name="connsiteX164" fmla="*/ 1408221 w 1845255"/>
              <a:gd name="connsiteY164" fmla="*/ 388475 h 1068306"/>
              <a:gd name="connsiteX165" fmla="*/ 1213983 w 1845255"/>
              <a:gd name="connsiteY165" fmla="*/ 388475 h 1068306"/>
              <a:gd name="connsiteX166" fmla="*/ 1262543 w 1845255"/>
              <a:gd name="connsiteY166" fmla="*/ 437035 h 1068306"/>
              <a:gd name="connsiteX167" fmla="*/ 1213983 w 1845255"/>
              <a:gd name="connsiteY167" fmla="*/ 485594 h 1068306"/>
              <a:gd name="connsiteX168" fmla="*/ 1165424 w 1845255"/>
              <a:gd name="connsiteY168" fmla="*/ 437035 h 1068306"/>
              <a:gd name="connsiteX169" fmla="*/ 1213983 w 1845255"/>
              <a:gd name="connsiteY169" fmla="*/ 388475 h 1068306"/>
              <a:gd name="connsiteX170" fmla="*/ 1019746 w 1845255"/>
              <a:gd name="connsiteY170" fmla="*/ 388475 h 1068306"/>
              <a:gd name="connsiteX171" fmla="*/ 1068306 w 1845255"/>
              <a:gd name="connsiteY171" fmla="*/ 437035 h 1068306"/>
              <a:gd name="connsiteX172" fmla="*/ 1019746 w 1845255"/>
              <a:gd name="connsiteY172" fmla="*/ 485594 h 1068306"/>
              <a:gd name="connsiteX173" fmla="*/ 971186 w 1845255"/>
              <a:gd name="connsiteY173" fmla="*/ 437035 h 1068306"/>
              <a:gd name="connsiteX174" fmla="*/ 1019746 w 1845255"/>
              <a:gd name="connsiteY174" fmla="*/ 388475 h 1068306"/>
              <a:gd name="connsiteX175" fmla="*/ 825509 w 1845255"/>
              <a:gd name="connsiteY175" fmla="*/ 388475 h 1068306"/>
              <a:gd name="connsiteX176" fmla="*/ 874069 w 1845255"/>
              <a:gd name="connsiteY176" fmla="*/ 437035 h 1068306"/>
              <a:gd name="connsiteX177" fmla="*/ 825509 w 1845255"/>
              <a:gd name="connsiteY177" fmla="*/ 485594 h 1068306"/>
              <a:gd name="connsiteX178" fmla="*/ 776949 w 1845255"/>
              <a:gd name="connsiteY178" fmla="*/ 437035 h 1068306"/>
              <a:gd name="connsiteX179" fmla="*/ 825509 w 1845255"/>
              <a:gd name="connsiteY179" fmla="*/ 388475 h 1068306"/>
              <a:gd name="connsiteX180" fmla="*/ 631272 w 1845255"/>
              <a:gd name="connsiteY180" fmla="*/ 388475 h 1068306"/>
              <a:gd name="connsiteX181" fmla="*/ 679831 w 1845255"/>
              <a:gd name="connsiteY181" fmla="*/ 437035 h 1068306"/>
              <a:gd name="connsiteX182" fmla="*/ 631272 w 1845255"/>
              <a:gd name="connsiteY182" fmla="*/ 485594 h 1068306"/>
              <a:gd name="connsiteX183" fmla="*/ 582712 w 1845255"/>
              <a:gd name="connsiteY183" fmla="*/ 437035 h 1068306"/>
              <a:gd name="connsiteX184" fmla="*/ 631272 w 1845255"/>
              <a:gd name="connsiteY184" fmla="*/ 388475 h 1068306"/>
              <a:gd name="connsiteX185" fmla="*/ 437034 w 1845255"/>
              <a:gd name="connsiteY185" fmla="*/ 388475 h 1068306"/>
              <a:gd name="connsiteX186" fmla="*/ 485594 w 1845255"/>
              <a:gd name="connsiteY186" fmla="*/ 437035 h 1068306"/>
              <a:gd name="connsiteX187" fmla="*/ 437034 w 1845255"/>
              <a:gd name="connsiteY187" fmla="*/ 485594 h 1068306"/>
              <a:gd name="connsiteX188" fmla="*/ 388475 w 1845255"/>
              <a:gd name="connsiteY188" fmla="*/ 437035 h 1068306"/>
              <a:gd name="connsiteX189" fmla="*/ 437034 w 1845255"/>
              <a:gd name="connsiteY189" fmla="*/ 388475 h 1068306"/>
              <a:gd name="connsiteX190" fmla="*/ 242797 w 1845255"/>
              <a:gd name="connsiteY190" fmla="*/ 388475 h 1068306"/>
              <a:gd name="connsiteX191" fmla="*/ 291357 w 1845255"/>
              <a:gd name="connsiteY191" fmla="*/ 437035 h 1068306"/>
              <a:gd name="connsiteX192" fmla="*/ 242797 w 1845255"/>
              <a:gd name="connsiteY192" fmla="*/ 485594 h 1068306"/>
              <a:gd name="connsiteX193" fmla="*/ 194237 w 1845255"/>
              <a:gd name="connsiteY193" fmla="*/ 437035 h 1068306"/>
              <a:gd name="connsiteX194" fmla="*/ 242797 w 1845255"/>
              <a:gd name="connsiteY194" fmla="*/ 388475 h 1068306"/>
              <a:gd name="connsiteX195" fmla="*/ 48560 w 1845255"/>
              <a:gd name="connsiteY195" fmla="*/ 388475 h 1068306"/>
              <a:gd name="connsiteX196" fmla="*/ 97119 w 1845255"/>
              <a:gd name="connsiteY196" fmla="*/ 437035 h 1068306"/>
              <a:gd name="connsiteX197" fmla="*/ 48560 w 1845255"/>
              <a:gd name="connsiteY197" fmla="*/ 485594 h 1068306"/>
              <a:gd name="connsiteX198" fmla="*/ 0 w 1845255"/>
              <a:gd name="connsiteY198" fmla="*/ 437035 h 1068306"/>
              <a:gd name="connsiteX199" fmla="*/ 48560 w 1845255"/>
              <a:gd name="connsiteY199" fmla="*/ 388475 h 1068306"/>
              <a:gd name="connsiteX200" fmla="*/ 1796695 w 1845255"/>
              <a:gd name="connsiteY200" fmla="*/ 194238 h 1068306"/>
              <a:gd name="connsiteX201" fmla="*/ 1845255 w 1845255"/>
              <a:gd name="connsiteY201" fmla="*/ 242797 h 1068306"/>
              <a:gd name="connsiteX202" fmla="*/ 1796695 w 1845255"/>
              <a:gd name="connsiteY202" fmla="*/ 291357 h 1068306"/>
              <a:gd name="connsiteX203" fmla="*/ 1748136 w 1845255"/>
              <a:gd name="connsiteY203" fmla="*/ 242797 h 1068306"/>
              <a:gd name="connsiteX204" fmla="*/ 1796695 w 1845255"/>
              <a:gd name="connsiteY204" fmla="*/ 194238 h 1068306"/>
              <a:gd name="connsiteX205" fmla="*/ 1602458 w 1845255"/>
              <a:gd name="connsiteY205" fmla="*/ 194238 h 1068306"/>
              <a:gd name="connsiteX206" fmla="*/ 1651018 w 1845255"/>
              <a:gd name="connsiteY206" fmla="*/ 242797 h 1068306"/>
              <a:gd name="connsiteX207" fmla="*/ 1602458 w 1845255"/>
              <a:gd name="connsiteY207" fmla="*/ 291357 h 1068306"/>
              <a:gd name="connsiteX208" fmla="*/ 1553898 w 1845255"/>
              <a:gd name="connsiteY208" fmla="*/ 242797 h 1068306"/>
              <a:gd name="connsiteX209" fmla="*/ 1602458 w 1845255"/>
              <a:gd name="connsiteY209" fmla="*/ 194238 h 1068306"/>
              <a:gd name="connsiteX210" fmla="*/ 1408221 w 1845255"/>
              <a:gd name="connsiteY210" fmla="*/ 194238 h 1068306"/>
              <a:gd name="connsiteX211" fmla="*/ 1456780 w 1845255"/>
              <a:gd name="connsiteY211" fmla="*/ 242797 h 1068306"/>
              <a:gd name="connsiteX212" fmla="*/ 1408221 w 1845255"/>
              <a:gd name="connsiteY212" fmla="*/ 291357 h 1068306"/>
              <a:gd name="connsiteX213" fmla="*/ 1359661 w 1845255"/>
              <a:gd name="connsiteY213" fmla="*/ 242797 h 1068306"/>
              <a:gd name="connsiteX214" fmla="*/ 1408221 w 1845255"/>
              <a:gd name="connsiteY214" fmla="*/ 194238 h 1068306"/>
              <a:gd name="connsiteX215" fmla="*/ 1213983 w 1845255"/>
              <a:gd name="connsiteY215" fmla="*/ 194238 h 1068306"/>
              <a:gd name="connsiteX216" fmla="*/ 1262543 w 1845255"/>
              <a:gd name="connsiteY216" fmla="*/ 242797 h 1068306"/>
              <a:gd name="connsiteX217" fmla="*/ 1213983 w 1845255"/>
              <a:gd name="connsiteY217" fmla="*/ 291357 h 1068306"/>
              <a:gd name="connsiteX218" fmla="*/ 1165424 w 1845255"/>
              <a:gd name="connsiteY218" fmla="*/ 242797 h 1068306"/>
              <a:gd name="connsiteX219" fmla="*/ 1213983 w 1845255"/>
              <a:gd name="connsiteY219" fmla="*/ 194238 h 1068306"/>
              <a:gd name="connsiteX220" fmla="*/ 1019746 w 1845255"/>
              <a:gd name="connsiteY220" fmla="*/ 194238 h 1068306"/>
              <a:gd name="connsiteX221" fmla="*/ 1068306 w 1845255"/>
              <a:gd name="connsiteY221" fmla="*/ 242797 h 1068306"/>
              <a:gd name="connsiteX222" fmla="*/ 1019746 w 1845255"/>
              <a:gd name="connsiteY222" fmla="*/ 291357 h 1068306"/>
              <a:gd name="connsiteX223" fmla="*/ 971186 w 1845255"/>
              <a:gd name="connsiteY223" fmla="*/ 242797 h 1068306"/>
              <a:gd name="connsiteX224" fmla="*/ 1019746 w 1845255"/>
              <a:gd name="connsiteY224" fmla="*/ 194238 h 1068306"/>
              <a:gd name="connsiteX225" fmla="*/ 825509 w 1845255"/>
              <a:gd name="connsiteY225" fmla="*/ 194238 h 1068306"/>
              <a:gd name="connsiteX226" fmla="*/ 874069 w 1845255"/>
              <a:gd name="connsiteY226" fmla="*/ 242797 h 1068306"/>
              <a:gd name="connsiteX227" fmla="*/ 825509 w 1845255"/>
              <a:gd name="connsiteY227" fmla="*/ 291357 h 1068306"/>
              <a:gd name="connsiteX228" fmla="*/ 776949 w 1845255"/>
              <a:gd name="connsiteY228" fmla="*/ 242797 h 1068306"/>
              <a:gd name="connsiteX229" fmla="*/ 825509 w 1845255"/>
              <a:gd name="connsiteY229" fmla="*/ 194238 h 1068306"/>
              <a:gd name="connsiteX230" fmla="*/ 631272 w 1845255"/>
              <a:gd name="connsiteY230" fmla="*/ 194238 h 1068306"/>
              <a:gd name="connsiteX231" fmla="*/ 679831 w 1845255"/>
              <a:gd name="connsiteY231" fmla="*/ 242797 h 1068306"/>
              <a:gd name="connsiteX232" fmla="*/ 631272 w 1845255"/>
              <a:gd name="connsiteY232" fmla="*/ 291357 h 1068306"/>
              <a:gd name="connsiteX233" fmla="*/ 582712 w 1845255"/>
              <a:gd name="connsiteY233" fmla="*/ 242797 h 1068306"/>
              <a:gd name="connsiteX234" fmla="*/ 631272 w 1845255"/>
              <a:gd name="connsiteY234" fmla="*/ 194238 h 1068306"/>
              <a:gd name="connsiteX235" fmla="*/ 437034 w 1845255"/>
              <a:gd name="connsiteY235" fmla="*/ 194238 h 1068306"/>
              <a:gd name="connsiteX236" fmla="*/ 485594 w 1845255"/>
              <a:gd name="connsiteY236" fmla="*/ 242797 h 1068306"/>
              <a:gd name="connsiteX237" fmla="*/ 437034 w 1845255"/>
              <a:gd name="connsiteY237" fmla="*/ 291357 h 1068306"/>
              <a:gd name="connsiteX238" fmla="*/ 388475 w 1845255"/>
              <a:gd name="connsiteY238" fmla="*/ 242797 h 1068306"/>
              <a:gd name="connsiteX239" fmla="*/ 437034 w 1845255"/>
              <a:gd name="connsiteY239" fmla="*/ 194238 h 1068306"/>
              <a:gd name="connsiteX240" fmla="*/ 242797 w 1845255"/>
              <a:gd name="connsiteY240" fmla="*/ 194238 h 1068306"/>
              <a:gd name="connsiteX241" fmla="*/ 291357 w 1845255"/>
              <a:gd name="connsiteY241" fmla="*/ 242797 h 1068306"/>
              <a:gd name="connsiteX242" fmla="*/ 242797 w 1845255"/>
              <a:gd name="connsiteY242" fmla="*/ 291357 h 1068306"/>
              <a:gd name="connsiteX243" fmla="*/ 194237 w 1845255"/>
              <a:gd name="connsiteY243" fmla="*/ 242797 h 1068306"/>
              <a:gd name="connsiteX244" fmla="*/ 242797 w 1845255"/>
              <a:gd name="connsiteY244" fmla="*/ 194238 h 1068306"/>
              <a:gd name="connsiteX245" fmla="*/ 48560 w 1845255"/>
              <a:gd name="connsiteY245" fmla="*/ 194238 h 1068306"/>
              <a:gd name="connsiteX246" fmla="*/ 97119 w 1845255"/>
              <a:gd name="connsiteY246" fmla="*/ 242797 h 1068306"/>
              <a:gd name="connsiteX247" fmla="*/ 48560 w 1845255"/>
              <a:gd name="connsiteY247" fmla="*/ 291357 h 1068306"/>
              <a:gd name="connsiteX248" fmla="*/ 0 w 1845255"/>
              <a:gd name="connsiteY248" fmla="*/ 242797 h 1068306"/>
              <a:gd name="connsiteX249" fmla="*/ 48560 w 1845255"/>
              <a:gd name="connsiteY249" fmla="*/ 194238 h 1068306"/>
              <a:gd name="connsiteX250" fmla="*/ 1796695 w 1845255"/>
              <a:gd name="connsiteY250" fmla="*/ 0 h 1068306"/>
              <a:gd name="connsiteX251" fmla="*/ 1845255 w 1845255"/>
              <a:gd name="connsiteY251" fmla="*/ 48560 h 1068306"/>
              <a:gd name="connsiteX252" fmla="*/ 1796695 w 1845255"/>
              <a:gd name="connsiteY252" fmla="*/ 97120 h 1068306"/>
              <a:gd name="connsiteX253" fmla="*/ 1748136 w 1845255"/>
              <a:gd name="connsiteY253" fmla="*/ 48560 h 1068306"/>
              <a:gd name="connsiteX254" fmla="*/ 1796695 w 1845255"/>
              <a:gd name="connsiteY254" fmla="*/ 0 h 1068306"/>
              <a:gd name="connsiteX255" fmla="*/ 1602458 w 1845255"/>
              <a:gd name="connsiteY255" fmla="*/ 0 h 1068306"/>
              <a:gd name="connsiteX256" fmla="*/ 1651018 w 1845255"/>
              <a:gd name="connsiteY256" fmla="*/ 48560 h 1068306"/>
              <a:gd name="connsiteX257" fmla="*/ 1602458 w 1845255"/>
              <a:gd name="connsiteY257" fmla="*/ 97120 h 1068306"/>
              <a:gd name="connsiteX258" fmla="*/ 1553898 w 1845255"/>
              <a:gd name="connsiteY258" fmla="*/ 48560 h 1068306"/>
              <a:gd name="connsiteX259" fmla="*/ 1602458 w 1845255"/>
              <a:gd name="connsiteY259" fmla="*/ 0 h 1068306"/>
              <a:gd name="connsiteX260" fmla="*/ 1408221 w 1845255"/>
              <a:gd name="connsiteY260" fmla="*/ 0 h 1068306"/>
              <a:gd name="connsiteX261" fmla="*/ 1456780 w 1845255"/>
              <a:gd name="connsiteY261" fmla="*/ 48560 h 1068306"/>
              <a:gd name="connsiteX262" fmla="*/ 1408221 w 1845255"/>
              <a:gd name="connsiteY262" fmla="*/ 97120 h 1068306"/>
              <a:gd name="connsiteX263" fmla="*/ 1359661 w 1845255"/>
              <a:gd name="connsiteY263" fmla="*/ 48560 h 1068306"/>
              <a:gd name="connsiteX264" fmla="*/ 1408221 w 1845255"/>
              <a:gd name="connsiteY264" fmla="*/ 0 h 1068306"/>
              <a:gd name="connsiteX265" fmla="*/ 1213983 w 1845255"/>
              <a:gd name="connsiteY265" fmla="*/ 0 h 1068306"/>
              <a:gd name="connsiteX266" fmla="*/ 1262543 w 1845255"/>
              <a:gd name="connsiteY266" fmla="*/ 48560 h 1068306"/>
              <a:gd name="connsiteX267" fmla="*/ 1213983 w 1845255"/>
              <a:gd name="connsiteY267" fmla="*/ 97120 h 1068306"/>
              <a:gd name="connsiteX268" fmla="*/ 1165424 w 1845255"/>
              <a:gd name="connsiteY268" fmla="*/ 48560 h 1068306"/>
              <a:gd name="connsiteX269" fmla="*/ 1213983 w 1845255"/>
              <a:gd name="connsiteY269" fmla="*/ 0 h 1068306"/>
              <a:gd name="connsiteX270" fmla="*/ 1019746 w 1845255"/>
              <a:gd name="connsiteY270" fmla="*/ 0 h 1068306"/>
              <a:gd name="connsiteX271" fmla="*/ 1068306 w 1845255"/>
              <a:gd name="connsiteY271" fmla="*/ 48560 h 1068306"/>
              <a:gd name="connsiteX272" fmla="*/ 1019746 w 1845255"/>
              <a:gd name="connsiteY272" fmla="*/ 97120 h 1068306"/>
              <a:gd name="connsiteX273" fmla="*/ 971186 w 1845255"/>
              <a:gd name="connsiteY273" fmla="*/ 48560 h 1068306"/>
              <a:gd name="connsiteX274" fmla="*/ 1019746 w 1845255"/>
              <a:gd name="connsiteY274" fmla="*/ 0 h 1068306"/>
              <a:gd name="connsiteX275" fmla="*/ 825509 w 1845255"/>
              <a:gd name="connsiteY275" fmla="*/ 0 h 1068306"/>
              <a:gd name="connsiteX276" fmla="*/ 874069 w 1845255"/>
              <a:gd name="connsiteY276" fmla="*/ 48560 h 1068306"/>
              <a:gd name="connsiteX277" fmla="*/ 825509 w 1845255"/>
              <a:gd name="connsiteY277" fmla="*/ 97120 h 1068306"/>
              <a:gd name="connsiteX278" fmla="*/ 776949 w 1845255"/>
              <a:gd name="connsiteY278" fmla="*/ 48560 h 1068306"/>
              <a:gd name="connsiteX279" fmla="*/ 825509 w 1845255"/>
              <a:gd name="connsiteY279" fmla="*/ 0 h 1068306"/>
              <a:gd name="connsiteX280" fmla="*/ 631272 w 1845255"/>
              <a:gd name="connsiteY280" fmla="*/ 0 h 1068306"/>
              <a:gd name="connsiteX281" fmla="*/ 679831 w 1845255"/>
              <a:gd name="connsiteY281" fmla="*/ 48560 h 1068306"/>
              <a:gd name="connsiteX282" fmla="*/ 631272 w 1845255"/>
              <a:gd name="connsiteY282" fmla="*/ 97120 h 1068306"/>
              <a:gd name="connsiteX283" fmla="*/ 582712 w 1845255"/>
              <a:gd name="connsiteY283" fmla="*/ 48560 h 1068306"/>
              <a:gd name="connsiteX284" fmla="*/ 631272 w 1845255"/>
              <a:gd name="connsiteY284" fmla="*/ 0 h 1068306"/>
              <a:gd name="connsiteX285" fmla="*/ 437034 w 1845255"/>
              <a:gd name="connsiteY285" fmla="*/ 0 h 1068306"/>
              <a:gd name="connsiteX286" fmla="*/ 485594 w 1845255"/>
              <a:gd name="connsiteY286" fmla="*/ 48560 h 1068306"/>
              <a:gd name="connsiteX287" fmla="*/ 437034 w 1845255"/>
              <a:gd name="connsiteY287" fmla="*/ 97120 h 1068306"/>
              <a:gd name="connsiteX288" fmla="*/ 388475 w 1845255"/>
              <a:gd name="connsiteY288" fmla="*/ 48560 h 1068306"/>
              <a:gd name="connsiteX289" fmla="*/ 437034 w 1845255"/>
              <a:gd name="connsiteY289" fmla="*/ 0 h 1068306"/>
              <a:gd name="connsiteX290" fmla="*/ 242797 w 1845255"/>
              <a:gd name="connsiteY290" fmla="*/ 0 h 1068306"/>
              <a:gd name="connsiteX291" fmla="*/ 291357 w 1845255"/>
              <a:gd name="connsiteY291" fmla="*/ 48560 h 1068306"/>
              <a:gd name="connsiteX292" fmla="*/ 242797 w 1845255"/>
              <a:gd name="connsiteY292" fmla="*/ 97120 h 1068306"/>
              <a:gd name="connsiteX293" fmla="*/ 194237 w 1845255"/>
              <a:gd name="connsiteY293" fmla="*/ 48560 h 1068306"/>
              <a:gd name="connsiteX294" fmla="*/ 242797 w 1845255"/>
              <a:gd name="connsiteY294" fmla="*/ 0 h 1068306"/>
              <a:gd name="connsiteX295" fmla="*/ 48560 w 1845255"/>
              <a:gd name="connsiteY295" fmla="*/ 0 h 1068306"/>
              <a:gd name="connsiteX296" fmla="*/ 97119 w 1845255"/>
              <a:gd name="connsiteY296" fmla="*/ 48560 h 1068306"/>
              <a:gd name="connsiteX297" fmla="*/ 48560 w 1845255"/>
              <a:gd name="connsiteY297" fmla="*/ 97120 h 1068306"/>
              <a:gd name="connsiteX298" fmla="*/ 0 w 1845255"/>
              <a:gd name="connsiteY298" fmla="*/ 48560 h 1068306"/>
              <a:gd name="connsiteX299" fmla="*/ 48560 w 1845255"/>
              <a:gd name="connsiteY299" fmla="*/ 0 h 1068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</a:cxnLst>
            <a:rect l="l" t="t" r="r" b="b"/>
            <a:pathLst>
              <a:path w="1845255" h="1068306">
                <a:moveTo>
                  <a:pt x="1796695" y="971187"/>
                </a:moveTo>
                <a:cubicBezTo>
                  <a:pt x="1823514" y="971187"/>
                  <a:pt x="1845255" y="992927"/>
                  <a:pt x="1845255" y="1019746"/>
                </a:cubicBezTo>
                <a:cubicBezTo>
                  <a:pt x="1845255" y="1046565"/>
                  <a:pt x="1823514" y="1068306"/>
                  <a:pt x="1796695" y="1068306"/>
                </a:cubicBezTo>
                <a:cubicBezTo>
                  <a:pt x="1769876" y="1068306"/>
                  <a:pt x="1748136" y="1046565"/>
                  <a:pt x="1748136" y="1019746"/>
                </a:cubicBezTo>
                <a:cubicBezTo>
                  <a:pt x="1748136" y="992927"/>
                  <a:pt x="1769876" y="971187"/>
                  <a:pt x="1796695" y="971187"/>
                </a:cubicBezTo>
                <a:close/>
                <a:moveTo>
                  <a:pt x="1602458" y="971187"/>
                </a:moveTo>
                <a:cubicBezTo>
                  <a:pt x="1629277" y="971187"/>
                  <a:pt x="1651018" y="992927"/>
                  <a:pt x="1651018" y="1019746"/>
                </a:cubicBezTo>
                <a:cubicBezTo>
                  <a:pt x="1651018" y="1046565"/>
                  <a:pt x="1629277" y="1068306"/>
                  <a:pt x="1602458" y="1068306"/>
                </a:cubicBezTo>
                <a:cubicBezTo>
                  <a:pt x="1575639" y="1068306"/>
                  <a:pt x="1553898" y="1046565"/>
                  <a:pt x="1553898" y="1019746"/>
                </a:cubicBezTo>
                <a:cubicBezTo>
                  <a:pt x="1553898" y="992927"/>
                  <a:pt x="1575639" y="971187"/>
                  <a:pt x="1602458" y="971187"/>
                </a:cubicBezTo>
                <a:close/>
                <a:moveTo>
                  <a:pt x="1408221" y="971187"/>
                </a:moveTo>
                <a:cubicBezTo>
                  <a:pt x="1435040" y="971187"/>
                  <a:pt x="1456780" y="992927"/>
                  <a:pt x="1456780" y="1019746"/>
                </a:cubicBezTo>
                <a:cubicBezTo>
                  <a:pt x="1456780" y="1046565"/>
                  <a:pt x="1435040" y="1068306"/>
                  <a:pt x="1408221" y="1068306"/>
                </a:cubicBezTo>
                <a:cubicBezTo>
                  <a:pt x="1381402" y="1068306"/>
                  <a:pt x="1359661" y="1046565"/>
                  <a:pt x="1359661" y="1019746"/>
                </a:cubicBezTo>
                <a:cubicBezTo>
                  <a:pt x="1359661" y="992927"/>
                  <a:pt x="1381402" y="971187"/>
                  <a:pt x="1408221" y="971187"/>
                </a:cubicBezTo>
                <a:close/>
                <a:moveTo>
                  <a:pt x="1213983" y="971187"/>
                </a:moveTo>
                <a:cubicBezTo>
                  <a:pt x="1240802" y="971187"/>
                  <a:pt x="1262543" y="992927"/>
                  <a:pt x="1262543" y="1019746"/>
                </a:cubicBezTo>
                <a:cubicBezTo>
                  <a:pt x="1262543" y="1046565"/>
                  <a:pt x="1240802" y="1068306"/>
                  <a:pt x="1213983" y="1068306"/>
                </a:cubicBezTo>
                <a:cubicBezTo>
                  <a:pt x="1187165" y="1068306"/>
                  <a:pt x="1165424" y="1046565"/>
                  <a:pt x="1165424" y="1019746"/>
                </a:cubicBezTo>
                <a:cubicBezTo>
                  <a:pt x="1165424" y="992927"/>
                  <a:pt x="1187165" y="971187"/>
                  <a:pt x="1213983" y="971187"/>
                </a:cubicBezTo>
                <a:close/>
                <a:moveTo>
                  <a:pt x="1019746" y="971187"/>
                </a:moveTo>
                <a:cubicBezTo>
                  <a:pt x="1046565" y="971187"/>
                  <a:pt x="1068306" y="992927"/>
                  <a:pt x="1068306" y="1019746"/>
                </a:cubicBezTo>
                <a:cubicBezTo>
                  <a:pt x="1068306" y="1046565"/>
                  <a:pt x="1046565" y="1068306"/>
                  <a:pt x="1019746" y="1068306"/>
                </a:cubicBezTo>
                <a:cubicBezTo>
                  <a:pt x="992927" y="1068306"/>
                  <a:pt x="971186" y="1046565"/>
                  <a:pt x="971186" y="1019746"/>
                </a:cubicBezTo>
                <a:cubicBezTo>
                  <a:pt x="971186" y="992927"/>
                  <a:pt x="992927" y="971187"/>
                  <a:pt x="1019746" y="971187"/>
                </a:cubicBezTo>
                <a:close/>
                <a:moveTo>
                  <a:pt x="825509" y="971187"/>
                </a:moveTo>
                <a:cubicBezTo>
                  <a:pt x="852328" y="971187"/>
                  <a:pt x="874069" y="992927"/>
                  <a:pt x="874069" y="1019746"/>
                </a:cubicBezTo>
                <a:cubicBezTo>
                  <a:pt x="874069" y="1046565"/>
                  <a:pt x="852328" y="1068306"/>
                  <a:pt x="825509" y="1068306"/>
                </a:cubicBezTo>
                <a:cubicBezTo>
                  <a:pt x="798690" y="1068306"/>
                  <a:pt x="776949" y="1046565"/>
                  <a:pt x="776949" y="1019746"/>
                </a:cubicBezTo>
                <a:cubicBezTo>
                  <a:pt x="776949" y="992927"/>
                  <a:pt x="798690" y="971187"/>
                  <a:pt x="825509" y="971187"/>
                </a:cubicBezTo>
                <a:close/>
                <a:moveTo>
                  <a:pt x="631272" y="971187"/>
                </a:moveTo>
                <a:cubicBezTo>
                  <a:pt x="658091" y="971187"/>
                  <a:pt x="679831" y="992927"/>
                  <a:pt x="679831" y="1019746"/>
                </a:cubicBezTo>
                <a:cubicBezTo>
                  <a:pt x="679831" y="1046565"/>
                  <a:pt x="658091" y="1068306"/>
                  <a:pt x="631272" y="1068306"/>
                </a:cubicBezTo>
                <a:cubicBezTo>
                  <a:pt x="604453" y="1068306"/>
                  <a:pt x="582712" y="1046565"/>
                  <a:pt x="582712" y="1019746"/>
                </a:cubicBezTo>
                <a:cubicBezTo>
                  <a:pt x="582712" y="992927"/>
                  <a:pt x="604453" y="971187"/>
                  <a:pt x="631272" y="971187"/>
                </a:cubicBezTo>
                <a:close/>
                <a:moveTo>
                  <a:pt x="437034" y="971187"/>
                </a:moveTo>
                <a:cubicBezTo>
                  <a:pt x="463853" y="971187"/>
                  <a:pt x="485594" y="992927"/>
                  <a:pt x="485594" y="1019746"/>
                </a:cubicBezTo>
                <a:cubicBezTo>
                  <a:pt x="485594" y="1046565"/>
                  <a:pt x="463853" y="1068306"/>
                  <a:pt x="437034" y="1068306"/>
                </a:cubicBezTo>
                <a:cubicBezTo>
                  <a:pt x="410215" y="1068306"/>
                  <a:pt x="388475" y="1046565"/>
                  <a:pt x="388475" y="1019746"/>
                </a:cubicBezTo>
                <a:cubicBezTo>
                  <a:pt x="388475" y="992927"/>
                  <a:pt x="410215" y="971187"/>
                  <a:pt x="437034" y="971187"/>
                </a:cubicBezTo>
                <a:close/>
                <a:moveTo>
                  <a:pt x="242797" y="971187"/>
                </a:moveTo>
                <a:cubicBezTo>
                  <a:pt x="269616" y="971187"/>
                  <a:pt x="291357" y="992927"/>
                  <a:pt x="291357" y="1019746"/>
                </a:cubicBezTo>
                <a:cubicBezTo>
                  <a:pt x="291357" y="1046565"/>
                  <a:pt x="269616" y="1068306"/>
                  <a:pt x="242797" y="1068306"/>
                </a:cubicBezTo>
                <a:cubicBezTo>
                  <a:pt x="215978" y="1068306"/>
                  <a:pt x="194237" y="1046565"/>
                  <a:pt x="194237" y="1019746"/>
                </a:cubicBezTo>
                <a:cubicBezTo>
                  <a:pt x="194237" y="992927"/>
                  <a:pt x="215978" y="971187"/>
                  <a:pt x="242797" y="971187"/>
                </a:cubicBezTo>
                <a:close/>
                <a:moveTo>
                  <a:pt x="48560" y="971187"/>
                </a:moveTo>
                <a:cubicBezTo>
                  <a:pt x="75379" y="971187"/>
                  <a:pt x="97119" y="992927"/>
                  <a:pt x="97119" y="1019746"/>
                </a:cubicBezTo>
                <a:cubicBezTo>
                  <a:pt x="97119" y="1046565"/>
                  <a:pt x="75379" y="1068306"/>
                  <a:pt x="48560" y="1068306"/>
                </a:cubicBezTo>
                <a:cubicBezTo>
                  <a:pt x="21741" y="1068306"/>
                  <a:pt x="0" y="1046565"/>
                  <a:pt x="0" y="1019746"/>
                </a:cubicBezTo>
                <a:cubicBezTo>
                  <a:pt x="0" y="992927"/>
                  <a:pt x="21741" y="971187"/>
                  <a:pt x="48560" y="971187"/>
                </a:cubicBezTo>
                <a:close/>
                <a:moveTo>
                  <a:pt x="1796695" y="776949"/>
                </a:moveTo>
                <a:cubicBezTo>
                  <a:pt x="1823514" y="776949"/>
                  <a:pt x="1845255" y="798690"/>
                  <a:pt x="1845255" y="825509"/>
                </a:cubicBezTo>
                <a:cubicBezTo>
                  <a:pt x="1845255" y="852328"/>
                  <a:pt x="1823514" y="874069"/>
                  <a:pt x="1796695" y="874069"/>
                </a:cubicBezTo>
                <a:cubicBezTo>
                  <a:pt x="1769876" y="874069"/>
                  <a:pt x="1748136" y="852328"/>
                  <a:pt x="1748136" y="825509"/>
                </a:cubicBezTo>
                <a:cubicBezTo>
                  <a:pt x="1748136" y="798690"/>
                  <a:pt x="1769876" y="776949"/>
                  <a:pt x="1796695" y="776949"/>
                </a:cubicBezTo>
                <a:close/>
                <a:moveTo>
                  <a:pt x="1602458" y="776949"/>
                </a:moveTo>
                <a:cubicBezTo>
                  <a:pt x="1629277" y="776949"/>
                  <a:pt x="1651018" y="798690"/>
                  <a:pt x="1651018" y="825509"/>
                </a:cubicBezTo>
                <a:cubicBezTo>
                  <a:pt x="1651018" y="852328"/>
                  <a:pt x="1629277" y="874069"/>
                  <a:pt x="1602458" y="874069"/>
                </a:cubicBezTo>
                <a:cubicBezTo>
                  <a:pt x="1575639" y="874069"/>
                  <a:pt x="1553898" y="852328"/>
                  <a:pt x="1553898" y="825509"/>
                </a:cubicBezTo>
                <a:cubicBezTo>
                  <a:pt x="1553898" y="798690"/>
                  <a:pt x="1575639" y="776949"/>
                  <a:pt x="1602458" y="776949"/>
                </a:cubicBezTo>
                <a:close/>
                <a:moveTo>
                  <a:pt x="1408221" y="776949"/>
                </a:moveTo>
                <a:cubicBezTo>
                  <a:pt x="1435040" y="776949"/>
                  <a:pt x="1456780" y="798690"/>
                  <a:pt x="1456780" y="825509"/>
                </a:cubicBezTo>
                <a:cubicBezTo>
                  <a:pt x="1456780" y="852328"/>
                  <a:pt x="1435040" y="874069"/>
                  <a:pt x="1408221" y="874069"/>
                </a:cubicBezTo>
                <a:cubicBezTo>
                  <a:pt x="1381402" y="874069"/>
                  <a:pt x="1359661" y="852328"/>
                  <a:pt x="1359661" y="825509"/>
                </a:cubicBezTo>
                <a:cubicBezTo>
                  <a:pt x="1359661" y="798690"/>
                  <a:pt x="1381402" y="776949"/>
                  <a:pt x="1408221" y="776949"/>
                </a:cubicBezTo>
                <a:close/>
                <a:moveTo>
                  <a:pt x="1213983" y="776949"/>
                </a:moveTo>
                <a:cubicBezTo>
                  <a:pt x="1240802" y="776949"/>
                  <a:pt x="1262543" y="798690"/>
                  <a:pt x="1262543" y="825509"/>
                </a:cubicBezTo>
                <a:cubicBezTo>
                  <a:pt x="1262543" y="852328"/>
                  <a:pt x="1240802" y="874069"/>
                  <a:pt x="1213983" y="874069"/>
                </a:cubicBezTo>
                <a:cubicBezTo>
                  <a:pt x="1187165" y="874069"/>
                  <a:pt x="1165424" y="852328"/>
                  <a:pt x="1165424" y="825509"/>
                </a:cubicBezTo>
                <a:cubicBezTo>
                  <a:pt x="1165424" y="798690"/>
                  <a:pt x="1187165" y="776949"/>
                  <a:pt x="1213983" y="776949"/>
                </a:cubicBezTo>
                <a:close/>
                <a:moveTo>
                  <a:pt x="1019746" y="776949"/>
                </a:moveTo>
                <a:cubicBezTo>
                  <a:pt x="1046565" y="776949"/>
                  <a:pt x="1068306" y="798690"/>
                  <a:pt x="1068306" y="825509"/>
                </a:cubicBezTo>
                <a:cubicBezTo>
                  <a:pt x="1068306" y="852328"/>
                  <a:pt x="1046565" y="874069"/>
                  <a:pt x="1019746" y="874069"/>
                </a:cubicBezTo>
                <a:cubicBezTo>
                  <a:pt x="992927" y="874069"/>
                  <a:pt x="971186" y="852328"/>
                  <a:pt x="971186" y="825509"/>
                </a:cubicBezTo>
                <a:cubicBezTo>
                  <a:pt x="971186" y="798690"/>
                  <a:pt x="992927" y="776949"/>
                  <a:pt x="1019746" y="776949"/>
                </a:cubicBezTo>
                <a:close/>
                <a:moveTo>
                  <a:pt x="825509" y="776949"/>
                </a:moveTo>
                <a:cubicBezTo>
                  <a:pt x="852328" y="776949"/>
                  <a:pt x="874069" y="798690"/>
                  <a:pt x="874069" y="825509"/>
                </a:cubicBezTo>
                <a:cubicBezTo>
                  <a:pt x="874069" y="852328"/>
                  <a:pt x="852328" y="874069"/>
                  <a:pt x="825509" y="874069"/>
                </a:cubicBezTo>
                <a:cubicBezTo>
                  <a:pt x="798690" y="874069"/>
                  <a:pt x="776949" y="852328"/>
                  <a:pt x="776949" y="825509"/>
                </a:cubicBezTo>
                <a:cubicBezTo>
                  <a:pt x="776949" y="798690"/>
                  <a:pt x="798690" y="776949"/>
                  <a:pt x="825509" y="776949"/>
                </a:cubicBezTo>
                <a:close/>
                <a:moveTo>
                  <a:pt x="631272" y="776949"/>
                </a:moveTo>
                <a:cubicBezTo>
                  <a:pt x="658091" y="776949"/>
                  <a:pt x="679831" y="798690"/>
                  <a:pt x="679831" y="825509"/>
                </a:cubicBezTo>
                <a:cubicBezTo>
                  <a:pt x="679831" y="852328"/>
                  <a:pt x="658091" y="874069"/>
                  <a:pt x="631272" y="874069"/>
                </a:cubicBezTo>
                <a:cubicBezTo>
                  <a:pt x="604453" y="874069"/>
                  <a:pt x="582712" y="852328"/>
                  <a:pt x="582712" y="825509"/>
                </a:cubicBezTo>
                <a:cubicBezTo>
                  <a:pt x="582712" y="798690"/>
                  <a:pt x="604453" y="776949"/>
                  <a:pt x="631272" y="776949"/>
                </a:cubicBezTo>
                <a:close/>
                <a:moveTo>
                  <a:pt x="437034" y="776949"/>
                </a:moveTo>
                <a:cubicBezTo>
                  <a:pt x="463853" y="776949"/>
                  <a:pt x="485594" y="798690"/>
                  <a:pt x="485594" y="825509"/>
                </a:cubicBezTo>
                <a:cubicBezTo>
                  <a:pt x="485594" y="852328"/>
                  <a:pt x="463853" y="874069"/>
                  <a:pt x="437034" y="874069"/>
                </a:cubicBezTo>
                <a:cubicBezTo>
                  <a:pt x="410215" y="874069"/>
                  <a:pt x="388475" y="852328"/>
                  <a:pt x="388475" y="825509"/>
                </a:cubicBezTo>
                <a:cubicBezTo>
                  <a:pt x="388475" y="798690"/>
                  <a:pt x="410215" y="776949"/>
                  <a:pt x="437034" y="776949"/>
                </a:cubicBezTo>
                <a:close/>
                <a:moveTo>
                  <a:pt x="242797" y="776949"/>
                </a:moveTo>
                <a:cubicBezTo>
                  <a:pt x="269616" y="776949"/>
                  <a:pt x="291357" y="798690"/>
                  <a:pt x="291357" y="825509"/>
                </a:cubicBezTo>
                <a:cubicBezTo>
                  <a:pt x="291357" y="852328"/>
                  <a:pt x="269616" y="874069"/>
                  <a:pt x="242797" y="874069"/>
                </a:cubicBezTo>
                <a:cubicBezTo>
                  <a:pt x="215978" y="874069"/>
                  <a:pt x="194237" y="852328"/>
                  <a:pt x="194237" y="825509"/>
                </a:cubicBezTo>
                <a:cubicBezTo>
                  <a:pt x="194237" y="798690"/>
                  <a:pt x="215978" y="776949"/>
                  <a:pt x="242797" y="776949"/>
                </a:cubicBezTo>
                <a:close/>
                <a:moveTo>
                  <a:pt x="48560" y="776949"/>
                </a:moveTo>
                <a:cubicBezTo>
                  <a:pt x="75379" y="776949"/>
                  <a:pt x="97119" y="798690"/>
                  <a:pt x="97119" y="825509"/>
                </a:cubicBezTo>
                <a:cubicBezTo>
                  <a:pt x="97119" y="852328"/>
                  <a:pt x="75379" y="874069"/>
                  <a:pt x="48560" y="874069"/>
                </a:cubicBezTo>
                <a:cubicBezTo>
                  <a:pt x="21741" y="874069"/>
                  <a:pt x="0" y="852328"/>
                  <a:pt x="0" y="825509"/>
                </a:cubicBezTo>
                <a:cubicBezTo>
                  <a:pt x="0" y="798690"/>
                  <a:pt x="21741" y="776949"/>
                  <a:pt x="48560" y="776949"/>
                </a:cubicBezTo>
                <a:close/>
                <a:moveTo>
                  <a:pt x="1796695" y="582712"/>
                </a:moveTo>
                <a:cubicBezTo>
                  <a:pt x="1823514" y="582712"/>
                  <a:pt x="1845255" y="604453"/>
                  <a:pt x="1845255" y="631272"/>
                </a:cubicBezTo>
                <a:cubicBezTo>
                  <a:pt x="1845255" y="658091"/>
                  <a:pt x="1823514" y="679832"/>
                  <a:pt x="1796695" y="679832"/>
                </a:cubicBezTo>
                <a:cubicBezTo>
                  <a:pt x="1769876" y="679832"/>
                  <a:pt x="1748136" y="658091"/>
                  <a:pt x="1748136" y="631272"/>
                </a:cubicBezTo>
                <a:cubicBezTo>
                  <a:pt x="1748136" y="604453"/>
                  <a:pt x="1769876" y="582712"/>
                  <a:pt x="1796695" y="582712"/>
                </a:cubicBezTo>
                <a:close/>
                <a:moveTo>
                  <a:pt x="1602458" y="582712"/>
                </a:moveTo>
                <a:cubicBezTo>
                  <a:pt x="1629277" y="582712"/>
                  <a:pt x="1651018" y="604453"/>
                  <a:pt x="1651018" y="631272"/>
                </a:cubicBezTo>
                <a:cubicBezTo>
                  <a:pt x="1651018" y="658091"/>
                  <a:pt x="1629277" y="679832"/>
                  <a:pt x="1602458" y="679832"/>
                </a:cubicBezTo>
                <a:cubicBezTo>
                  <a:pt x="1575639" y="679832"/>
                  <a:pt x="1553898" y="658091"/>
                  <a:pt x="1553898" y="631272"/>
                </a:cubicBezTo>
                <a:cubicBezTo>
                  <a:pt x="1553898" y="604453"/>
                  <a:pt x="1575639" y="582712"/>
                  <a:pt x="1602458" y="582712"/>
                </a:cubicBezTo>
                <a:close/>
                <a:moveTo>
                  <a:pt x="1408221" y="582712"/>
                </a:moveTo>
                <a:cubicBezTo>
                  <a:pt x="1435040" y="582712"/>
                  <a:pt x="1456780" y="604453"/>
                  <a:pt x="1456780" y="631272"/>
                </a:cubicBezTo>
                <a:cubicBezTo>
                  <a:pt x="1456780" y="658091"/>
                  <a:pt x="1435040" y="679832"/>
                  <a:pt x="1408221" y="679832"/>
                </a:cubicBezTo>
                <a:cubicBezTo>
                  <a:pt x="1381402" y="679832"/>
                  <a:pt x="1359661" y="658091"/>
                  <a:pt x="1359661" y="631272"/>
                </a:cubicBezTo>
                <a:cubicBezTo>
                  <a:pt x="1359661" y="604453"/>
                  <a:pt x="1381402" y="582712"/>
                  <a:pt x="1408221" y="582712"/>
                </a:cubicBezTo>
                <a:close/>
                <a:moveTo>
                  <a:pt x="1213983" y="582712"/>
                </a:moveTo>
                <a:cubicBezTo>
                  <a:pt x="1240802" y="582712"/>
                  <a:pt x="1262543" y="604453"/>
                  <a:pt x="1262543" y="631272"/>
                </a:cubicBezTo>
                <a:cubicBezTo>
                  <a:pt x="1262543" y="658091"/>
                  <a:pt x="1240802" y="679832"/>
                  <a:pt x="1213983" y="679832"/>
                </a:cubicBezTo>
                <a:cubicBezTo>
                  <a:pt x="1187165" y="679832"/>
                  <a:pt x="1165424" y="658091"/>
                  <a:pt x="1165424" y="631272"/>
                </a:cubicBezTo>
                <a:cubicBezTo>
                  <a:pt x="1165424" y="604453"/>
                  <a:pt x="1187165" y="582712"/>
                  <a:pt x="1213983" y="582712"/>
                </a:cubicBezTo>
                <a:close/>
                <a:moveTo>
                  <a:pt x="1019746" y="582712"/>
                </a:moveTo>
                <a:cubicBezTo>
                  <a:pt x="1046565" y="582712"/>
                  <a:pt x="1068306" y="604453"/>
                  <a:pt x="1068306" y="631272"/>
                </a:cubicBezTo>
                <a:cubicBezTo>
                  <a:pt x="1068306" y="658091"/>
                  <a:pt x="1046565" y="679832"/>
                  <a:pt x="1019746" y="679832"/>
                </a:cubicBezTo>
                <a:cubicBezTo>
                  <a:pt x="992927" y="679832"/>
                  <a:pt x="971186" y="658091"/>
                  <a:pt x="971186" y="631272"/>
                </a:cubicBezTo>
                <a:cubicBezTo>
                  <a:pt x="971186" y="604453"/>
                  <a:pt x="992927" y="582712"/>
                  <a:pt x="1019746" y="582712"/>
                </a:cubicBezTo>
                <a:close/>
                <a:moveTo>
                  <a:pt x="825509" y="582712"/>
                </a:moveTo>
                <a:cubicBezTo>
                  <a:pt x="852328" y="582712"/>
                  <a:pt x="874069" y="604453"/>
                  <a:pt x="874069" y="631272"/>
                </a:cubicBezTo>
                <a:cubicBezTo>
                  <a:pt x="874069" y="658091"/>
                  <a:pt x="852328" y="679832"/>
                  <a:pt x="825509" y="679832"/>
                </a:cubicBezTo>
                <a:cubicBezTo>
                  <a:pt x="798690" y="679832"/>
                  <a:pt x="776949" y="658091"/>
                  <a:pt x="776949" y="631272"/>
                </a:cubicBezTo>
                <a:cubicBezTo>
                  <a:pt x="776949" y="604453"/>
                  <a:pt x="798690" y="582712"/>
                  <a:pt x="825509" y="582712"/>
                </a:cubicBezTo>
                <a:close/>
                <a:moveTo>
                  <a:pt x="631272" y="582712"/>
                </a:moveTo>
                <a:cubicBezTo>
                  <a:pt x="658091" y="582712"/>
                  <a:pt x="679831" y="604453"/>
                  <a:pt x="679831" y="631272"/>
                </a:cubicBezTo>
                <a:cubicBezTo>
                  <a:pt x="679831" y="658091"/>
                  <a:pt x="658091" y="679832"/>
                  <a:pt x="631272" y="679832"/>
                </a:cubicBezTo>
                <a:cubicBezTo>
                  <a:pt x="604453" y="679832"/>
                  <a:pt x="582712" y="658091"/>
                  <a:pt x="582712" y="631272"/>
                </a:cubicBezTo>
                <a:cubicBezTo>
                  <a:pt x="582712" y="604453"/>
                  <a:pt x="604453" y="582712"/>
                  <a:pt x="631272" y="582712"/>
                </a:cubicBezTo>
                <a:close/>
                <a:moveTo>
                  <a:pt x="437034" y="582712"/>
                </a:moveTo>
                <a:cubicBezTo>
                  <a:pt x="463853" y="582712"/>
                  <a:pt x="485594" y="604453"/>
                  <a:pt x="485594" y="631272"/>
                </a:cubicBezTo>
                <a:cubicBezTo>
                  <a:pt x="485594" y="658091"/>
                  <a:pt x="463853" y="679832"/>
                  <a:pt x="437034" y="679832"/>
                </a:cubicBezTo>
                <a:cubicBezTo>
                  <a:pt x="410215" y="679832"/>
                  <a:pt x="388475" y="658091"/>
                  <a:pt x="388475" y="631272"/>
                </a:cubicBezTo>
                <a:cubicBezTo>
                  <a:pt x="388475" y="604453"/>
                  <a:pt x="410215" y="582712"/>
                  <a:pt x="437034" y="582712"/>
                </a:cubicBezTo>
                <a:close/>
                <a:moveTo>
                  <a:pt x="242797" y="582712"/>
                </a:moveTo>
                <a:cubicBezTo>
                  <a:pt x="269616" y="582712"/>
                  <a:pt x="291357" y="604453"/>
                  <a:pt x="291357" y="631272"/>
                </a:cubicBezTo>
                <a:cubicBezTo>
                  <a:pt x="291357" y="658091"/>
                  <a:pt x="269616" y="679832"/>
                  <a:pt x="242797" y="679832"/>
                </a:cubicBezTo>
                <a:cubicBezTo>
                  <a:pt x="215978" y="679832"/>
                  <a:pt x="194237" y="658091"/>
                  <a:pt x="194237" y="631272"/>
                </a:cubicBezTo>
                <a:cubicBezTo>
                  <a:pt x="194237" y="604453"/>
                  <a:pt x="215978" y="582712"/>
                  <a:pt x="242797" y="582712"/>
                </a:cubicBezTo>
                <a:close/>
                <a:moveTo>
                  <a:pt x="48560" y="582712"/>
                </a:moveTo>
                <a:cubicBezTo>
                  <a:pt x="75379" y="582712"/>
                  <a:pt x="97119" y="604453"/>
                  <a:pt x="97119" y="631272"/>
                </a:cubicBezTo>
                <a:cubicBezTo>
                  <a:pt x="97119" y="658091"/>
                  <a:pt x="75379" y="679832"/>
                  <a:pt x="48560" y="679832"/>
                </a:cubicBezTo>
                <a:cubicBezTo>
                  <a:pt x="21741" y="679832"/>
                  <a:pt x="0" y="658091"/>
                  <a:pt x="0" y="631272"/>
                </a:cubicBezTo>
                <a:cubicBezTo>
                  <a:pt x="0" y="604453"/>
                  <a:pt x="21741" y="582712"/>
                  <a:pt x="48560" y="582712"/>
                </a:cubicBezTo>
                <a:close/>
                <a:moveTo>
                  <a:pt x="1796695" y="388475"/>
                </a:moveTo>
                <a:cubicBezTo>
                  <a:pt x="1823514" y="388475"/>
                  <a:pt x="1845255" y="410216"/>
                  <a:pt x="1845255" y="437035"/>
                </a:cubicBezTo>
                <a:cubicBezTo>
                  <a:pt x="1845255" y="463853"/>
                  <a:pt x="1823514" y="485594"/>
                  <a:pt x="1796695" y="485594"/>
                </a:cubicBezTo>
                <a:cubicBezTo>
                  <a:pt x="1769876" y="485594"/>
                  <a:pt x="1748136" y="463853"/>
                  <a:pt x="1748136" y="437035"/>
                </a:cubicBezTo>
                <a:cubicBezTo>
                  <a:pt x="1748136" y="410216"/>
                  <a:pt x="1769876" y="388475"/>
                  <a:pt x="1796695" y="388475"/>
                </a:cubicBezTo>
                <a:close/>
                <a:moveTo>
                  <a:pt x="1602458" y="388475"/>
                </a:moveTo>
                <a:cubicBezTo>
                  <a:pt x="1629277" y="388475"/>
                  <a:pt x="1651018" y="410216"/>
                  <a:pt x="1651018" y="437035"/>
                </a:cubicBezTo>
                <a:cubicBezTo>
                  <a:pt x="1651018" y="463853"/>
                  <a:pt x="1629277" y="485594"/>
                  <a:pt x="1602458" y="485594"/>
                </a:cubicBezTo>
                <a:cubicBezTo>
                  <a:pt x="1575639" y="485594"/>
                  <a:pt x="1553898" y="463853"/>
                  <a:pt x="1553898" y="437035"/>
                </a:cubicBezTo>
                <a:cubicBezTo>
                  <a:pt x="1553898" y="410216"/>
                  <a:pt x="1575639" y="388475"/>
                  <a:pt x="1602458" y="388475"/>
                </a:cubicBezTo>
                <a:close/>
                <a:moveTo>
                  <a:pt x="1408221" y="388475"/>
                </a:moveTo>
                <a:cubicBezTo>
                  <a:pt x="1435040" y="388475"/>
                  <a:pt x="1456780" y="410216"/>
                  <a:pt x="1456780" y="437035"/>
                </a:cubicBezTo>
                <a:cubicBezTo>
                  <a:pt x="1456780" y="463853"/>
                  <a:pt x="1435040" y="485594"/>
                  <a:pt x="1408221" y="485594"/>
                </a:cubicBezTo>
                <a:cubicBezTo>
                  <a:pt x="1381402" y="485594"/>
                  <a:pt x="1359661" y="463853"/>
                  <a:pt x="1359661" y="437035"/>
                </a:cubicBezTo>
                <a:cubicBezTo>
                  <a:pt x="1359661" y="410216"/>
                  <a:pt x="1381402" y="388475"/>
                  <a:pt x="1408221" y="388475"/>
                </a:cubicBezTo>
                <a:close/>
                <a:moveTo>
                  <a:pt x="1213983" y="388475"/>
                </a:moveTo>
                <a:cubicBezTo>
                  <a:pt x="1240802" y="388475"/>
                  <a:pt x="1262543" y="410216"/>
                  <a:pt x="1262543" y="437035"/>
                </a:cubicBezTo>
                <a:cubicBezTo>
                  <a:pt x="1262543" y="463853"/>
                  <a:pt x="1240802" y="485594"/>
                  <a:pt x="1213983" y="485594"/>
                </a:cubicBezTo>
                <a:cubicBezTo>
                  <a:pt x="1187165" y="485594"/>
                  <a:pt x="1165424" y="463853"/>
                  <a:pt x="1165424" y="437035"/>
                </a:cubicBezTo>
                <a:cubicBezTo>
                  <a:pt x="1165424" y="410216"/>
                  <a:pt x="1187165" y="388475"/>
                  <a:pt x="1213983" y="388475"/>
                </a:cubicBezTo>
                <a:close/>
                <a:moveTo>
                  <a:pt x="1019746" y="388475"/>
                </a:moveTo>
                <a:cubicBezTo>
                  <a:pt x="1046565" y="388475"/>
                  <a:pt x="1068306" y="410216"/>
                  <a:pt x="1068306" y="437035"/>
                </a:cubicBezTo>
                <a:cubicBezTo>
                  <a:pt x="1068306" y="463853"/>
                  <a:pt x="1046565" y="485594"/>
                  <a:pt x="1019746" y="485594"/>
                </a:cubicBezTo>
                <a:cubicBezTo>
                  <a:pt x="992927" y="485594"/>
                  <a:pt x="971186" y="463853"/>
                  <a:pt x="971186" y="437035"/>
                </a:cubicBezTo>
                <a:cubicBezTo>
                  <a:pt x="971186" y="410216"/>
                  <a:pt x="992927" y="388475"/>
                  <a:pt x="1019746" y="388475"/>
                </a:cubicBezTo>
                <a:close/>
                <a:moveTo>
                  <a:pt x="825509" y="388475"/>
                </a:moveTo>
                <a:cubicBezTo>
                  <a:pt x="852328" y="388475"/>
                  <a:pt x="874069" y="410216"/>
                  <a:pt x="874069" y="437035"/>
                </a:cubicBezTo>
                <a:cubicBezTo>
                  <a:pt x="874069" y="463853"/>
                  <a:pt x="852328" y="485594"/>
                  <a:pt x="825509" y="485594"/>
                </a:cubicBezTo>
                <a:cubicBezTo>
                  <a:pt x="798690" y="485594"/>
                  <a:pt x="776949" y="463853"/>
                  <a:pt x="776949" y="437035"/>
                </a:cubicBezTo>
                <a:cubicBezTo>
                  <a:pt x="776949" y="410216"/>
                  <a:pt x="798690" y="388475"/>
                  <a:pt x="825509" y="388475"/>
                </a:cubicBezTo>
                <a:close/>
                <a:moveTo>
                  <a:pt x="631272" y="388475"/>
                </a:moveTo>
                <a:cubicBezTo>
                  <a:pt x="658091" y="388475"/>
                  <a:pt x="679831" y="410216"/>
                  <a:pt x="679831" y="437035"/>
                </a:cubicBezTo>
                <a:cubicBezTo>
                  <a:pt x="679831" y="463853"/>
                  <a:pt x="658091" y="485594"/>
                  <a:pt x="631272" y="485594"/>
                </a:cubicBezTo>
                <a:cubicBezTo>
                  <a:pt x="604453" y="485594"/>
                  <a:pt x="582712" y="463853"/>
                  <a:pt x="582712" y="437035"/>
                </a:cubicBezTo>
                <a:cubicBezTo>
                  <a:pt x="582712" y="410216"/>
                  <a:pt x="604453" y="388475"/>
                  <a:pt x="631272" y="388475"/>
                </a:cubicBezTo>
                <a:close/>
                <a:moveTo>
                  <a:pt x="437034" y="388475"/>
                </a:moveTo>
                <a:cubicBezTo>
                  <a:pt x="463853" y="388475"/>
                  <a:pt x="485594" y="410216"/>
                  <a:pt x="485594" y="437035"/>
                </a:cubicBezTo>
                <a:cubicBezTo>
                  <a:pt x="485594" y="463853"/>
                  <a:pt x="463853" y="485594"/>
                  <a:pt x="437034" y="485594"/>
                </a:cubicBezTo>
                <a:cubicBezTo>
                  <a:pt x="410215" y="485594"/>
                  <a:pt x="388475" y="463853"/>
                  <a:pt x="388475" y="437035"/>
                </a:cubicBezTo>
                <a:cubicBezTo>
                  <a:pt x="388475" y="410216"/>
                  <a:pt x="410215" y="388475"/>
                  <a:pt x="437034" y="388475"/>
                </a:cubicBezTo>
                <a:close/>
                <a:moveTo>
                  <a:pt x="242797" y="388475"/>
                </a:moveTo>
                <a:cubicBezTo>
                  <a:pt x="269616" y="388475"/>
                  <a:pt x="291357" y="410216"/>
                  <a:pt x="291357" y="437035"/>
                </a:cubicBezTo>
                <a:cubicBezTo>
                  <a:pt x="291357" y="463853"/>
                  <a:pt x="269616" y="485594"/>
                  <a:pt x="242797" y="485594"/>
                </a:cubicBezTo>
                <a:cubicBezTo>
                  <a:pt x="215978" y="485594"/>
                  <a:pt x="194237" y="463853"/>
                  <a:pt x="194237" y="437035"/>
                </a:cubicBezTo>
                <a:cubicBezTo>
                  <a:pt x="194237" y="410216"/>
                  <a:pt x="215978" y="388475"/>
                  <a:pt x="242797" y="388475"/>
                </a:cubicBezTo>
                <a:close/>
                <a:moveTo>
                  <a:pt x="48560" y="388475"/>
                </a:moveTo>
                <a:cubicBezTo>
                  <a:pt x="75379" y="388475"/>
                  <a:pt x="97119" y="410216"/>
                  <a:pt x="97119" y="437035"/>
                </a:cubicBezTo>
                <a:cubicBezTo>
                  <a:pt x="97119" y="463853"/>
                  <a:pt x="75379" y="485594"/>
                  <a:pt x="48560" y="485594"/>
                </a:cubicBezTo>
                <a:cubicBezTo>
                  <a:pt x="21741" y="485594"/>
                  <a:pt x="0" y="463853"/>
                  <a:pt x="0" y="437035"/>
                </a:cubicBezTo>
                <a:cubicBezTo>
                  <a:pt x="0" y="410216"/>
                  <a:pt x="21741" y="388475"/>
                  <a:pt x="48560" y="388475"/>
                </a:cubicBezTo>
                <a:close/>
                <a:moveTo>
                  <a:pt x="1796695" y="194238"/>
                </a:moveTo>
                <a:cubicBezTo>
                  <a:pt x="1823514" y="194238"/>
                  <a:pt x="1845255" y="215978"/>
                  <a:pt x="1845255" y="242797"/>
                </a:cubicBezTo>
                <a:cubicBezTo>
                  <a:pt x="1845255" y="269616"/>
                  <a:pt x="1823514" y="291357"/>
                  <a:pt x="1796695" y="291357"/>
                </a:cubicBezTo>
                <a:cubicBezTo>
                  <a:pt x="1769876" y="291357"/>
                  <a:pt x="1748136" y="269616"/>
                  <a:pt x="1748136" y="242797"/>
                </a:cubicBezTo>
                <a:cubicBezTo>
                  <a:pt x="1748136" y="215978"/>
                  <a:pt x="1769876" y="194238"/>
                  <a:pt x="1796695" y="194238"/>
                </a:cubicBezTo>
                <a:close/>
                <a:moveTo>
                  <a:pt x="1602458" y="194238"/>
                </a:moveTo>
                <a:cubicBezTo>
                  <a:pt x="1629277" y="194238"/>
                  <a:pt x="1651018" y="215978"/>
                  <a:pt x="1651018" y="242797"/>
                </a:cubicBezTo>
                <a:cubicBezTo>
                  <a:pt x="1651018" y="269616"/>
                  <a:pt x="1629277" y="291357"/>
                  <a:pt x="1602458" y="291357"/>
                </a:cubicBezTo>
                <a:cubicBezTo>
                  <a:pt x="1575639" y="291357"/>
                  <a:pt x="1553898" y="269616"/>
                  <a:pt x="1553898" y="242797"/>
                </a:cubicBezTo>
                <a:cubicBezTo>
                  <a:pt x="1553898" y="215978"/>
                  <a:pt x="1575639" y="194238"/>
                  <a:pt x="1602458" y="194238"/>
                </a:cubicBezTo>
                <a:close/>
                <a:moveTo>
                  <a:pt x="1408221" y="194238"/>
                </a:moveTo>
                <a:cubicBezTo>
                  <a:pt x="1435040" y="194238"/>
                  <a:pt x="1456780" y="215978"/>
                  <a:pt x="1456780" y="242797"/>
                </a:cubicBezTo>
                <a:cubicBezTo>
                  <a:pt x="1456780" y="269616"/>
                  <a:pt x="1435040" y="291357"/>
                  <a:pt x="1408221" y="291357"/>
                </a:cubicBezTo>
                <a:cubicBezTo>
                  <a:pt x="1381402" y="291357"/>
                  <a:pt x="1359661" y="269616"/>
                  <a:pt x="1359661" y="242797"/>
                </a:cubicBezTo>
                <a:cubicBezTo>
                  <a:pt x="1359661" y="215978"/>
                  <a:pt x="1381402" y="194238"/>
                  <a:pt x="1408221" y="194238"/>
                </a:cubicBezTo>
                <a:close/>
                <a:moveTo>
                  <a:pt x="1213983" y="194238"/>
                </a:moveTo>
                <a:cubicBezTo>
                  <a:pt x="1240802" y="194238"/>
                  <a:pt x="1262543" y="215978"/>
                  <a:pt x="1262543" y="242797"/>
                </a:cubicBezTo>
                <a:cubicBezTo>
                  <a:pt x="1262543" y="269616"/>
                  <a:pt x="1240802" y="291357"/>
                  <a:pt x="1213983" y="291357"/>
                </a:cubicBezTo>
                <a:cubicBezTo>
                  <a:pt x="1187165" y="291357"/>
                  <a:pt x="1165424" y="269616"/>
                  <a:pt x="1165424" y="242797"/>
                </a:cubicBezTo>
                <a:cubicBezTo>
                  <a:pt x="1165424" y="215978"/>
                  <a:pt x="1187165" y="194238"/>
                  <a:pt x="1213983" y="194238"/>
                </a:cubicBezTo>
                <a:close/>
                <a:moveTo>
                  <a:pt x="1019746" y="194238"/>
                </a:moveTo>
                <a:cubicBezTo>
                  <a:pt x="1046565" y="194238"/>
                  <a:pt x="1068306" y="215978"/>
                  <a:pt x="1068306" y="242797"/>
                </a:cubicBezTo>
                <a:cubicBezTo>
                  <a:pt x="1068306" y="269616"/>
                  <a:pt x="1046565" y="291357"/>
                  <a:pt x="1019746" y="291357"/>
                </a:cubicBezTo>
                <a:cubicBezTo>
                  <a:pt x="992927" y="291357"/>
                  <a:pt x="971186" y="269616"/>
                  <a:pt x="971186" y="242797"/>
                </a:cubicBezTo>
                <a:cubicBezTo>
                  <a:pt x="971186" y="215978"/>
                  <a:pt x="992927" y="194238"/>
                  <a:pt x="1019746" y="194238"/>
                </a:cubicBezTo>
                <a:close/>
                <a:moveTo>
                  <a:pt x="825509" y="194238"/>
                </a:moveTo>
                <a:cubicBezTo>
                  <a:pt x="852328" y="194238"/>
                  <a:pt x="874069" y="215978"/>
                  <a:pt x="874069" y="242797"/>
                </a:cubicBezTo>
                <a:cubicBezTo>
                  <a:pt x="874069" y="269616"/>
                  <a:pt x="852328" y="291357"/>
                  <a:pt x="825509" y="291357"/>
                </a:cubicBezTo>
                <a:cubicBezTo>
                  <a:pt x="798690" y="291357"/>
                  <a:pt x="776949" y="269616"/>
                  <a:pt x="776949" y="242797"/>
                </a:cubicBezTo>
                <a:cubicBezTo>
                  <a:pt x="776949" y="215978"/>
                  <a:pt x="798690" y="194238"/>
                  <a:pt x="825509" y="194238"/>
                </a:cubicBezTo>
                <a:close/>
                <a:moveTo>
                  <a:pt x="631272" y="194238"/>
                </a:moveTo>
                <a:cubicBezTo>
                  <a:pt x="658091" y="194238"/>
                  <a:pt x="679831" y="215978"/>
                  <a:pt x="679831" y="242797"/>
                </a:cubicBezTo>
                <a:cubicBezTo>
                  <a:pt x="679831" y="269616"/>
                  <a:pt x="658091" y="291357"/>
                  <a:pt x="631272" y="291357"/>
                </a:cubicBezTo>
                <a:cubicBezTo>
                  <a:pt x="604453" y="291357"/>
                  <a:pt x="582712" y="269616"/>
                  <a:pt x="582712" y="242797"/>
                </a:cubicBezTo>
                <a:cubicBezTo>
                  <a:pt x="582712" y="215978"/>
                  <a:pt x="604453" y="194238"/>
                  <a:pt x="631272" y="194238"/>
                </a:cubicBezTo>
                <a:close/>
                <a:moveTo>
                  <a:pt x="437034" y="194238"/>
                </a:moveTo>
                <a:cubicBezTo>
                  <a:pt x="463853" y="194238"/>
                  <a:pt x="485594" y="215978"/>
                  <a:pt x="485594" y="242797"/>
                </a:cubicBezTo>
                <a:cubicBezTo>
                  <a:pt x="485594" y="269616"/>
                  <a:pt x="463853" y="291357"/>
                  <a:pt x="437034" y="291357"/>
                </a:cubicBezTo>
                <a:cubicBezTo>
                  <a:pt x="410215" y="291357"/>
                  <a:pt x="388475" y="269616"/>
                  <a:pt x="388475" y="242797"/>
                </a:cubicBezTo>
                <a:cubicBezTo>
                  <a:pt x="388475" y="215978"/>
                  <a:pt x="410215" y="194238"/>
                  <a:pt x="437034" y="194238"/>
                </a:cubicBezTo>
                <a:close/>
                <a:moveTo>
                  <a:pt x="242797" y="194238"/>
                </a:moveTo>
                <a:cubicBezTo>
                  <a:pt x="269616" y="194238"/>
                  <a:pt x="291357" y="215978"/>
                  <a:pt x="291357" y="242797"/>
                </a:cubicBezTo>
                <a:cubicBezTo>
                  <a:pt x="291357" y="269616"/>
                  <a:pt x="269616" y="291357"/>
                  <a:pt x="242797" y="291357"/>
                </a:cubicBezTo>
                <a:cubicBezTo>
                  <a:pt x="215978" y="291357"/>
                  <a:pt x="194237" y="269616"/>
                  <a:pt x="194237" y="242797"/>
                </a:cubicBezTo>
                <a:cubicBezTo>
                  <a:pt x="194237" y="215978"/>
                  <a:pt x="215978" y="194238"/>
                  <a:pt x="242797" y="194238"/>
                </a:cubicBezTo>
                <a:close/>
                <a:moveTo>
                  <a:pt x="48560" y="194238"/>
                </a:moveTo>
                <a:cubicBezTo>
                  <a:pt x="75379" y="194238"/>
                  <a:pt x="97119" y="215978"/>
                  <a:pt x="97119" y="242797"/>
                </a:cubicBezTo>
                <a:cubicBezTo>
                  <a:pt x="97119" y="269616"/>
                  <a:pt x="75379" y="291357"/>
                  <a:pt x="48560" y="291357"/>
                </a:cubicBezTo>
                <a:cubicBezTo>
                  <a:pt x="21741" y="291357"/>
                  <a:pt x="0" y="269616"/>
                  <a:pt x="0" y="242797"/>
                </a:cubicBezTo>
                <a:cubicBezTo>
                  <a:pt x="0" y="215978"/>
                  <a:pt x="21741" y="194238"/>
                  <a:pt x="48560" y="194238"/>
                </a:cubicBezTo>
                <a:close/>
                <a:moveTo>
                  <a:pt x="1796695" y="0"/>
                </a:moveTo>
                <a:cubicBezTo>
                  <a:pt x="1823514" y="0"/>
                  <a:pt x="1845255" y="21741"/>
                  <a:pt x="1845255" y="48560"/>
                </a:cubicBezTo>
                <a:cubicBezTo>
                  <a:pt x="1845255" y="75379"/>
                  <a:pt x="1823514" y="97120"/>
                  <a:pt x="1796695" y="97120"/>
                </a:cubicBezTo>
                <a:cubicBezTo>
                  <a:pt x="1769876" y="97120"/>
                  <a:pt x="1748136" y="75379"/>
                  <a:pt x="1748136" y="48560"/>
                </a:cubicBezTo>
                <a:cubicBezTo>
                  <a:pt x="1748136" y="21741"/>
                  <a:pt x="1769876" y="0"/>
                  <a:pt x="1796695" y="0"/>
                </a:cubicBezTo>
                <a:close/>
                <a:moveTo>
                  <a:pt x="1602458" y="0"/>
                </a:moveTo>
                <a:cubicBezTo>
                  <a:pt x="1629277" y="0"/>
                  <a:pt x="1651018" y="21741"/>
                  <a:pt x="1651018" y="48560"/>
                </a:cubicBezTo>
                <a:cubicBezTo>
                  <a:pt x="1651018" y="75379"/>
                  <a:pt x="1629277" y="97120"/>
                  <a:pt x="1602458" y="97120"/>
                </a:cubicBezTo>
                <a:cubicBezTo>
                  <a:pt x="1575639" y="97120"/>
                  <a:pt x="1553898" y="75379"/>
                  <a:pt x="1553898" y="48560"/>
                </a:cubicBezTo>
                <a:cubicBezTo>
                  <a:pt x="1553898" y="21741"/>
                  <a:pt x="1575639" y="0"/>
                  <a:pt x="1602458" y="0"/>
                </a:cubicBezTo>
                <a:close/>
                <a:moveTo>
                  <a:pt x="1408221" y="0"/>
                </a:moveTo>
                <a:cubicBezTo>
                  <a:pt x="1435040" y="0"/>
                  <a:pt x="1456780" y="21741"/>
                  <a:pt x="1456780" y="48560"/>
                </a:cubicBezTo>
                <a:cubicBezTo>
                  <a:pt x="1456780" y="75379"/>
                  <a:pt x="1435040" y="97120"/>
                  <a:pt x="1408221" y="97120"/>
                </a:cubicBezTo>
                <a:cubicBezTo>
                  <a:pt x="1381402" y="97120"/>
                  <a:pt x="1359661" y="75379"/>
                  <a:pt x="1359661" y="48560"/>
                </a:cubicBezTo>
                <a:cubicBezTo>
                  <a:pt x="1359661" y="21741"/>
                  <a:pt x="1381402" y="0"/>
                  <a:pt x="1408221" y="0"/>
                </a:cubicBezTo>
                <a:close/>
                <a:moveTo>
                  <a:pt x="1213983" y="0"/>
                </a:moveTo>
                <a:cubicBezTo>
                  <a:pt x="1240802" y="0"/>
                  <a:pt x="1262543" y="21741"/>
                  <a:pt x="1262543" y="48560"/>
                </a:cubicBezTo>
                <a:cubicBezTo>
                  <a:pt x="1262543" y="75379"/>
                  <a:pt x="1240802" y="97120"/>
                  <a:pt x="1213983" y="97120"/>
                </a:cubicBezTo>
                <a:cubicBezTo>
                  <a:pt x="1187165" y="97120"/>
                  <a:pt x="1165424" y="75379"/>
                  <a:pt x="1165424" y="48560"/>
                </a:cubicBezTo>
                <a:cubicBezTo>
                  <a:pt x="1165424" y="21741"/>
                  <a:pt x="1187165" y="0"/>
                  <a:pt x="1213983" y="0"/>
                </a:cubicBezTo>
                <a:close/>
                <a:moveTo>
                  <a:pt x="1019746" y="0"/>
                </a:moveTo>
                <a:cubicBezTo>
                  <a:pt x="1046565" y="0"/>
                  <a:pt x="1068306" y="21741"/>
                  <a:pt x="1068306" y="48560"/>
                </a:cubicBezTo>
                <a:cubicBezTo>
                  <a:pt x="1068306" y="75379"/>
                  <a:pt x="1046565" y="97120"/>
                  <a:pt x="1019746" y="97120"/>
                </a:cubicBezTo>
                <a:cubicBezTo>
                  <a:pt x="992927" y="97120"/>
                  <a:pt x="971186" y="75379"/>
                  <a:pt x="971186" y="48560"/>
                </a:cubicBezTo>
                <a:cubicBezTo>
                  <a:pt x="971186" y="21741"/>
                  <a:pt x="992927" y="0"/>
                  <a:pt x="1019746" y="0"/>
                </a:cubicBezTo>
                <a:close/>
                <a:moveTo>
                  <a:pt x="825509" y="0"/>
                </a:moveTo>
                <a:cubicBezTo>
                  <a:pt x="852328" y="0"/>
                  <a:pt x="874069" y="21741"/>
                  <a:pt x="874069" y="48560"/>
                </a:cubicBezTo>
                <a:cubicBezTo>
                  <a:pt x="874069" y="75379"/>
                  <a:pt x="852328" y="97120"/>
                  <a:pt x="825509" y="97120"/>
                </a:cubicBezTo>
                <a:cubicBezTo>
                  <a:pt x="798690" y="97120"/>
                  <a:pt x="776949" y="75379"/>
                  <a:pt x="776949" y="48560"/>
                </a:cubicBezTo>
                <a:cubicBezTo>
                  <a:pt x="776949" y="21741"/>
                  <a:pt x="798690" y="0"/>
                  <a:pt x="825509" y="0"/>
                </a:cubicBezTo>
                <a:close/>
                <a:moveTo>
                  <a:pt x="631272" y="0"/>
                </a:moveTo>
                <a:cubicBezTo>
                  <a:pt x="658091" y="0"/>
                  <a:pt x="679831" y="21741"/>
                  <a:pt x="679831" y="48560"/>
                </a:cubicBezTo>
                <a:cubicBezTo>
                  <a:pt x="679831" y="75379"/>
                  <a:pt x="658091" y="97120"/>
                  <a:pt x="631272" y="97120"/>
                </a:cubicBezTo>
                <a:cubicBezTo>
                  <a:pt x="604453" y="97120"/>
                  <a:pt x="582712" y="75379"/>
                  <a:pt x="582712" y="48560"/>
                </a:cubicBezTo>
                <a:cubicBezTo>
                  <a:pt x="582712" y="21741"/>
                  <a:pt x="604453" y="0"/>
                  <a:pt x="631272" y="0"/>
                </a:cubicBezTo>
                <a:close/>
                <a:moveTo>
                  <a:pt x="437034" y="0"/>
                </a:moveTo>
                <a:cubicBezTo>
                  <a:pt x="463853" y="0"/>
                  <a:pt x="485594" y="21741"/>
                  <a:pt x="485594" y="48560"/>
                </a:cubicBezTo>
                <a:cubicBezTo>
                  <a:pt x="485594" y="75379"/>
                  <a:pt x="463853" y="97120"/>
                  <a:pt x="437034" y="97120"/>
                </a:cubicBezTo>
                <a:cubicBezTo>
                  <a:pt x="410215" y="97120"/>
                  <a:pt x="388475" y="75379"/>
                  <a:pt x="388475" y="48560"/>
                </a:cubicBezTo>
                <a:cubicBezTo>
                  <a:pt x="388475" y="21741"/>
                  <a:pt x="410215" y="0"/>
                  <a:pt x="437034" y="0"/>
                </a:cubicBezTo>
                <a:close/>
                <a:moveTo>
                  <a:pt x="242797" y="0"/>
                </a:moveTo>
                <a:cubicBezTo>
                  <a:pt x="269616" y="0"/>
                  <a:pt x="291357" y="21741"/>
                  <a:pt x="291357" y="48560"/>
                </a:cubicBezTo>
                <a:cubicBezTo>
                  <a:pt x="291357" y="75379"/>
                  <a:pt x="269616" y="97120"/>
                  <a:pt x="242797" y="97120"/>
                </a:cubicBezTo>
                <a:cubicBezTo>
                  <a:pt x="215978" y="97120"/>
                  <a:pt x="194237" y="75379"/>
                  <a:pt x="194237" y="48560"/>
                </a:cubicBezTo>
                <a:cubicBezTo>
                  <a:pt x="194237" y="21741"/>
                  <a:pt x="215978" y="0"/>
                  <a:pt x="242797" y="0"/>
                </a:cubicBezTo>
                <a:close/>
                <a:moveTo>
                  <a:pt x="48560" y="0"/>
                </a:moveTo>
                <a:cubicBezTo>
                  <a:pt x="75379" y="0"/>
                  <a:pt x="97119" y="21741"/>
                  <a:pt x="97119" y="48560"/>
                </a:cubicBezTo>
                <a:cubicBezTo>
                  <a:pt x="97119" y="75379"/>
                  <a:pt x="75379" y="97120"/>
                  <a:pt x="48560" y="97120"/>
                </a:cubicBezTo>
                <a:cubicBezTo>
                  <a:pt x="21741" y="97120"/>
                  <a:pt x="0" y="75379"/>
                  <a:pt x="0" y="48560"/>
                </a:cubicBezTo>
                <a:cubicBezTo>
                  <a:pt x="0" y="21741"/>
                  <a:pt x="21741" y="0"/>
                  <a:pt x="48560" y="0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>
                  <a:alpha val="1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思源黑体 CN Normal" panose="020B0400000000000000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2"/>
          <p:cNvGrpSpPr/>
          <p:nvPr/>
        </p:nvGrpSpPr>
        <p:grpSpPr>
          <a:xfrm>
            <a:off x="4109678" y="1492164"/>
            <a:ext cx="7961057" cy="5139641"/>
            <a:chOff x="1586312" y="515898"/>
            <a:chExt cx="9019478" cy="5822956"/>
          </a:xfrm>
          <a:solidFill>
            <a:schemeClr val="accent1">
              <a:alpha val="20000"/>
            </a:schemeClr>
          </a:solidFill>
        </p:grpSpPr>
        <p:sp>
          <p:nvSpPr>
            <p:cNvPr id="41" name="任意多边形: 形状 40"/>
            <p:cNvSpPr/>
            <p:nvPr/>
          </p:nvSpPr>
          <p:spPr>
            <a:xfrm>
              <a:off x="7131395" y="3988057"/>
              <a:ext cx="120835" cy="97380"/>
            </a:xfrm>
            <a:custGeom>
              <a:avLst/>
              <a:gdLst>
                <a:gd name="connsiteX0" fmla="*/ 506 w 120835"/>
                <a:gd name="connsiteY0" fmla="*/ 50041 h 97380"/>
                <a:gd name="connsiteX1" fmla="*/ 4969 w 120835"/>
                <a:gd name="connsiteY1" fmla="*/ 48708 h 97380"/>
                <a:gd name="connsiteX2" fmla="*/ 5900 w 120835"/>
                <a:gd name="connsiteY2" fmla="*/ 56204 h 97380"/>
                <a:gd name="connsiteX3" fmla="*/ 25526 w 120835"/>
                <a:gd name="connsiteY3" fmla="*/ 51901 h 97380"/>
                <a:gd name="connsiteX4" fmla="*/ 46271 w 120835"/>
                <a:gd name="connsiteY4" fmla="*/ 52608 h 97380"/>
                <a:gd name="connsiteX5" fmla="*/ 61425 w 120835"/>
                <a:gd name="connsiteY5" fmla="*/ 53422 h 97380"/>
                <a:gd name="connsiteX6" fmla="*/ 78600 w 120835"/>
                <a:gd name="connsiteY6" fmla="*/ 34887 h 97380"/>
                <a:gd name="connsiteX7" fmla="*/ 97305 w 120835"/>
                <a:gd name="connsiteY7" fmla="*/ 17229 h 97380"/>
                <a:gd name="connsiteX8" fmla="*/ 113156 w 120835"/>
                <a:gd name="connsiteY8" fmla="*/ 161 h 97380"/>
                <a:gd name="connsiteX9" fmla="*/ 117933 w 120835"/>
                <a:gd name="connsiteY9" fmla="*/ 9607 h 97380"/>
                <a:gd name="connsiteX10" fmla="*/ 121342 w 120835"/>
                <a:gd name="connsiteY10" fmla="*/ 31407 h 97380"/>
                <a:gd name="connsiteX11" fmla="*/ 108522 w 120835"/>
                <a:gd name="connsiteY11" fmla="*/ 31515 h 97380"/>
                <a:gd name="connsiteX12" fmla="*/ 106474 w 120835"/>
                <a:gd name="connsiteY12" fmla="*/ 49379 h 97380"/>
                <a:gd name="connsiteX13" fmla="*/ 110911 w 120835"/>
                <a:gd name="connsiteY13" fmla="*/ 53181 h 97380"/>
                <a:gd name="connsiteX14" fmla="*/ 99559 w 120835"/>
                <a:gd name="connsiteY14" fmla="*/ 58557 h 97380"/>
                <a:gd name="connsiteX15" fmla="*/ 99488 w 120835"/>
                <a:gd name="connsiteY15" fmla="*/ 69694 h 97380"/>
                <a:gd name="connsiteX16" fmla="*/ 92179 w 120835"/>
                <a:gd name="connsiteY16" fmla="*/ 80929 h 97380"/>
                <a:gd name="connsiteX17" fmla="*/ 91526 w 120835"/>
                <a:gd name="connsiteY17" fmla="*/ 91834 h 97380"/>
                <a:gd name="connsiteX18" fmla="*/ 86472 w 120835"/>
                <a:gd name="connsiteY18" fmla="*/ 97541 h 97380"/>
                <a:gd name="connsiteX19" fmla="*/ 11080 w 120835"/>
                <a:gd name="connsiteY19" fmla="*/ 83908 h 97380"/>
                <a:gd name="connsiteX20" fmla="*/ 1463 w 120835"/>
                <a:gd name="connsiteY20" fmla="*/ 56356 h 97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0835" h="97380">
                  <a:moveTo>
                    <a:pt x="506" y="50041"/>
                  </a:moveTo>
                  <a:lnTo>
                    <a:pt x="4969" y="48708"/>
                  </a:lnTo>
                  <a:lnTo>
                    <a:pt x="5900" y="56204"/>
                  </a:lnTo>
                  <a:lnTo>
                    <a:pt x="25526" y="51901"/>
                  </a:lnTo>
                  <a:lnTo>
                    <a:pt x="46271" y="52608"/>
                  </a:lnTo>
                  <a:lnTo>
                    <a:pt x="61425" y="53422"/>
                  </a:lnTo>
                  <a:lnTo>
                    <a:pt x="78600" y="34887"/>
                  </a:lnTo>
                  <a:lnTo>
                    <a:pt x="97305" y="17229"/>
                  </a:lnTo>
                  <a:lnTo>
                    <a:pt x="113156" y="161"/>
                  </a:lnTo>
                  <a:lnTo>
                    <a:pt x="117933" y="9607"/>
                  </a:lnTo>
                  <a:lnTo>
                    <a:pt x="121342" y="31407"/>
                  </a:lnTo>
                  <a:lnTo>
                    <a:pt x="108522" y="31515"/>
                  </a:lnTo>
                  <a:lnTo>
                    <a:pt x="106474" y="49379"/>
                  </a:lnTo>
                  <a:lnTo>
                    <a:pt x="110911" y="53181"/>
                  </a:lnTo>
                  <a:lnTo>
                    <a:pt x="99559" y="58557"/>
                  </a:lnTo>
                  <a:lnTo>
                    <a:pt x="99488" y="69694"/>
                  </a:lnTo>
                  <a:lnTo>
                    <a:pt x="92179" y="80929"/>
                  </a:lnTo>
                  <a:lnTo>
                    <a:pt x="91526" y="91834"/>
                  </a:lnTo>
                  <a:lnTo>
                    <a:pt x="86472" y="97541"/>
                  </a:lnTo>
                  <a:lnTo>
                    <a:pt x="11080" y="83908"/>
                  </a:lnTo>
                  <a:lnTo>
                    <a:pt x="1463" y="5635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7355855" y="3619762"/>
              <a:ext cx="366935" cy="276326"/>
            </a:xfrm>
            <a:custGeom>
              <a:avLst/>
              <a:gdLst>
                <a:gd name="connsiteX0" fmla="*/ 17635 w 366935"/>
                <a:gd name="connsiteY0" fmla="*/ 88941 h 276326"/>
                <a:gd name="connsiteX1" fmla="*/ 43209 w 366935"/>
                <a:gd name="connsiteY1" fmla="*/ 100570 h 276326"/>
                <a:gd name="connsiteX2" fmla="*/ 62130 w 366935"/>
                <a:gd name="connsiteY2" fmla="*/ 96491 h 276326"/>
                <a:gd name="connsiteX3" fmla="*/ 67362 w 366935"/>
                <a:gd name="connsiteY3" fmla="*/ 82563 h 276326"/>
                <a:gd name="connsiteX4" fmla="*/ 87159 w 366935"/>
                <a:gd name="connsiteY4" fmla="*/ 77920 h 276326"/>
                <a:gd name="connsiteX5" fmla="*/ 101293 w 366935"/>
                <a:gd name="connsiteY5" fmla="*/ 68509 h 276326"/>
                <a:gd name="connsiteX6" fmla="*/ 106302 w 366935"/>
                <a:gd name="connsiteY6" fmla="*/ 43596 h 276326"/>
                <a:gd name="connsiteX7" fmla="*/ 127440 w 366935"/>
                <a:gd name="connsiteY7" fmla="*/ 37531 h 276326"/>
                <a:gd name="connsiteX8" fmla="*/ 131377 w 366935"/>
                <a:gd name="connsiteY8" fmla="*/ 26331 h 276326"/>
                <a:gd name="connsiteX9" fmla="*/ 143211 w 366935"/>
                <a:gd name="connsiteY9" fmla="*/ 34749 h 276326"/>
                <a:gd name="connsiteX10" fmla="*/ 150771 w 366935"/>
                <a:gd name="connsiteY10" fmla="*/ 35724 h 276326"/>
                <a:gd name="connsiteX11" fmla="*/ 164734 w 366935"/>
                <a:gd name="connsiteY11" fmla="*/ 35930 h 276326"/>
                <a:gd name="connsiteX12" fmla="*/ 183654 w 366935"/>
                <a:gd name="connsiteY12" fmla="*/ 42558 h 276326"/>
                <a:gd name="connsiteX13" fmla="*/ 191320 w 366935"/>
                <a:gd name="connsiteY13" fmla="*/ 46378 h 276326"/>
                <a:gd name="connsiteX14" fmla="*/ 209471 w 366935"/>
                <a:gd name="connsiteY14" fmla="*/ 36306 h 276326"/>
                <a:gd name="connsiteX15" fmla="*/ 217933 w 366935"/>
                <a:gd name="connsiteY15" fmla="*/ 42362 h 276326"/>
                <a:gd name="connsiteX16" fmla="*/ 226020 w 366935"/>
                <a:gd name="connsiteY16" fmla="*/ 27968 h 276326"/>
                <a:gd name="connsiteX17" fmla="*/ 241012 w 366935"/>
                <a:gd name="connsiteY17" fmla="*/ 28630 h 276326"/>
                <a:gd name="connsiteX18" fmla="*/ 244868 w 366935"/>
                <a:gd name="connsiteY18" fmla="*/ 23996 h 276326"/>
                <a:gd name="connsiteX19" fmla="*/ 247525 w 366935"/>
                <a:gd name="connsiteY19" fmla="*/ 11222 h 276326"/>
                <a:gd name="connsiteX20" fmla="*/ 258322 w 366935"/>
                <a:gd name="connsiteY20" fmla="*/ 148 h 276326"/>
                <a:gd name="connsiteX21" fmla="*/ 271901 w 366935"/>
                <a:gd name="connsiteY21" fmla="*/ 7394 h 276326"/>
                <a:gd name="connsiteX22" fmla="*/ 269173 w 366935"/>
                <a:gd name="connsiteY22" fmla="*/ 17090 h 276326"/>
                <a:gd name="connsiteX23" fmla="*/ 276759 w 366935"/>
                <a:gd name="connsiteY23" fmla="*/ 18602 h 276326"/>
                <a:gd name="connsiteX24" fmla="*/ 274424 w 366935"/>
                <a:gd name="connsiteY24" fmla="*/ 45045 h 276326"/>
                <a:gd name="connsiteX25" fmla="*/ 284344 w 366935"/>
                <a:gd name="connsiteY25" fmla="*/ 55270 h 276326"/>
                <a:gd name="connsiteX26" fmla="*/ 293093 w 366935"/>
                <a:gd name="connsiteY26" fmla="*/ 48713 h 276326"/>
                <a:gd name="connsiteX27" fmla="*/ 304222 w 366935"/>
                <a:gd name="connsiteY27" fmla="*/ 45609 h 276326"/>
                <a:gd name="connsiteX28" fmla="*/ 319850 w 366935"/>
                <a:gd name="connsiteY28" fmla="*/ 31555 h 276326"/>
                <a:gd name="connsiteX29" fmla="*/ 337123 w 366935"/>
                <a:gd name="connsiteY29" fmla="*/ 33872 h 276326"/>
                <a:gd name="connsiteX30" fmla="*/ 362994 w 366935"/>
                <a:gd name="connsiteY30" fmla="*/ 33926 h 276326"/>
                <a:gd name="connsiteX31" fmla="*/ 367457 w 366935"/>
                <a:gd name="connsiteY31" fmla="*/ 42934 h 276326"/>
                <a:gd name="connsiteX32" fmla="*/ 352858 w 366935"/>
                <a:gd name="connsiteY32" fmla="*/ 46441 h 276326"/>
                <a:gd name="connsiteX33" fmla="*/ 340111 w 366935"/>
                <a:gd name="connsiteY33" fmla="*/ 52211 h 276326"/>
                <a:gd name="connsiteX34" fmla="*/ 311324 w 366935"/>
                <a:gd name="connsiteY34" fmla="*/ 55834 h 276326"/>
                <a:gd name="connsiteX35" fmla="*/ 284389 w 366935"/>
                <a:gd name="connsiteY35" fmla="*/ 62373 h 276326"/>
                <a:gd name="connsiteX36" fmla="*/ 269754 w 366935"/>
                <a:gd name="connsiteY36" fmla="*/ 75862 h 276326"/>
                <a:gd name="connsiteX37" fmla="*/ 275676 w 366935"/>
                <a:gd name="connsiteY37" fmla="*/ 88923 h 276326"/>
                <a:gd name="connsiteX38" fmla="*/ 278548 w 366935"/>
                <a:gd name="connsiteY38" fmla="*/ 104166 h 276326"/>
                <a:gd name="connsiteX39" fmla="*/ 266051 w 366935"/>
                <a:gd name="connsiteY39" fmla="*/ 116958 h 276326"/>
                <a:gd name="connsiteX40" fmla="*/ 267098 w 366935"/>
                <a:gd name="connsiteY40" fmla="*/ 128605 h 276326"/>
                <a:gd name="connsiteX41" fmla="*/ 260201 w 366935"/>
                <a:gd name="connsiteY41" fmla="*/ 139465 h 276326"/>
                <a:gd name="connsiteX42" fmla="*/ 236343 w 366935"/>
                <a:gd name="connsiteY42" fmla="*/ 138526 h 276326"/>
                <a:gd name="connsiteX43" fmla="*/ 246201 w 366935"/>
                <a:gd name="connsiteY43" fmla="*/ 158376 h 276326"/>
                <a:gd name="connsiteX44" fmla="*/ 230242 w 366935"/>
                <a:gd name="connsiteY44" fmla="*/ 165926 h 276326"/>
                <a:gd name="connsiteX45" fmla="*/ 219588 w 366935"/>
                <a:gd name="connsiteY45" fmla="*/ 183852 h 276326"/>
                <a:gd name="connsiteX46" fmla="*/ 220966 w 366935"/>
                <a:gd name="connsiteY46" fmla="*/ 201565 h 276326"/>
                <a:gd name="connsiteX47" fmla="*/ 211170 w 366935"/>
                <a:gd name="connsiteY47" fmla="*/ 209830 h 276326"/>
                <a:gd name="connsiteX48" fmla="*/ 201894 w 366935"/>
                <a:gd name="connsiteY48" fmla="*/ 207093 h 276326"/>
                <a:gd name="connsiteX49" fmla="*/ 182724 w 366935"/>
                <a:gd name="connsiteY49" fmla="*/ 210922 h 276326"/>
                <a:gd name="connsiteX50" fmla="*/ 179977 w 366935"/>
                <a:gd name="connsiteY50" fmla="*/ 219098 h 276326"/>
                <a:gd name="connsiteX51" fmla="*/ 161299 w 366935"/>
                <a:gd name="connsiteY51" fmla="*/ 219053 h 276326"/>
                <a:gd name="connsiteX52" fmla="*/ 147327 w 366935"/>
                <a:gd name="connsiteY52" fmla="*/ 235540 h 276326"/>
                <a:gd name="connsiteX53" fmla="*/ 146441 w 366935"/>
                <a:gd name="connsiteY53" fmla="*/ 260140 h 276326"/>
                <a:gd name="connsiteX54" fmla="*/ 113852 w 366935"/>
                <a:gd name="connsiteY54" fmla="*/ 272082 h 276326"/>
                <a:gd name="connsiteX55" fmla="*/ 96382 w 366935"/>
                <a:gd name="connsiteY55" fmla="*/ 269560 h 276326"/>
                <a:gd name="connsiteX56" fmla="*/ 91301 w 366935"/>
                <a:gd name="connsiteY56" fmla="*/ 275839 h 276326"/>
                <a:gd name="connsiteX57" fmla="*/ 76308 w 366935"/>
                <a:gd name="connsiteY57" fmla="*/ 272189 h 276326"/>
                <a:gd name="connsiteX58" fmla="*/ 51225 w 366935"/>
                <a:gd name="connsiteY58" fmla="*/ 276474 h 276326"/>
                <a:gd name="connsiteX59" fmla="*/ 9199 w 366935"/>
                <a:gd name="connsiteY59" fmla="*/ 261830 h 276326"/>
                <a:gd name="connsiteX60" fmla="*/ 31947 w 366935"/>
                <a:gd name="connsiteY60" fmla="*/ 235620 h 276326"/>
                <a:gd name="connsiteX61" fmla="*/ 29890 w 366935"/>
                <a:gd name="connsiteY61" fmla="*/ 216870 h 276326"/>
                <a:gd name="connsiteX62" fmla="*/ 10890 w 366935"/>
                <a:gd name="connsiteY62" fmla="*/ 211932 h 276326"/>
                <a:gd name="connsiteX63" fmla="*/ 8922 w 366935"/>
                <a:gd name="connsiteY63" fmla="*/ 193281 h 276326"/>
                <a:gd name="connsiteX64" fmla="*/ 710 w 366935"/>
                <a:gd name="connsiteY64" fmla="*/ 169629 h 276326"/>
                <a:gd name="connsiteX65" fmla="*/ 11444 w 366935"/>
                <a:gd name="connsiteY65" fmla="*/ 153286 h 276326"/>
                <a:gd name="connsiteX66" fmla="*/ 522 w 366935"/>
                <a:gd name="connsiteY66" fmla="*/ 148858 h 276326"/>
                <a:gd name="connsiteX67" fmla="*/ 7410 w 366935"/>
                <a:gd name="connsiteY67" fmla="*/ 126932 h 27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66935" h="276326">
                  <a:moveTo>
                    <a:pt x="17635" y="88941"/>
                  </a:moveTo>
                  <a:lnTo>
                    <a:pt x="43209" y="100570"/>
                  </a:lnTo>
                  <a:lnTo>
                    <a:pt x="62130" y="96491"/>
                  </a:lnTo>
                  <a:lnTo>
                    <a:pt x="67362" y="82563"/>
                  </a:lnTo>
                  <a:lnTo>
                    <a:pt x="87159" y="77920"/>
                  </a:lnTo>
                  <a:lnTo>
                    <a:pt x="101293" y="68509"/>
                  </a:lnTo>
                  <a:lnTo>
                    <a:pt x="106302" y="43596"/>
                  </a:lnTo>
                  <a:lnTo>
                    <a:pt x="127440" y="37531"/>
                  </a:lnTo>
                  <a:lnTo>
                    <a:pt x="131377" y="26331"/>
                  </a:lnTo>
                  <a:lnTo>
                    <a:pt x="143211" y="34749"/>
                  </a:lnTo>
                  <a:lnTo>
                    <a:pt x="150771" y="35724"/>
                  </a:lnTo>
                  <a:lnTo>
                    <a:pt x="164734" y="35930"/>
                  </a:lnTo>
                  <a:lnTo>
                    <a:pt x="183654" y="42558"/>
                  </a:lnTo>
                  <a:lnTo>
                    <a:pt x="191320" y="46378"/>
                  </a:lnTo>
                  <a:lnTo>
                    <a:pt x="209471" y="36306"/>
                  </a:lnTo>
                  <a:lnTo>
                    <a:pt x="217933" y="42362"/>
                  </a:lnTo>
                  <a:lnTo>
                    <a:pt x="226020" y="27968"/>
                  </a:lnTo>
                  <a:lnTo>
                    <a:pt x="241012" y="28630"/>
                  </a:lnTo>
                  <a:lnTo>
                    <a:pt x="244868" y="23996"/>
                  </a:lnTo>
                  <a:lnTo>
                    <a:pt x="247525" y="11222"/>
                  </a:lnTo>
                  <a:lnTo>
                    <a:pt x="258322" y="148"/>
                  </a:lnTo>
                  <a:lnTo>
                    <a:pt x="271901" y="7394"/>
                  </a:lnTo>
                  <a:lnTo>
                    <a:pt x="269173" y="17090"/>
                  </a:lnTo>
                  <a:lnTo>
                    <a:pt x="276759" y="18602"/>
                  </a:lnTo>
                  <a:lnTo>
                    <a:pt x="274424" y="45045"/>
                  </a:lnTo>
                  <a:lnTo>
                    <a:pt x="284344" y="55270"/>
                  </a:lnTo>
                  <a:lnTo>
                    <a:pt x="293093" y="48713"/>
                  </a:lnTo>
                  <a:lnTo>
                    <a:pt x="304222" y="45609"/>
                  </a:lnTo>
                  <a:lnTo>
                    <a:pt x="319850" y="31555"/>
                  </a:lnTo>
                  <a:lnTo>
                    <a:pt x="337123" y="33872"/>
                  </a:lnTo>
                  <a:lnTo>
                    <a:pt x="362994" y="33926"/>
                  </a:lnTo>
                  <a:lnTo>
                    <a:pt x="367457" y="42934"/>
                  </a:lnTo>
                  <a:lnTo>
                    <a:pt x="352858" y="46441"/>
                  </a:lnTo>
                  <a:lnTo>
                    <a:pt x="340111" y="52211"/>
                  </a:lnTo>
                  <a:lnTo>
                    <a:pt x="311324" y="55834"/>
                  </a:lnTo>
                  <a:lnTo>
                    <a:pt x="284389" y="62373"/>
                  </a:lnTo>
                  <a:lnTo>
                    <a:pt x="269754" y="75862"/>
                  </a:lnTo>
                  <a:lnTo>
                    <a:pt x="275676" y="88923"/>
                  </a:lnTo>
                  <a:lnTo>
                    <a:pt x="278548" y="104166"/>
                  </a:lnTo>
                  <a:lnTo>
                    <a:pt x="266051" y="116958"/>
                  </a:lnTo>
                  <a:lnTo>
                    <a:pt x="267098" y="128605"/>
                  </a:lnTo>
                  <a:lnTo>
                    <a:pt x="260201" y="139465"/>
                  </a:lnTo>
                  <a:lnTo>
                    <a:pt x="236343" y="138526"/>
                  </a:lnTo>
                  <a:lnTo>
                    <a:pt x="246201" y="158376"/>
                  </a:lnTo>
                  <a:lnTo>
                    <a:pt x="230242" y="165926"/>
                  </a:lnTo>
                  <a:lnTo>
                    <a:pt x="219588" y="183852"/>
                  </a:lnTo>
                  <a:lnTo>
                    <a:pt x="220966" y="201565"/>
                  </a:lnTo>
                  <a:lnTo>
                    <a:pt x="211170" y="209830"/>
                  </a:lnTo>
                  <a:lnTo>
                    <a:pt x="201894" y="207093"/>
                  </a:lnTo>
                  <a:lnTo>
                    <a:pt x="182724" y="210922"/>
                  </a:lnTo>
                  <a:lnTo>
                    <a:pt x="179977" y="219098"/>
                  </a:lnTo>
                  <a:lnTo>
                    <a:pt x="161299" y="219053"/>
                  </a:lnTo>
                  <a:lnTo>
                    <a:pt x="147327" y="235540"/>
                  </a:lnTo>
                  <a:lnTo>
                    <a:pt x="146441" y="260140"/>
                  </a:lnTo>
                  <a:lnTo>
                    <a:pt x="113852" y="272082"/>
                  </a:lnTo>
                  <a:lnTo>
                    <a:pt x="96382" y="269560"/>
                  </a:lnTo>
                  <a:lnTo>
                    <a:pt x="91301" y="275839"/>
                  </a:lnTo>
                  <a:lnTo>
                    <a:pt x="76308" y="272189"/>
                  </a:lnTo>
                  <a:lnTo>
                    <a:pt x="51225" y="276474"/>
                  </a:lnTo>
                  <a:lnTo>
                    <a:pt x="9199" y="261830"/>
                  </a:lnTo>
                  <a:lnTo>
                    <a:pt x="31947" y="235620"/>
                  </a:lnTo>
                  <a:lnTo>
                    <a:pt x="29890" y="216870"/>
                  </a:lnTo>
                  <a:lnTo>
                    <a:pt x="10890" y="211932"/>
                  </a:lnTo>
                  <a:lnTo>
                    <a:pt x="8922" y="193281"/>
                  </a:lnTo>
                  <a:lnTo>
                    <a:pt x="710" y="169629"/>
                  </a:lnTo>
                  <a:lnTo>
                    <a:pt x="11444" y="153286"/>
                  </a:lnTo>
                  <a:lnTo>
                    <a:pt x="522" y="148858"/>
                  </a:lnTo>
                  <a:lnTo>
                    <a:pt x="7410" y="12693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6321880" y="3481438"/>
              <a:ext cx="43027" cy="101692"/>
            </a:xfrm>
            <a:custGeom>
              <a:avLst/>
              <a:gdLst>
                <a:gd name="connsiteX0" fmla="*/ 32716 w 43027"/>
                <a:gd name="connsiteY0" fmla="*/ 28271 h 101692"/>
                <a:gd name="connsiteX1" fmla="*/ 29531 w 43027"/>
                <a:gd name="connsiteY1" fmla="*/ 39659 h 101692"/>
                <a:gd name="connsiteX2" fmla="*/ 33091 w 43027"/>
                <a:gd name="connsiteY2" fmla="*/ 53918 h 101692"/>
                <a:gd name="connsiteX3" fmla="*/ 43495 w 43027"/>
                <a:gd name="connsiteY3" fmla="*/ 61978 h 101692"/>
                <a:gd name="connsiteX4" fmla="*/ 42994 w 43027"/>
                <a:gd name="connsiteY4" fmla="*/ 70637 h 101692"/>
                <a:gd name="connsiteX5" fmla="*/ 34845 w 43027"/>
                <a:gd name="connsiteY5" fmla="*/ 75396 h 101692"/>
                <a:gd name="connsiteX6" fmla="*/ 33333 w 43027"/>
                <a:gd name="connsiteY6" fmla="*/ 86041 h 101692"/>
                <a:gd name="connsiteX7" fmla="*/ 21668 w 43027"/>
                <a:gd name="connsiteY7" fmla="*/ 101830 h 101692"/>
                <a:gd name="connsiteX8" fmla="*/ 17410 w 43027"/>
                <a:gd name="connsiteY8" fmla="*/ 99558 h 101692"/>
                <a:gd name="connsiteX9" fmla="*/ 16909 w 43027"/>
                <a:gd name="connsiteY9" fmla="*/ 92401 h 101692"/>
                <a:gd name="connsiteX10" fmla="*/ 3016 w 43027"/>
                <a:gd name="connsiteY10" fmla="*/ 81443 h 101692"/>
                <a:gd name="connsiteX11" fmla="*/ 834 w 43027"/>
                <a:gd name="connsiteY11" fmla="*/ 65789 h 101692"/>
                <a:gd name="connsiteX12" fmla="*/ 2954 w 43027"/>
                <a:gd name="connsiteY12" fmla="*/ 43174 h 101692"/>
                <a:gd name="connsiteX13" fmla="*/ 6380 w 43027"/>
                <a:gd name="connsiteY13" fmla="*/ 32807 h 101692"/>
                <a:gd name="connsiteX14" fmla="*/ 2149 w 43027"/>
                <a:gd name="connsiteY14" fmla="*/ 27520 h 101692"/>
                <a:gd name="connsiteX15" fmla="*/ 467 w 43027"/>
                <a:gd name="connsiteY15" fmla="*/ 16821 h 101692"/>
                <a:gd name="connsiteX16" fmla="*/ 11345 w 43027"/>
                <a:gd name="connsiteY16" fmla="*/ 138 h 101692"/>
                <a:gd name="connsiteX17" fmla="*/ 12937 w 43027"/>
                <a:gd name="connsiteY17" fmla="*/ 6534 h 101692"/>
                <a:gd name="connsiteX18" fmla="*/ 19682 w 43027"/>
                <a:gd name="connsiteY18" fmla="*/ 3528 h 101692"/>
                <a:gd name="connsiteX19" fmla="*/ 25023 w 43027"/>
                <a:gd name="connsiteY19" fmla="*/ 12617 h 101692"/>
                <a:gd name="connsiteX20" fmla="*/ 31025 w 43027"/>
                <a:gd name="connsiteY20" fmla="*/ 16070 h 101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027" h="101692">
                  <a:moveTo>
                    <a:pt x="32716" y="28271"/>
                  </a:moveTo>
                  <a:lnTo>
                    <a:pt x="29531" y="39659"/>
                  </a:lnTo>
                  <a:lnTo>
                    <a:pt x="33091" y="53918"/>
                  </a:lnTo>
                  <a:lnTo>
                    <a:pt x="43495" y="61978"/>
                  </a:lnTo>
                  <a:lnTo>
                    <a:pt x="42994" y="70637"/>
                  </a:lnTo>
                  <a:lnTo>
                    <a:pt x="34845" y="75396"/>
                  </a:lnTo>
                  <a:lnTo>
                    <a:pt x="33333" y="86041"/>
                  </a:lnTo>
                  <a:lnTo>
                    <a:pt x="21668" y="101830"/>
                  </a:lnTo>
                  <a:lnTo>
                    <a:pt x="17410" y="99558"/>
                  </a:lnTo>
                  <a:lnTo>
                    <a:pt x="16909" y="92401"/>
                  </a:lnTo>
                  <a:lnTo>
                    <a:pt x="3016" y="81443"/>
                  </a:lnTo>
                  <a:lnTo>
                    <a:pt x="834" y="65789"/>
                  </a:lnTo>
                  <a:lnTo>
                    <a:pt x="2954" y="43174"/>
                  </a:lnTo>
                  <a:lnTo>
                    <a:pt x="6380" y="32807"/>
                  </a:lnTo>
                  <a:lnTo>
                    <a:pt x="2149" y="27520"/>
                  </a:lnTo>
                  <a:lnTo>
                    <a:pt x="467" y="16821"/>
                  </a:lnTo>
                  <a:lnTo>
                    <a:pt x="11345" y="138"/>
                  </a:lnTo>
                  <a:lnTo>
                    <a:pt x="12937" y="6534"/>
                  </a:lnTo>
                  <a:lnTo>
                    <a:pt x="19682" y="3528"/>
                  </a:lnTo>
                  <a:lnTo>
                    <a:pt x="25023" y="12617"/>
                  </a:lnTo>
                  <a:lnTo>
                    <a:pt x="31025" y="1607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/>
            <p:cNvSpPr/>
            <p:nvPr/>
          </p:nvSpPr>
          <p:spPr>
            <a:xfrm>
              <a:off x="6930827" y="3529842"/>
              <a:ext cx="73308" cy="81770"/>
            </a:xfrm>
            <a:custGeom>
              <a:avLst/>
              <a:gdLst>
                <a:gd name="connsiteX0" fmla="*/ 496 w 73308"/>
                <a:gd name="connsiteY0" fmla="*/ 5319 h 81770"/>
                <a:gd name="connsiteX1" fmla="*/ 35347 w 73308"/>
                <a:gd name="connsiteY1" fmla="*/ 139 h 81770"/>
                <a:gd name="connsiteX2" fmla="*/ 40545 w 73308"/>
                <a:gd name="connsiteY2" fmla="*/ 8852 h 81770"/>
                <a:gd name="connsiteX3" fmla="*/ 50098 w 73308"/>
                <a:gd name="connsiteY3" fmla="*/ 14577 h 81770"/>
                <a:gd name="connsiteX4" fmla="*/ 45053 w 73308"/>
                <a:gd name="connsiteY4" fmla="*/ 22843 h 81770"/>
                <a:gd name="connsiteX5" fmla="*/ 58409 w 73308"/>
                <a:gd name="connsiteY5" fmla="*/ 34096 h 81770"/>
                <a:gd name="connsiteX6" fmla="*/ 51342 w 73308"/>
                <a:gd name="connsiteY6" fmla="*/ 44491 h 81770"/>
                <a:gd name="connsiteX7" fmla="*/ 61987 w 73308"/>
                <a:gd name="connsiteY7" fmla="*/ 53329 h 81770"/>
                <a:gd name="connsiteX8" fmla="*/ 73249 w 73308"/>
                <a:gd name="connsiteY8" fmla="*/ 58634 h 81770"/>
                <a:gd name="connsiteX9" fmla="*/ 73804 w 73308"/>
                <a:gd name="connsiteY9" fmla="*/ 80962 h 81770"/>
                <a:gd name="connsiteX10" fmla="*/ 64724 w 73308"/>
                <a:gd name="connsiteY10" fmla="*/ 81910 h 81770"/>
                <a:gd name="connsiteX11" fmla="*/ 54482 w 73308"/>
                <a:gd name="connsiteY11" fmla="*/ 63304 h 81770"/>
                <a:gd name="connsiteX12" fmla="*/ 54598 w 73308"/>
                <a:gd name="connsiteY12" fmla="*/ 58321 h 81770"/>
                <a:gd name="connsiteX13" fmla="*/ 43515 w 73308"/>
                <a:gd name="connsiteY13" fmla="*/ 58392 h 81770"/>
                <a:gd name="connsiteX14" fmla="*/ 36090 w 73308"/>
                <a:gd name="connsiteY14" fmla="*/ 49688 h 81770"/>
                <a:gd name="connsiteX15" fmla="*/ 30875 w 73308"/>
                <a:gd name="connsiteY15" fmla="*/ 50574 h 81770"/>
                <a:gd name="connsiteX16" fmla="*/ 20990 w 73308"/>
                <a:gd name="connsiteY16" fmla="*/ 41065 h 81770"/>
                <a:gd name="connsiteX17" fmla="*/ 2338 w 73308"/>
                <a:gd name="connsiteY17" fmla="*/ 32942 h 81770"/>
                <a:gd name="connsiteX18" fmla="*/ 4754 w 73308"/>
                <a:gd name="connsiteY18" fmla="*/ 16957 h 8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3308" h="81770">
                  <a:moveTo>
                    <a:pt x="496" y="5319"/>
                  </a:moveTo>
                  <a:lnTo>
                    <a:pt x="35347" y="139"/>
                  </a:lnTo>
                  <a:lnTo>
                    <a:pt x="40545" y="8852"/>
                  </a:lnTo>
                  <a:lnTo>
                    <a:pt x="50098" y="14577"/>
                  </a:lnTo>
                  <a:lnTo>
                    <a:pt x="45053" y="22843"/>
                  </a:lnTo>
                  <a:lnTo>
                    <a:pt x="58409" y="34096"/>
                  </a:lnTo>
                  <a:lnTo>
                    <a:pt x="51342" y="44491"/>
                  </a:lnTo>
                  <a:lnTo>
                    <a:pt x="61987" y="53329"/>
                  </a:lnTo>
                  <a:lnTo>
                    <a:pt x="73249" y="58634"/>
                  </a:lnTo>
                  <a:lnTo>
                    <a:pt x="73804" y="80962"/>
                  </a:lnTo>
                  <a:lnTo>
                    <a:pt x="64724" y="81910"/>
                  </a:lnTo>
                  <a:lnTo>
                    <a:pt x="54482" y="63304"/>
                  </a:lnTo>
                  <a:lnTo>
                    <a:pt x="54598" y="58321"/>
                  </a:lnTo>
                  <a:lnTo>
                    <a:pt x="43515" y="58392"/>
                  </a:lnTo>
                  <a:lnTo>
                    <a:pt x="36090" y="49688"/>
                  </a:lnTo>
                  <a:lnTo>
                    <a:pt x="30875" y="50574"/>
                  </a:lnTo>
                  <a:lnTo>
                    <a:pt x="20990" y="41065"/>
                  </a:lnTo>
                  <a:lnTo>
                    <a:pt x="2338" y="32942"/>
                  </a:lnTo>
                  <a:lnTo>
                    <a:pt x="4754" y="1695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6129642" y="4771790"/>
              <a:ext cx="312019" cy="343605"/>
            </a:xfrm>
            <a:custGeom>
              <a:avLst/>
              <a:gdLst>
                <a:gd name="connsiteX0" fmla="*/ 118009 w 312019"/>
                <a:gd name="connsiteY0" fmla="*/ 36217 h 343605"/>
                <a:gd name="connsiteX1" fmla="*/ 124190 w 312019"/>
                <a:gd name="connsiteY1" fmla="*/ 54895 h 343605"/>
                <a:gd name="connsiteX2" fmla="*/ 131391 w 312019"/>
                <a:gd name="connsiteY2" fmla="*/ 69950 h 343605"/>
                <a:gd name="connsiteX3" fmla="*/ 137161 w 312019"/>
                <a:gd name="connsiteY3" fmla="*/ 78073 h 343605"/>
                <a:gd name="connsiteX4" fmla="*/ 146768 w 312019"/>
                <a:gd name="connsiteY4" fmla="*/ 91223 h 343605"/>
                <a:gd name="connsiteX5" fmla="*/ 163353 w 312019"/>
                <a:gd name="connsiteY5" fmla="*/ 89183 h 343605"/>
                <a:gd name="connsiteX6" fmla="*/ 171627 w 312019"/>
                <a:gd name="connsiteY6" fmla="*/ 85640 h 343605"/>
                <a:gd name="connsiteX7" fmla="*/ 185484 w 312019"/>
                <a:gd name="connsiteY7" fmla="*/ 89192 h 343605"/>
                <a:gd name="connsiteX8" fmla="*/ 189241 w 312019"/>
                <a:gd name="connsiteY8" fmla="*/ 82903 h 343605"/>
                <a:gd name="connsiteX9" fmla="*/ 195539 w 312019"/>
                <a:gd name="connsiteY9" fmla="*/ 68259 h 343605"/>
                <a:gd name="connsiteX10" fmla="*/ 211095 w 312019"/>
                <a:gd name="connsiteY10" fmla="*/ 67284 h 343605"/>
                <a:gd name="connsiteX11" fmla="*/ 212446 w 312019"/>
                <a:gd name="connsiteY11" fmla="*/ 62937 h 343605"/>
                <a:gd name="connsiteX12" fmla="*/ 225247 w 312019"/>
                <a:gd name="connsiteY12" fmla="*/ 62839 h 343605"/>
                <a:gd name="connsiteX13" fmla="*/ 223064 w 312019"/>
                <a:gd name="connsiteY13" fmla="*/ 71882 h 343605"/>
                <a:gd name="connsiteX14" fmla="*/ 253497 w 312019"/>
                <a:gd name="connsiteY14" fmla="*/ 71668 h 343605"/>
                <a:gd name="connsiteX15" fmla="*/ 253953 w 312019"/>
                <a:gd name="connsiteY15" fmla="*/ 87483 h 343605"/>
                <a:gd name="connsiteX16" fmla="*/ 259034 w 312019"/>
                <a:gd name="connsiteY16" fmla="*/ 97198 h 343605"/>
                <a:gd name="connsiteX17" fmla="*/ 255340 w 312019"/>
                <a:gd name="connsiteY17" fmla="*/ 112388 h 343605"/>
                <a:gd name="connsiteX18" fmla="*/ 257182 w 312019"/>
                <a:gd name="connsiteY18" fmla="*/ 127908 h 343605"/>
                <a:gd name="connsiteX19" fmla="*/ 265546 w 312019"/>
                <a:gd name="connsiteY19" fmla="*/ 137292 h 343605"/>
                <a:gd name="connsiteX20" fmla="*/ 264204 w 312019"/>
                <a:gd name="connsiteY20" fmla="*/ 167447 h 343605"/>
                <a:gd name="connsiteX21" fmla="*/ 270413 w 312019"/>
                <a:gd name="connsiteY21" fmla="*/ 165121 h 343605"/>
                <a:gd name="connsiteX22" fmla="*/ 281317 w 312019"/>
                <a:gd name="connsiteY22" fmla="*/ 165748 h 343605"/>
                <a:gd name="connsiteX23" fmla="*/ 296856 w 312019"/>
                <a:gd name="connsiteY23" fmla="*/ 161946 h 343605"/>
                <a:gd name="connsiteX24" fmla="*/ 308279 w 312019"/>
                <a:gd name="connsiteY24" fmla="*/ 163440 h 343605"/>
                <a:gd name="connsiteX25" fmla="*/ 310927 w 312019"/>
                <a:gd name="connsiteY25" fmla="*/ 171320 h 343605"/>
                <a:gd name="connsiteX26" fmla="*/ 308073 w 312019"/>
                <a:gd name="connsiteY26" fmla="*/ 183656 h 343605"/>
                <a:gd name="connsiteX27" fmla="*/ 312484 w 312019"/>
                <a:gd name="connsiteY27" fmla="*/ 195599 h 343605"/>
                <a:gd name="connsiteX28" fmla="*/ 308744 w 312019"/>
                <a:gd name="connsiteY28" fmla="*/ 205152 h 343605"/>
                <a:gd name="connsiteX29" fmla="*/ 310882 w 312019"/>
                <a:gd name="connsiteY29" fmla="*/ 213973 h 343605"/>
                <a:gd name="connsiteX30" fmla="*/ 258658 w 312019"/>
                <a:gd name="connsiteY30" fmla="*/ 213651 h 343605"/>
                <a:gd name="connsiteX31" fmla="*/ 257505 w 312019"/>
                <a:gd name="connsiteY31" fmla="*/ 295574 h 343605"/>
                <a:gd name="connsiteX32" fmla="*/ 274429 w 312019"/>
                <a:gd name="connsiteY32" fmla="*/ 316837 h 343605"/>
                <a:gd name="connsiteX33" fmla="*/ 290800 w 312019"/>
                <a:gd name="connsiteY33" fmla="*/ 333145 h 343605"/>
                <a:gd name="connsiteX34" fmla="*/ 244703 w 312019"/>
                <a:gd name="connsiteY34" fmla="*/ 343808 h 343605"/>
                <a:gd name="connsiteX35" fmla="*/ 183982 w 312019"/>
                <a:gd name="connsiteY35" fmla="*/ 340104 h 343605"/>
                <a:gd name="connsiteX36" fmla="*/ 166600 w 312019"/>
                <a:gd name="connsiteY36" fmla="*/ 327580 h 343605"/>
                <a:gd name="connsiteX37" fmla="*/ 64926 w 312019"/>
                <a:gd name="connsiteY37" fmla="*/ 328708 h 343605"/>
                <a:gd name="connsiteX38" fmla="*/ 61133 w 312019"/>
                <a:gd name="connsiteY38" fmla="*/ 330541 h 343605"/>
                <a:gd name="connsiteX39" fmla="*/ 46176 w 312019"/>
                <a:gd name="connsiteY39" fmla="*/ 318742 h 343605"/>
                <a:gd name="connsiteX40" fmla="*/ 29913 w 312019"/>
                <a:gd name="connsiteY40" fmla="*/ 317964 h 343605"/>
                <a:gd name="connsiteX41" fmla="*/ 14902 w 312019"/>
                <a:gd name="connsiteY41" fmla="*/ 322410 h 343605"/>
                <a:gd name="connsiteX42" fmla="*/ 2826 w 312019"/>
                <a:gd name="connsiteY42" fmla="*/ 327375 h 343605"/>
                <a:gd name="connsiteX43" fmla="*/ 465 w 312019"/>
                <a:gd name="connsiteY43" fmla="*/ 310978 h 343605"/>
                <a:gd name="connsiteX44" fmla="*/ 3935 w 312019"/>
                <a:gd name="connsiteY44" fmla="*/ 288149 h 343605"/>
                <a:gd name="connsiteX45" fmla="*/ 12586 w 312019"/>
                <a:gd name="connsiteY45" fmla="*/ 264488 h 343605"/>
                <a:gd name="connsiteX46" fmla="*/ 13892 w 312019"/>
                <a:gd name="connsiteY46" fmla="*/ 253431 h 343605"/>
                <a:gd name="connsiteX47" fmla="*/ 22032 w 312019"/>
                <a:gd name="connsiteY47" fmla="*/ 230280 h 343605"/>
                <a:gd name="connsiteX48" fmla="*/ 28008 w 312019"/>
                <a:gd name="connsiteY48" fmla="*/ 219787 h 343605"/>
                <a:gd name="connsiteX49" fmla="*/ 42419 w 312019"/>
                <a:gd name="connsiteY49" fmla="*/ 203059 h 343605"/>
                <a:gd name="connsiteX50" fmla="*/ 50461 w 312019"/>
                <a:gd name="connsiteY50" fmla="*/ 191707 h 343605"/>
                <a:gd name="connsiteX51" fmla="*/ 53091 w 312019"/>
                <a:gd name="connsiteY51" fmla="*/ 172859 h 343605"/>
                <a:gd name="connsiteX52" fmla="*/ 51776 w 312019"/>
                <a:gd name="connsiteY52" fmla="*/ 158466 h 343605"/>
                <a:gd name="connsiteX53" fmla="*/ 44280 w 312019"/>
                <a:gd name="connsiteY53" fmla="*/ 149404 h 343605"/>
                <a:gd name="connsiteX54" fmla="*/ 37597 w 312019"/>
                <a:gd name="connsiteY54" fmla="*/ 134054 h 343605"/>
                <a:gd name="connsiteX55" fmla="*/ 31434 w 312019"/>
                <a:gd name="connsiteY55" fmla="*/ 118900 h 343605"/>
                <a:gd name="connsiteX56" fmla="*/ 32776 w 312019"/>
                <a:gd name="connsiteY56" fmla="*/ 113658 h 343605"/>
                <a:gd name="connsiteX57" fmla="*/ 40487 w 312019"/>
                <a:gd name="connsiteY57" fmla="*/ 103666 h 343605"/>
                <a:gd name="connsiteX58" fmla="*/ 32874 w 312019"/>
                <a:gd name="connsiteY58" fmla="*/ 79352 h 343605"/>
                <a:gd name="connsiteX59" fmla="*/ 27739 w 312019"/>
                <a:gd name="connsiteY59" fmla="*/ 62534 h 343605"/>
                <a:gd name="connsiteX60" fmla="*/ 15171 w 312019"/>
                <a:gd name="connsiteY60" fmla="*/ 46665 h 343605"/>
                <a:gd name="connsiteX61" fmla="*/ 17559 w 312019"/>
                <a:gd name="connsiteY61" fmla="*/ 41799 h 343605"/>
                <a:gd name="connsiteX62" fmla="*/ 27909 w 312019"/>
                <a:gd name="connsiteY62" fmla="*/ 38435 h 343605"/>
                <a:gd name="connsiteX63" fmla="*/ 35182 w 312019"/>
                <a:gd name="connsiteY63" fmla="*/ 38900 h 343605"/>
                <a:gd name="connsiteX64" fmla="*/ 43976 w 312019"/>
                <a:gd name="connsiteY64" fmla="*/ 35895 h 343605"/>
                <a:gd name="connsiteX65" fmla="*/ 118009 w 312019"/>
                <a:gd name="connsiteY65" fmla="*/ 36217 h 343605"/>
                <a:gd name="connsiteX66" fmla="*/ 20449 w 312019"/>
                <a:gd name="connsiteY66" fmla="*/ 31377 h 343605"/>
                <a:gd name="connsiteX67" fmla="*/ 14071 w 312019"/>
                <a:gd name="connsiteY67" fmla="*/ 34025 h 343605"/>
                <a:gd name="connsiteX68" fmla="*/ 7361 w 312019"/>
                <a:gd name="connsiteY68" fmla="*/ 15204 h 343605"/>
                <a:gd name="connsiteX69" fmla="*/ 17488 w 312019"/>
                <a:gd name="connsiteY69" fmla="*/ 4406 h 343605"/>
                <a:gd name="connsiteX70" fmla="*/ 25065 w 312019"/>
                <a:gd name="connsiteY70" fmla="*/ 202 h 343605"/>
                <a:gd name="connsiteX71" fmla="*/ 34466 w 312019"/>
                <a:gd name="connsiteY71" fmla="*/ 8781 h 343605"/>
                <a:gd name="connsiteX72" fmla="*/ 25333 w 312019"/>
                <a:gd name="connsiteY72" fmla="*/ 14032 h 343605"/>
                <a:gd name="connsiteX73" fmla="*/ 21236 w 312019"/>
                <a:gd name="connsiteY73" fmla="*/ 20464 h 343605"/>
                <a:gd name="connsiteX74" fmla="*/ 20449 w 312019"/>
                <a:gd name="connsiteY74" fmla="*/ 31377 h 343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12019" h="343605">
                  <a:moveTo>
                    <a:pt x="118009" y="36217"/>
                  </a:moveTo>
                  <a:lnTo>
                    <a:pt x="124190" y="54895"/>
                  </a:lnTo>
                  <a:lnTo>
                    <a:pt x="131391" y="69950"/>
                  </a:lnTo>
                  <a:lnTo>
                    <a:pt x="137161" y="78073"/>
                  </a:lnTo>
                  <a:lnTo>
                    <a:pt x="146768" y="91223"/>
                  </a:lnTo>
                  <a:lnTo>
                    <a:pt x="163353" y="89183"/>
                  </a:lnTo>
                  <a:lnTo>
                    <a:pt x="171627" y="85640"/>
                  </a:lnTo>
                  <a:lnTo>
                    <a:pt x="185484" y="89192"/>
                  </a:lnTo>
                  <a:lnTo>
                    <a:pt x="189241" y="82903"/>
                  </a:lnTo>
                  <a:lnTo>
                    <a:pt x="195539" y="68259"/>
                  </a:lnTo>
                  <a:lnTo>
                    <a:pt x="211095" y="67284"/>
                  </a:lnTo>
                  <a:lnTo>
                    <a:pt x="212446" y="62937"/>
                  </a:lnTo>
                  <a:lnTo>
                    <a:pt x="225247" y="62839"/>
                  </a:lnTo>
                  <a:lnTo>
                    <a:pt x="223064" y="71882"/>
                  </a:lnTo>
                  <a:lnTo>
                    <a:pt x="253497" y="71668"/>
                  </a:lnTo>
                  <a:lnTo>
                    <a:pt x="253953" y="87483"/>
                  </a:lnTo>
                  <a:lnTo>
                    <a:pt x="259034" y="97198"/>
                  </a:lnTo>
                  <a:lnTo>
                    <a:pt x="255340" y="112388"/>
                  </a:lnTo>
                  <a:lnTo>
                    <a:pt x="257182" y="127908"/>
                  </a:lnTo>
                  <a:lnTo>
                    <a:pt x="265546" y="137292"/>
                  </a:lnTo>
                  <a:lnTo>
                    <a:pt x="264204" y="167447"/>
                  </a:lnTo>
                  <a:lnTo>
                    <a:pt x="270413" y="165121"/>
                  </a:lnTo>
                  <a:lnTo>
                    <a:pt x="281317" y="165748"/>
                  </a:lnTo>
                  <a:lnTo>
                    <a:pt x="296856" y="161946"/>
                  </a:lnTo>
                  <a:lnTo>
                    <a:pt x="308279" y="163440"/>
                  </a:lnTo>
                  <a:lnTo>
                    <a:pt x="310927" y="171320"/>
                  </a:lnTo>
                  <a:lnTo>
                    <a:pt x="308073" y="183656"/>
                  </a:lnTo>
                  <a:lnTo>
                    <a:pt x="312484" y="195599"/>
                  </a:lnTo>
                  <a:lnTo>
                    <a:pt x="308744" y="205152"/>
                  </a:lnTo>
                  <a:lnTo>
                    <a:pt x="310882" y="213973"/>
                  </a:lnTo>
                  <a:lnTo>
                    <a:pt x="258658" y="213651"/>
                  </a:lnTo>
                  <a:lnTo>
                    <a:pt x="257505" y="295574"/>
                  </a:lnTo>
                  <a:lnTo>
                    <a:pt x="274429" y="316837"/>
                  </a:lnTo>
                  <a:lnTo>
                    <a:pt x="290800" y="333145"/>
                  </a:lnTo>
                  <a:lnTo>
                    <a:pt x="244703" y="343808"/>
                  </a:lnTo>
                  <a:lnTo>
                    <a:pt x="183982" y="340104"/>
                  </a:lnTo>
                  <a:lnTo>
                    <a:pt x="166600" y="327580"/>
                  </a:lnTo>
                  <a:lnTo>
                    <a:pt x="64926" y="328708"/>
                  </a:lnTo>
                  <a:lnTo>
                    <a:pt x="61133" y="330541"/>
                  </a:lnTo>
                  <a:lnTo>
                    <a:pt x="46176" y="318742"/>
                  </a:lnTo>
                  <a:lnTo>
                    <a:pt x="29913" y="317964"/>
                  </a:lnTo>
                  <a:lnTo>
                    <a:pt x="14902" y="322410"/>
                  </a:lnTo>
                  <a:lnTo>
                    <a:pt x="2826" y="327375"/>
                  </a:lnTo>
                  <a:lnTo>
                    <a:pt x="465" y="310978"/>
                  </a:lnTo>
                  <a:lnTo>
                    <a:pt x="3935" y="288149"/>
                  </a:lnTo>
                  <a:lnTo>
                    <a:pt x="12586" y="264488"/>
                  </a:lnTo>
                  <a:lnTo>
                    <a:pt x="13892" y="253431"/>
                  </a:lnTo>
                  <a:lnTo>
                    <a:pt x="22032" y="230280"/>
                  </a:lnTo>
                  <a:lnTo>
                    <a:pt x="28008" y="219787"/>
                  </a:lnTo>
                  <a:lnTo>
                    <a:pt x="42419" y="203059"/>
                  </a:lnTo>
                  <a:lnTo>
                    <a:pt x="50461" y="191707"/>
                  </a:lnTo>
                  <a:lnTo>
                    <a:pt x="53091" y="172859"/>
                  </a:lnTo>
                  <a:lnTo>
                    <a:pt x="51776" y="158466"/>
                  </a:lnTo>
                  <a:lnTo>
                    <a:pt x="44280" y="149404"/>
                  </a:lnTo>
                  <a:lnTo>
                    <a:pt x="37597" y="134054"/>
                  </a:lnTo>
                  <a:lnTo>
                    <a:pt x="31434" y="118900"/>
                  </a:lnTo>
                  <a:lnTo>
                    <a:pt x="32776" y="113658"/>
                  </a:lnTo>
                  <a:lnTo>
                    <a:pt x="40487" y="103666"/>
                  </a:lnTo>
                  <a:lnTo>
                    <a:pt x="32874" y="79352"/>
                  </a:lnTo>
                  <a:lnTo>
                    <a:pt x="27739" y="62534"/>
                  </a:lnTo>
                  <a:lnTo>
                    <a:pt x="15171" y="46665"/>
                  </a:lnTo>
                  <a:lnTo>
                    <a:pt x="17559" y="41799"/>
                  </a:lnTo>
                  <a:lnTo>
                    <a:pt x="27909" y="38435"/>
                  </a:lnTo>
                  <a:lnTo>
                    <a:pt x="35182" y="38900"/>
                  </a:lnTo>
                  <a:lnTo>
                    <a:pt x="43976" y="35895"/>
                  </a:lnTo>
                  <a:lnTo>
                    <a:pt x="118009" y="36217"/>
                  </a:lnTo>
                  <a:close/>
                  <a:moveTo>
                    <a:pt x="20449" y="31377"/>
                  </a:moveTo>
                  <a:lnTo>
                    <a:pt x="14071" y="34025"/>
                  </a:lnTo>
                  <a:lnTo>
                    <a:pt x="7361" y="15204"/>
                  </a:lnTo>
                  <a:lnTo>
                    <a:pt x="17488" y="4406"/>
                  </a:lnTo>
                  <a:lnTo>
                    <a:pt x="25065" y="202"/>
                  </a:lnTo>
                  <a:lnTo>
                    <a:pt x="34466" y="8781"/>
                  </a:lnTo>
                  <a:lnTo>
                    <a:pt x="25333" y="14032"/>
                  </a:lnTo>
                  <a:lnTo>
                    <a:pt x="21236" y="20464"/>
                  </a:lnTo>
                  <a:lnTo>
                    <a:pt x="20449" y="3137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/>
            <p:cNvSpPr/>
            <p:nvPr/>
          </p:nvSpPr>
          <p:spPr>
            <a:xfrm>
              <a:off x="3996256" y="5218869"/>
              <a:ext cx="496322" cy="1104017"/>
            </a:xfrm>
            <a:custGeom>
              <a:avLst/>
              <a:gdLst>
                <a:gd name="connsiteX0" fmla="*/ 198943 w 496322"/>
                <a:gd name="connsiteY0" fmla="*/ 1102066 h 1104017"/>
                <a:gd name="connsiteX1" fmla="*/ 175113 w 496322"/>
                <a:gd name="connsiteY1" fmla="*/ 1104257 h 1104017"/>
                <a:gd name="connsiteX2" fmla="*/ 162320 w 496322"/>
                <a:gd name="connsiteY2" fmla="*/ 1088818 h 1104017"/>
                <a:gd name="connsiteX3" fmla="*/ 147211 w 496322"/>
                <a:gd name="connsiteY3" fmla="*/ 1087655 h 1104017"/>
                <a:gd name="connsiteX4" fmla="*/ 120357 w 496322"/>
                <a:gd name="connsiteY4" fmla="*/ 1087628 h 1104017"/>
                <a:gd name="connsiteX5" fmla="*/ 120339 w 496322"/>
                <a:gd name="connsiteY5" fmla="*/ 993091 h 1104017"/>
                <a:gd name="connsiteX6" fmla="*/ 129973 w 496322"/>
                <a:gd name="connsiteY6" fmla="*/ 1012306 h 1104017"/>
                <a:gd name="connsiteX7" fmla="*/ 142515 w 496322"/>
                <a:gd name="connsiteY7" fmla="*/ 1043840 h 1104017"/>
                <a:gd name="connsiteX8" fmla="*/ 175121 w 496322"/>
                <a:gd name="connsiteY8" fmla="*/ 1069468 h 1104017"/>
                <a:gd name="connsiteX9" fmla="*/ 210233 w 496322"/>
                <a:gd name="connsiteY9" fmla="*/ 1080265 h 1104017"/>
                <a:gd name="connsiteX10" fmla="*/ 198943 w 496322"/>
                <a:gd name="connsiteY10" fmla="*/ 1102066 h 1104017"/>
                <a:gd name="connsiteX11" fmla="*/ 212362 w 496322"/>
                <a:gd name="connsiteY11" fmla="*/ 6797 h 1104017"/>
                <a:gd name="connsiteX12" fmla="*/ 227104 w 496322"/>
                <a:gd name="connsiteY12" fmla="*/ 26280 h 1104017"/>
                <a:gd name="connsiteX13" fmla="*/ 236890 w 496322"/>
                <a:gd name="connsiteY13" fmla="*/ 4578 h 1104017"/>
                <a:gd name="connsiteX14" fmla="*/ 265489 w 496322"/>
                <a:gd name="connsiteY14" fmla="*/ 5696 h 1104017"/>
                <a:gd name="connsiteX15" fmla="*/ 269541 w 496322"/>
                <a:gd name="connsiteY15" fmla="*/ 11457 h 1104017"/>
                <a:gd name="connsiteX16" fmla="*/ 315655 w 496322"/>
                <a:gd name="connsiteY16" fmla="*/ 55693 h 1104017"/>
                <a:gd name="connsiteX17" fmla="*/ 336158 w 496322"/>
                <a:gd name="connsiteY17" fmla="*/ 59843 h 1104017"/>
                <a:gd name="connsiteX18" fmla="*/ 366806 w 496322"/>
                <a:gd name="connsiteY18" fmla="*/ 80078 h 1104017"/>
                <a:gd name="connsiteX19" fmla="*/ 392640 w 496322"/>
                <a:gd name="connsiteY19" fmla="*/ 90831 h 1104017"/>
                <a:gd name="connsiteX20" fmla="*/ 396236 w 496322"/>
                <a:gd name="connsiteY20" fmla="*/ 103014 h 1104017"/>
                <a:gd name="connsiteX21" fmla="*/ 371547 w 496322"/>
                <a:gd name="connsiteY21" fmla="*/ 145336 h 1104017"/>
                <a:gd name="connsiteX22" fmla="*/ 396836 w 496322"/>
                <a:gd name="connsiteY22" fmla="*/ 152975 h 1104017"/>
                <a:gd name="connsiteX23" fmla="*/ 425005 w 496322"/>
                <a:gd name="connsiteY23" fmla="*/ 157260 h 1104017"/>
                <a:gd name="connsiteX24" fmla="*/ 444837 w 496322"/>
                <a:gd name="connsiteY24" fmla="*/ 152742 h 1104017"/>
                <a:gd name="connsiteX25" fmla="*/ 467586 w 496322"/>
                <a:gd name="connsiteY25" fmla="*/ 131291 h 1104017"/>
                <a:gd name="connsiteX26" fmla="*/ 471683 w 496322"/>
                <a:gd name="connsiteY26" fmla="*/ 106754 h 1104017"/>
                <a:gd name="connsiteX27" fmla="*/ 484108 w 496322"/>
                <a:gd name="connsiteY27" fmla="*/ 101449 h 1104017"/>
                <a:gd name="connsiteX28" fmla="*/ 496694 w 496322"/>
                <a:gd name="connsiteY28" fmla="*/ 117452 h 1104017"/>
                <a:gd name="connsiteX29" fmla="*/ 496184 w 496322"/>
                <a:gd name="connsiteY29" fmla="*/ 139718 h 1104017"/>
                <a:gd name="connsiteX30" fmla="*/ 475064 w 496322"/>
                <a:gd name="connsiteY30" fmla="*/ 155185 h 1104017"/>
                <a:gd name="connsiteX31" fmla="*/ 458220 w 496322"/>
                <a:gd name="connsiteY31" fmla="*/ 166653 h 1104017"/>
                <a:gd name="connsiteX32" fmla="*/ 429907 w 496322"/>
                <a:gd name="connsiteY32" fmla="*/ 194187 h 1104017"/>
                <a:gd name="connsiteX33" fmla="*/ 396442 w 496322"/>
                <a:gd name="connsiteY33" fmla="*/ 233297 h 1104017"/>
                <a:gd name="connsiteX34" fmla="*/ 390171 w 496322"/>
                <a:gd name="connsiteY34" fmla="*/ 256501 h 1104017"/>
                <a:gd name="connsiteX35" fmla="*/ 383462 w 496322"/>
                <a:gd name="connsiteY35" fmla="*/ 286603 h 1104017"/>
                <a:gd name="connsiteX36" fmla="*/ 383713 w 496322"/>
                <a:gd name="connsiteY36" fmla="*/ 316096 h 1104017"/>
                <a:gd name="connsiteX37" fmla="*/ 378274 w 496322"/>
                <a:gd name="connsiteY37" fmla="*/ 322734 h 1104017"/>
                <a:gd name="connsiteX38" fmla="*/ 376333 w 496322"/>
                <a:gd name="connsiteY38" fmla="*/ 342101 h 1104017"/>
                <a:gd name="connsiteX39" fmla="*/ 374615 w 496322"/>
                <a:gd name="connsiteY39" fmla="*/ 357854 h 1104017"/>
                <a:gd name="connsiteX40" fmla="*/ 406461 w 496322"/>
                <a:gd name="connsiteY40" fmla="*/ 383921 h 1104017"/>
                <a:gd name="connsiteX41" fmla="*/ 403035 w 496322"/>
                <a:gd name="connsiteY41" fmla="*/ 405104 h 1104017"/>
                <a:gd name="connsiteX42" fmla="*/ 418707 w 496322"/>
                <a:gd name="connsiteY42" fmla="*/ 418585 h 1104017"/>
                <a:gd name="connsiteX43" fmla="*/ 417428 w 496322"/>
                <a:gd name="connsiteY43" fmla="*/ 433792 h 1104017"/>
                <a:gd name="connsiteX44" fmla="*/ 393329 w 496322"/>
                <a:gd name="connsiteY44" fmla="*/ 474190 h 1104017"/>
                <a:gd name="connsiteX45" fmla="*/ 356143 w 496322"/>
                <a:gd name="connsiteY45" fmla="*/ 491303 h 1104017"/>
                <a:gd name="connsiteX46" fmla="*/ 305833 w 496322"/>
                <a:gd name="connsiteY46" fmla="*/ 497976 h 1104017"/>
                <a:gd name="connsiteX47" fmla="*/ 278281 w 496322"/>
                <a:gd name="connsiteY47" fmla="*/ 494747 h 1104017"/>
                <a:gd name="connsiteX48" fmla="*/ 283550 w 496322"/>
                <a:gd name="connsiteY48" fmla="*/ 513953 h 1104017"/>
                <a:gd name="connsiteX49" fmla="*/ 278415 w 496322"/>
                <a:gd name="connsiteY49" fmla="*/ 538293 h 1104017"/>
                <a:gd name="connsiteX50" fmla="*/ 283049 w 496322"/>
                <a:gd name="connsiteY50" fmla="*/ 554852 h 1104017"/>
                <a:gd name="connsiteX51" fmla="*/ 268003 w 496322"/>
                <a:gd name="connsiteY51" fmla="*/ 566472 h 1104017"/>
                <a:gd name="connsiteX52" fmla="*/ 242293 w 496322"/>
                <a:gd name="connsiteY52" fmla="*/ 571052 h 1104017"/>
                <a:gd name="connsiteX53" fmla="*/ 218176 w 496322"/>
                <a:gd name="connsiteY53" fmla="*/ 559002 h 1104017"/>
                <a:gd name="connsiteX54" fmla="*/ 208488 w 496322"/>
                <a:gd name="connsiteY54" fmla="*/ 567653 h 1104017"/>
                <a:gd name="connsiteX55" fmla="*/ 211986 w 496322"/>
                <a:gd name="connsiteY55" fmla="*/ 600840 h 1104017"/>
                <a:gd name="connsiteX56" fmla="*/ 228920 w 496322"/>
                <a:gd name="connsiteY56" fmla="*/ 610994 h 1104017"/>
                <a:gd name="connsiteX57" fmla="*/ 242651 w 496322"/>
                <a:gd name="connsiteY57" fmla="*/ 600358 h 1104017"/>
                <a:gd name="connsiteX58" fmla="*/ 250120 w 496322"/>
                <a:gd name="connsiteY58" fmla="*/ 617908 h 1104017"/>
                <a:gd name="connsiteX59" fmla="*/ 227023 w 496322"/>
                <a:gd name="connsiteY59" fmla="*/ 628464 h 1104017"/>
                <a:gd name="connsiteX60" fmla="*/ 206887 w 496322"/>
                <a:gd name="connsiteY60" fmla="*/ 649781 h 1104017"/>
                <a:gd name="connsiteX61" fmla="*/ 203201 w 496322"/>
                <a:gd name="connsiteY61" fmla="*/ 684732 h 1104017"/>
                <a:gd name="connsiteX62" fmla="*/ 197271 w 496322"/>
                <a:gd name="connsiteY62" fmla="*/ 703580 h 1104017"/>
                <a:gd name="connsiteX63" fmla="*/ 173583 w 496322"/>
                <a:gd name="connsiteY63" fmla="*/ 703678 h 1104017"/>
                <a:gd name="connsiteX64" fmla="*/ 153921 w 496322"/>
                <a:gd name="connsiteY64" fmla="*/ 721882 h 1104017"/>
                <a:gd name="connsiteX65" fmla="*/ 146729 w 496322"/>
                <a:gd name="connsiteY65" fmla="*/ 748835 h 1104017"/>
                <a:gd name="connsiteX66" fmla="*/ 171391 w 496322"/>
                <a:gd name="connsiteY66" fmla="*/ 775510 h 1104017"/>
                <a:gd name="connsiteX67" fmla="*/ 195374 w 496322"/>
                <a:gd name="connsiteY67" fmla="*/ 782944 h 1104017"/>
                <a:gd name="connsiteX68" fmla="*/ 186751 w 496322"/>
                <a:gd name="connsiteY68" fmla="*/ 816275 h 1104017"/>
                <a:gd name="connsiteX69" fmla="*/ 157123 w 496322"/>
                <a:gd name="connsiteY69" fmla="*/ 837520 h 1104017"/>
                <a:gd name="connsiteX70" fmla="*/ 140824 w 496322"/>
                <a:gd name="connsiteY70" fmla="*/ 882472 h 1104017"/>
                <a:gd name="connsiteX71" fmla="*/ 117933 w 496322"/>
                <a:gd name="connsiteY71" fmla="*/ 897849 h 1104017"/>
                <a:gd name="connsiteX72" fmla="*/ 107654 w 496322"/>
                <a:gd name="connsiteY72" fmla="*/ 916268 h 1104017"/>
                <a:gd name="connsiteX73" fmla="*/ 115750 w 496322"/>
                <a:gd name="connsiteY73" fmla="*/ 957784 h 1104017"/>
                <a:gd name="connsiteX74" fmla="*/ 132442 w 496322"/>
                <a:gd name="connsiteY74" fmla="*/ 981337 h 1104017"/>
                <a:gd name="connsiteX75" fmla="*/ 121869 w 496322"/>
                <a:gd name="connsiteY75" fmla="*/ 979271 h 1104017"/>
                <a:gd name="connsiteX76" fmla="*/ 98619 w 496322"/>
                <a:gd name="connsiteY76" fmla="*/ 972875 h 1104017"/>
                <a:gd name="connsiteX77" fmla="*/ 38014 w 496322"/>
                <a:gd name="connsiteY77" fmla="*/ 967436 h 1104017"/>
                <a:gd name="connsiteX78" fmla="*/ 27619 w 496322"/>
                <a:gd name="connsiteY78" fmla="*/ 943891 h 1104017"/>
                <a:gd name="connsiteX79" fmla="*/ 28102 w 496322"/>
                <a:gd name="connsiteY79" fmla="*/ 914085 h 1104017"/>
                <a:gd name="connsiteX80" fmla="*/ 11401 w 496322"/>
                <a:gd name="connsiteY80" fmla="*/ 916626 h 1104017"/>
                <a:gd name="connsiteX81" fmla="*/ 2563 w 496322"/>
                <a:gd name="connsiteY81" fmla="*/ 902348 h 1104017"/>
                <a:gd name="connsiteX82" fmla="*/ 371 w 496322"/>
                <a:gd name="connsiteY82" fmla="*/ 861208 h 1104017"/>
                <a:gd name="connsiteX83" fmla="*/ 19613 w 496322"/>
                <a:gd name="connsiteY83" fmla="*/ 844409 h 1104017"/>
                <a:gd name="connsiteX84" fmla="*/ 27565 w 496322"/>
                <a:gd name="connsiteY84" fmla="*/ 820435 h 1104017"/>
                <a:gd name="connsiteX85" fmla="*/ 24649 w 496322"/>
                <a:gd name="connsiteY85" fmla="*/ 801542 h 1104017"/>
                <a:gd name="connsiteX86" fmla="*/ 37942 w 496322"/>
                <a:gd name="connsiteY86" fmla="*/ 770053 h 1104017"/>
                <a:gd name="connsiteX87" fmla="*/ 47103 w 496322"/>
                <a:gd name="connsiteY87" fmla="*/ 722195 h 1104017"/>
                <a:gd name="connsiteX88" fmla="*/ 44410 w 496322"/>
                <a:gd name="connsiteY88" fmla="*/ 701343 h 1104017"/>
                <a:gd name="connsiteX89" fmla="*/ 55359 w 496322"/>
                <a:gd name="connsiteY89" fmla="*/ 694652 h 1104017"/>
                <a:gd name="connsiteX90" fmla="*/ 52675 w 496322"/>
                <a:gd name="connsiteY90" fmla="*/ 681431 h 1104017"/>
                <a:gd name="connsiteX91" fmla="*/ 41037 w 496322"/>
                <a:gd name="connsiteY91" fmla="*/ 674435 h 1104017"/>
                <a:gd name="connsiteX92" fmla="*/ 49303 w 496322"/>
                <a:gd name="connsiteY92" fmla="*/ 659854 h 1104017"/>
                <a:gd name="connsiteX93" fmla="*/ 37978 w 496322"/>
                <a:gd name="connsiteY93" fmla="*/ 646775 h 1104017"/>
                <a:gd name="connsiteX94" fmla="*/ 32119 w 496322"/>
                <a:gd name="connsiteY94" fmla="*/ 607460 h 1104017"/>
                <a:gd name="connsiteX95" fmla="*/ 42200 w 496322"/>
                <a:gd name="connsiteY95" fmla="*/ 600599 h 1104017"/>
                <a:gd name="connsiteX96" fmla="*/ 37960 w 496322"/>
                <a:gd name="connsiteY96" fmla="*/ 559960 h 1104017"/>
                <a:gd name="connsiteX97" fmla="*/ 43855 w 496322"/>
                <a:gd name="connsiteY97" fmla="*/ 526405 h 1104017"/>
                <a:gd name="connsiteX98" fmla="*/ 50564 w 496322"/>
                <a:gd name="connsiteY98" fmla="*/ 497573 h 1104017"/>
                <a:gd name="connsiteX99" fmla="*/ 65584 w 496322"/>
                <a:gd name="connsiteY99" fmla="*/ 485944 h 1104017"/>
                <a:gd name="connsiteX100" fmla="*/ 57953 w 496322"/>
                <a:gd name="connsiteY100" fmla="*/ 454975 h 1104017"/>
                <a:gd name="connsiteX101" fmla="*/ 57873 w 496322"/>
                <a:gd name="connsiteY101" fmla="*/ 426198 h 1104017"/>
                <a:gd name="connsiteX102" fmla="*/ 76864 w 496322"/>
                <a:gd name="connsiteY102" fmla="*/ 405954 h 1104017"/>
                <a:gd name="connsiteX103" fmla="*/ 76283 w 496322"/>
                <a:gd name="connsiteY103" fmla="*/ 380298 h 1104017"/>
                <a:gd name="connsiteX104" fmla="*/ 90596 w 496322"/>
                <a:gd name="connsiteY104" fmla="*/ 350662 h 1104017"/>
                <a:gd name="connsiteX105" fmla="*/ 90658 w 496322"/>
                <a:gd name="connsiteY105" fmla="*/ 323056 h 1104017"/>
                <a:gd name="connsiteX106" fmla="*/ 84146 w 496322"/>
                <a:gd name="connsiteY106" fmla="*/ 317608 h 1104017"/>
                <a:gd name="connsiteX107" fmla="*/ 72588 w 496322"/>
                <a:gd name="connsiteY107" fmla="*/ 266673 h 1104017"/>
                <a:gd name="connsiteX108" fmla="*/ 88046 w 496322"/>
                <a:gd name="connsiteY108" fmla="*/ 236768 h 1104017"/>
                <a:gd name="connsiteX109" fmla="*/ 85675 w 496322"/>
                <a:gd name="connsiteY109" fmla="*/ 208902 h 1104017"/>
                <a:gd name="connsiteX110" fmla="*/ 94639 w 496322"/>
                <a:gd name="connsiteY110" fmla="*/ 182996 h 1104017"/>
                <a:gd name="connsiteX111" fmla="*/ 111063 w 496322"/>
                <a:gd name="connsiteY111" fmla="*/ 156491 h 1104017"/>
                <a:gd name="connsiteX112" fmla="*/ 128766 w 496322"/>
                <a:gd name="connsiteY112" fmla="*/ 139047 h 1104017"/>
                <a:gd name="connsiteX113" fmla="*/ 121261 w 496322"/>
                <a:gd name="connsiteY113" fmla="*/ 128089 h 1104017"/>
                <a:gd name="connsiteX114" fmla="*/ 126494 w 496322"/>
                <a:gd name="connsiteY114" fmla="*/ 119134 h 1104017"/>
                <a:gd name="connsiteX115" fmla="*/ 125698 w 496322"/>
                <a:gd name="connsiteY115" fmla="*/ 73127 h 1104017"/>
                <a:gd name="connsiteX116" fmla="*/ 153017 w 496322"/>
                <a:gd name="connsiteY116" fmla="*/ 59629 h 1104017"/>
                <a:gd name="connsiteX117" fmla="*/ 161623 w 496322"/>
                <a:gd name="connsiteY117" fmla="*/ 31370 h 1104017"/>
                <a:gd name="connsiteX118" fmla="*/ 158581 w 496322"/>
                <a:gd name="connsiteY118" fmla="*/ 24589 h 1104017"/>
                <a:gd name="connsiteX119" fmla="*/ 179478 w 496322"/>
                <a:gd name="connsiteY119" fmla="*/ 240 h 1104017"/>
                <a:gd name="connsiteX120" fmla="*/ 212362 w 496322"/>
                <a:gd name="connsiteY120" fmla="*/ 6797 h 110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96322" h="1104017">
                  <a:moveTo>
                    <a:pt x="198943" y="1102066"/>
                  </a:moveTo>
                  <a:lnTo>
                    <a:pt x="175113" y="1104257"/>
                  </a:lnTo>
                  <a:lnTo>
                    <a:pt x="162320" y="1088818"/>
                  </a:lnTo>
                  <a:lnTo>
                    <a:pt x="147211" y="1087655"/>
                  </a:lnTo>
                  <a:lnTo>
                    <a:pt x="120357" y="1087628"/>
                  </a:lnTo>
                  <a:lnTo>
                    <a:pt x="120339" y="993091"/>
                  </a:lnTo>
                  <a:lnTo>
                    <a:pt x="129973" y="1012306"/>
                  </a:lnTo>
                  <a:lnTo>
                    <a:pt x="142515" y="1043840"/>
                  </a:lnTo>
                  <a:lnTo>
                    <a:pt x="175121" y="1069468"/>
                  </a:lnTo>
                  <a:lnTo>
                    <a:pt x="210233" y="1080265"/>
                  </a:lnTo>
                  <a:lnTo>
                    <a:pt x="198943" y="1102066"/>
                  </a:lnTo>
                  <a:close/>
                  <a:moveTo>
                    <a:pt x="212362" y="6797"/>
                  </a:moveTo>
                  <a:lnTo>
                    <a:pt x="227104" y="26280"/>
                  </a:lnTo>
                  <a:lnTo>
                    <a:pt x="236890" y="4578"/>
                  </a:lnTo>
                  <a:lnTo>
                    <a:pt x="265489" y="5696"/>
                  </a:lnTo>
                  <a:lnTo>
                    <a:pt x="269541" y="11457"/>
                  </a:lnTo>
                  <a:lnTo>
                    <a:pt x="315655" y="55693"/>
                  </a:lnTo>
                  <a:lnTo>
                    <a:pt x="336158" y="59843"/>
                  </a:lnTo>
                  <a:lnTo>
                    <a:pt x="366806" y="80078"/>
                  </a:lnTo>
                  <a:lnTo>
                    <a:pt x="392640" y="90831"/>
                  </a:lnTo>
                  <a:lnTo>
                    <a:pt x="396236" y="103014"/>
                  </a:lnTo>
                  <a:lnTo>
                    <a:pt x="371547" y="145336"/>
                  </a:lnTo>
                  <a:lnTo>
                    <a:pt x="396836" y="152975"/>
                  </a:lnTo>
                  <a:lnTo>
                    <a:pt x="425005" y="157260"/>
                  </a:lnTo>
                  <a:lnTo>
                    <a:pt x="444837" y="152742"/>
                  </a:lnTo>
                  <a:lnTo>
                    <a:pt x="467586" y="131291"/>
                  </a:lnTo>
                  <a:lnTo>
                    <a:pt x="471683" y="106754"/>
                  </a:lnTo>
                  <a:lnTo>
                    <a:pt x="484108" y="101449"/>
                  </a:lnTo>
                  <a:lnTo>
                    <a:pt x="496694" y="117452"/>
                  </a:lnTo>
                  <a:lnTo>
                    <a:pt x="496184" y="139718"/>
                  </a:lnTo>
                  <a:lnTo>
                    <a:pt x="475064" y="155185"/>
                  </a:lnTo>
                  <a:lnTo>
                    <a:pt x="458220" y="166653"/>
                  </a:lnTo>
                  <a:lnTo>
                    <a:pt x="429907" y="194187"/>
                  </a:lnTo>
                  <a:lnTo>
                    <a:pt x="396442" y="233297"/>
                  </a:lnTo>
                  <a:lnTo>
                    <a:pt x="390171" y="256501"/>
                  </a:lnTo>
                  <a:lnTo>
                    <a:pt x="383462" y="286603"/>
                  </a:lnTo>
                  <a:lnTo>
                    <a:pt x="383713" y="316096"/>
                  </a:lnTo>
                  <a:lnTo>
                    <a:pt x="378274" y="322734"/>
                  </a:lnTo>
                  <a:lnTo>
                    <a:pt x="376333" y="342101"/>
                  </a:lnTo>
                  <a:lnTo>
                    <a:pt x="374615" y="357854"/>
                  </a:lnTo>
                  <a:lnTo>
                    <a:pt x="406461" y="383921"/>
                  </a:lnTo>
                  <a:lnTo>
                    <a:pt x="403035" y="405104"/>
                  </a:lnTo>
                  <a:lnTo>
                    <a:pt x="418707" y="418585"/>
                  </a:lnTo>
                  <a:lnTo>
                    <a:pt x="417428" y="433792"/>
                  </a:lnTo>
                  <a:lnTo>
                    <a:pt x="393329" y="474190"/>
                  </a:lnTo>
                  <a:lnTo>
                    <a:pt x="356143" y="491303"/>
                  </a:lnTo>
                  <a:lnTo>
                    <a:pt x="305833" y="497976"/>
                  </a:lnTo>
                  <a:lnTo>
                    <a:pt x="278281" y="494747"/>
                  </a:lnTo>
                  <a:lnTo>
                    <a:pt x="283550" y="513953"/>
                  </a:lnTo>
                  <a:lnTo>
                    <a:pt x="278415" y="538293"/>
                  </a:lnTo>
                  <a:lnTo>
                    <a:pt x="283049" y="554852"/>
                  </a:lnTo>
                  <a:lnTo>
                    <a:pt x="268003" y="566472"/>
                  </a:lnTo>
                  <a:lnTo>
                    <a:pt x="242293" y="571052"/>
                  </a:lnTo>
                  <a:lnTo>
                    <a:pt x="218176" y="559002"/>
                  </a:lnTo>
                  <a:lnTo>
                    <a:pt x="208488" y="567653"/>
                  </a:lnTo>
                  <a:lnTo>
                    <a:pt x="211986" y="600840"/>
                  </a:lnTo>
                  <a:lnTo>
                    <a:pt x="228920" y="610994"/>
                  </a:lnTo>
                  <a:lnTo>
                    <a:pt x="242651" y="600358"/>
                  </a:lnTo>
                  <a:lnTo>
                    <a:pt x="250120" y="617908"/>
                  </a:lnTo>
                  <a:lnTo>
                    <a:pt x="227023" y="628464"/>
                  </a:lnTo>
                  <a:lnTo>
                    <a:pt x="206887" y="649781"/>
                  </a:lnTo>
                  <a:lnTo>
                    <a:pt x="203201" y="684732"/>
                  </a:lnTo>
                  <a:lnTo>
                    <a:pt x="197271" y="703580"/>
                  </a:lnTo>
                  <a:lnTo>
                    <a:pt x="173583" y="703678"/>
                  </a:lnTo>
                  <a:lnTo>
                    <a:pt x="153921" y="721882"/>
                  </a:lnTo>
                  <a:lnTo>
                    <a:pt x="146729" y="748835"/>
                  </a:lnTo>
                  <a:lnTo>
                    <a:pt x="171391" y="775510"/>
                  </a:lnTo>
                  <a:lnTo>
                    <a:pt x="195374" y="782944"/>
                  </a:lnTo>
                  <a:lnTo>
                    <a:pt x="186751" y="816275"/>
                  </a:lnTo>
                  <a:lnTo>
                    <a:pt x="157123" y="837520"/>
                  </a:lnTo>
                  <a:lnTo>
                    <a:pt x="140824" y="882472"/>
                  </a:lnTo>
                  <a:lnTo>
                    <a:pt x="117933" y="897849"/>
                  </a:lnTo>
                  <a:lnTo>
                    <a:pt x="107654" y="916268"/>
                  </a:lnTo>
                  <a:lnTo>
                    <a:pt x="115750" y="957784"/>
                  </a:lnTo>
                  <a:lnTo>
                    <a:pt x="132442" y="981337"/>
                  </a:lnTo>
                  <a:lnTo>
                    <a:pt x="121869" y="979271"/>
                  </a:lnTo>
                  <a:lnTo>
                    <a:pt x="98619" y="972875"/>
                  </a:lnTo>
                  <a:lnTo>
                    <a:pt x="38014" y="967436"/>
                  </a:lnTo>
                  <a:lnTo>
                    <a:pt x="27619" y="943891"/>
                  </a:lnTo>
                  <a:lnTo>
                    <a:pt x="28102" y="914085"/>
                  </a:lnTo>
                  <a:lnTo>
                    <a:pt x="11401" y="916626"/>
                  </a:lnTo>
                  <a:lnTo>
                    <a:pt x="2563" y="902348"/>
                  </a:lnTo>
                  <a:lnTo>
                    <a:pt x="371" y="861208"/>
                  </a:lnTo>
                  <a:lnTo>
                    <a:pt x="19613" y="844409"/>
                  </a:lnTo>
                  <a:lnTo>
                    <a:pt x="27565" y="820435"/>
                  </a:lnTo>
                  <a:lnTo>
                    <a:pt x="24649" y="801542"/>
                  </a:lnTo>
                  <a:lnTo>
                    <a:pt x="37942" y="770053"/>
                  </a:lnTo>
                  <a:lnTo>
                    <a:pt x="47103" y="722195"/>
                  </a:lnTo>
                  <a:lnTo>
                    <a:pt x="44410" y="701343"/>
                  </a:lnTo>
                  <a:lnTo>
                    <a:pt x="55359" y="694652"/>
                  </a:lnTo>
                  <a:lnTo>
                    <a:pt x="52675" y="681431"/>
                  </a:lnTo>
                  <a:lnTo>
                    <a:pt x="41037" y="674435"/>
                  </a:lnTo>
                  <a:lnTo>
                    <a:pt x="49303" y="659854"/>
                  </a:lnTo>
                  <a:lnTo>
                    <a:pt x="37978" y="646775"/>
                  </a:lnTo>
                  <a:lnTo>
                    <a:pt x="32119" y="607460"/>
                  </a:lnTo>
                  <a:lnTo>
                    <a:pt x="42200" y="600599"/>
                  </a:lnTo>
                  <a:lnTo>
                    <a:pt x="37960" y="559960"/>
                  </a:lnTo>
                  <a:lnTo>
                    <a:pt x="43855" y="526405"/>
                  </a:lnTo>
                  <a:lnTo>
                    <a:pt x="50564" y="497573"/>
                  </a:lnTo>
                  <a:lnTo>
                    <a:pt x="65584" y="485944"/>
                  </a:lnTo>
                  <a:lnTo>
                    <a:pt x="57953" y="454975"/>
                  </a:lnTo>
                  <a:lnTo>
                    <a:pt x="57873" y="426198"/>
                  </a:lnTo>
                  <a:lnTo>
                    <a:pt x="76864" y="405954"/>
                  </a:lnTo>
                  <a:lnTo>
                    <a:pt x="76283" y="380298"/>
                  </a:lnTo>
                  <a:lnTo>
                    <a:pt x="90596" y="350662"/>
                  </a:lnTo>
                  <a:lnTo>
                    <a:pt x="90658" y="323056"/>
                  </a:lnTo>
                  <a:lnTo>
                    <a:pt x="84146" y="317608"/>
                  </a:lnTo>
                  <a:lnTo>
                    <a:pt x="72588" y="266673"/>
                  </a:lnTo>
                  <a:lnTo>
                    <a:pt x="88046" y="236768"/>
                  </a:lnTo>
                  <a:lnTo>
                    <a:pt x="85675" y="208902"/>
                  </a:lnTo>
                  <a:lnTo>
                    <a:pt x="94639" y="182996"/>
                  </a:lnTo>
                  <a:lnTo>
                    <a:pt x="111063" y="156491"/>
                  </a:lnTo>
                  <a:lnTo>
                    <a:pt x="128766" y="139047"/>
                  </a:lnTo>
                  <a:lnTo>
                    <a:pt x="121261" y="128089"/>
                  </a:lnTo>
                  <a:lnTo>
                    <a:pt x="126494" y="119134"/>
                  </a:lnTo>
                  <a:lnTo>
                    <a:pt x="125698" y="73127"/>
                  </a:lnTo>
                  <a:lnTo>
                    <a:pt x="153017" y="59629"/>
                  </a:lnTo>
                  <a:lnTo>
                    <a:pt x="161623" y="31370"/>
                  </a:lnTo>
                  <a:lnTo>
                    <a:pt x="158581" y="24589"/>
                  </a:lnTo>
                  <a:lnTo>
                    <a:pt x="179478" y="240"/>
                  </a:lnTo>
                  <a:lnTo>
                    <a:pt x="212362" y="679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6075459" y="3253068"/>
              <a:ext cx="188106" cy="96969"/>
            </a:xfrm>
            <a:custGeom>
              <a:avLst/>
              <a:gdLst>
                <a:gd name="connsiteX0" fmla="*/ 188565 w 188106"/>
                <a:gd name="connsiteY0" fmla="*/ 34746 h 96969"/>
                <a:gd name="connsiteX1" fmla="*/ 186660 w 188106"/>
                <a:gd name="connsiteY1" fmla="*/ 49989 h 96969"/>
                <a:gd name="connsiteX2" fmla="*/ 172535 w 188106"/>
                <a:gd name="connsiteY2" fmla="*/ 50061 h 96969"/>
                <a:gd name="connsiteX3" fmla="*/ 177401 w 188106"/>
                <a:gd name="connsiteY3" fmla="*/ 58103 h 96969"/>
                <a:gd name="connsiteX4" fmla="*/ 169073 w 188106"/>
                <a:gd name="connsiteY4" fmla="*/ 81781 h 96969"/>
                <a:gd name="connsiteX5" fmla="*/ 164287 w 188106"/>
                <a:gd name="connsiteY5" fmla="*/ 87945 h 96969"/>
                <a:gd name="connsiteX6" fmla="*/ 142353 w 188106"/>
                <a:gd name="connsiteY6" fmla="*/ 88848 h 96969"/>
                <a:gd name="connsiteX7" fmla="*/ 129695 w 188106"/>
                <a:gd name="connsiteY7" fmla="*/ 97096 h 96969"/>
                <a:gd name="connsiteX8" fmla="*/ 108977 w 188106"/>
                <a:gd name="connsiteY8" fmla="*/ 94287 h 96969"/>
                <a:gd name="connsiteX9" fmla="*/ 73114 w 188106"/>
                <a:gd name="connsiteY9" fmla="*/ 84886 h 96969"/>
                <a:gd name="connsiteX10" fmla="*/ 67515 w 188106"/>
                <a:gd name="connsiteY10" fmla="*/ 72147 h 96969"/>
                <a:gd name="connsiteX11" fmla="*/ 42727 w 188106"/>
                <a:gd name="connsiteY11" fmla="*/ 78516 h 96969"/>
                <a:gd name="connsiteX12" fmla="*/ 39801 w 188106"/>
                <a:gd name="connsiteY12" fmla="*/ 85467 h 96969"/>
                <a:gd name="connsiteX13" fmla="*/ 24612 w 188106"/>
                <a:gd name="connsiteY13" fmla="*/ 80279 h 96969"/>
                <a:gd name="connsiteX14" fmla="*/ 11811 w 188106"/>
                <a:gd name="connsiteY14" fmla="*/ 79286 h 96969"/>
                <a:gd name="connsiteX15" fmla="*/ 459 w 188106"/>
                <a:gd name="connsiteY15" fmla="*/ 72603 h 96969"/>
                <a:gd name="connsiteX16" fmla="*/ 4297 w 188106"/>
                <a:gd name="connsiteY16" fmla="*/ 63595 h 96969"/>
                <a:gd name="connsiteX17" fmla="*/ 3331 w 188106"/>
                <a:gd name="connsiteY17" fmla="*/ 57029 h 96969"/>
                <a:gd name="connsiteX18" fmla="*/ 10899 w 188106"/>
                <a:gd name="connsiteY18" fmla="*/ 54990 h 96969"/>
                <a:gd name="connsiteX19" fmla="*/ 23592 w 188106"/>
                <a:gd name="connsiteY19" fmla="*/ 65259 h 96969"/>
                <a:gd name="connsiteX20" fmla="*/ 27161 w 188106"/>
                <a:gd name="connsiteY20" fmla="*/ 55500 h 96969"/>
                <a:gd name="connsiteX21" fmla="*/ 49284 w 188106"/>
                <a:gd name="connsiteY21" fmla="*/ 57083 h 96969"/>
                <a:gd name="connsiteX22" fmla="*/ 67211 w 188106"/>
                <a:gd name="connsiteY22" fmla="*/ 50427 h 96969"/>
                <a:gd name="connsiteX23" fmla="*/ 79242 w 188106"/>
                <a:gd name="connsiteY23" fmla="*/ 51564 h 96969"/>
                <a:gd name="connsiteX24" fmla="*/ 87061 w 188106"/>
                <a:gd name="connsiteY24" fmla="*/ 59158 h 96969"/>
                <a:gd name="connsiteX25" fmla="*/ 89395 w 188106"/>
                <a:gd name="connsiteY25" fmla="*/ 52861 h 96969"/>
                <a:gd name="connsiteX26" fmla="*/ 85844 w 188106"/>
                <a:gd name="connsiteY26" fmla="*/ 28529 h 96969"/>
                <a:gd name="connsiteX27" fmla="*/ 94852 w 188106"/>
                <a:gd name="connsiteY27" fmla="*/ 23752 h 96969"/>
                <a:gd name="connsiteX28" fmla="*/ 103699 w 188106"/>
                <a:gd name="connsiteY28" fmla="*/ 6299 h 96969"/>
                <a:gd name="connsiteX29" fmla="*/ 122332 w 188106"/>
                <a:gd name="connsiteY29" fmla="*/ 18501 h 96969"/>
                <a:gd name="connsiteX30" fmla="*/ 136440 w 188106"/>
                <a:gd name="connsiteY30" fmla="*/ 2981 h 96969"/>
                <a:gd name="connsiteX31" fmla="*/ 145269 w 188106"/>
                <a:gd name="connsiteY31" fmla="*/ 127 h 96969"/>
                <a:gd name="connsiteX32" fmla="*/ 164743 w 188106"/>
                <a:gd name="connsiteY32" fmla="*/ 11738 h 96969"/>
                <a:gd name="connsiteX33" fmla="*/ 176525 w 188106"/>
                <a:gd name="connsiteY33" fmla="*/ 9770 h 96969"/>
                <a:gd name="connsiteX34" fmla="*/ 188082 w 188106"/>
                <a:gd name="connsiteY34" fmla="*/ 16927 h 96969"/>
                <a:gd name="connsiteX35" fmla="*/ 186069 w 188106"/>
                <a:gd name="connsiteY35" fmla="*/ 21712 h 9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8106" h="96969">
                  <a:moveTo>
                    <a:pt x="188565" y="34746"/>
                  </a:moveTo>
                  <a:lnTo>
                    <a:pt x="186660" y="49989"/>
                  </a:lnTo>
                  <a:lnTo>
                    <a:pt x="172535" y="50061"/>
                  </a:lnTo>
                  <a:lnTo>
                    <a:pt x="177401" y="58103"/>
                  </a:lnTo>
                  <a:lnTo>
                    <a:pt x="169073" y="81781"/>
                  </a:lnTo>
                  <a:lnTo>
                    <a:pt x="164287" y="87945"/>
                  </a:lnTo>
                  <a:lnTo>
                    <a:pt x="142353" y="88848"/>
                  </a:lnTo>
                  <a:lnTo>
                    <a:pt x="129695" y="97096"/>
                  </a:lnTo>
                  <a:lnTo>
                    <a:pt x="108977" y="94287"/>
                  </a:lnTo>
                  <a:lnTo>
                    <a:pt x="73114" y="84886"/>
                  </a:lnTo>
                  <a:lnTo>
                    <a:pt x="67515" y="72147"/>
                  </a:lnTo>
                  <a:lnTo>
                    <a:pt x="42727" y="78516"/>
                  </a:lnTo>
                  <a:lnTo>
                    <a:pt x="39801" y="85467"/>
                  </a:lnTo>
                  <a:lnTo>
                    <a:pt x="24612" y="80279"/>
                  </a:lnTo>
                  <a:lnTo>
                    <a:pt x="11811" y="79286"/>
                  </a:lnTo>
                  <a:lnTo>
                    <a:pt x="459" y="72603"/>
                  </a:lnTo>
                  <a:lnTo>
                    <a:pt x="4297" y="63595"/>
                  </a:lnTo>
                  <a:lnTo>
                    <a:pt x="3331" y="57029"/>
                  </a:lnTo>
                  <a:lnTo>
                    <a:pt x="10899" y="54990"/>
                  </a:lnTo>
                  <a:lnTo>
                    <a:pt x="23592" y="65259"/>
                  </a:lnTo>
                  <a:lnTo>
                    <a:pt x="27161" y="55500"/>
                  </a:lnTo>
                  <a:lnTo>
                    <a:pt x="49284" y="57083"/>
                  </a:lnTo>
                  <a:lnTo>
                    <a:pt x="67211" y="50427"/>
                  </a:lnTo>
                  <a:lnTo>
                    <a:pt x="79242" y="51564"/>
                  </a:lnTo>
                  <a:lnTo>
                    <a:pt x="87061" y="59158"/>
                  </a:lnTo>
                  <a:lnTo>
                    <a:pt x="89395" y="52861"/>
                  </a:lnTo>
                  <a:lnTo>
                    <a:pt x="85844" y="28529"/>
                  </a:lnTo>
                  <a:lnTo>
                    <a:pt x="94852" y="23752"/>
                  </a:lnTo>
                  <a:lnTo>
                    <a:pt x="103699" y="6299"/>
                  </a:lnTo>
                  <a:lnTo>
                    <a:pt x="122332" y="18501"/>
                  </a:lnTo>
                  <a:lnTo>
                    <a:pt x="136440" y="2981"/>
                  </a:lnTo>
                  <a:lnTo>
                    <a:pt x="145269" y="127"/>
                  </a:lnTo>
                  <a:lnTo>
                    <a:pt x="164743" y="11738"/>
                  </a:lnTo>
                  <a:lnTo>
                    <a:pt x="176525" y="9770"/>
                  </a:lnTo>
                  <a:lnTo>
                    <a:pt x="188082" y="16927"/>
                  </a:lnTo>
                  <a:lnTo>
                    <a:pt x="186069" y="2171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8680450" y="4928524"/>
              <a:ext cx="1009043" cy="944689"/>
            </a:xfrm>
            <a:custGeom>
              <a:avLst/>
              <a:gdLst>
                <a:gd name="connsiteX0" fmla="*/ 804690 w 1009043"/>
                <a:gd name="connsiteY0" fmla="*/ 848981 h 944689"/>
                <a:gd name="connsiteX1" fmla="*/ 828924 w 1009043"/>
                <a:gd name="connsiteY1" fmla="*/ 860404 h 944689"/>
                <a:gd name="connsiteX2" fmla="*/ 842575 w 1009043"/>
                <a:gd name="connsiteY2" fmla="*/ 855860 h 944689"/>
                <a:gd name="connsiteX3" fmla="*/ 862147 w 1009043"/>
                <a:gd name="connsiteY3" fmla="*/ 849509 h 944689"/>
                <a:gd name="connsiteX4" fmla="*/ 877194 w 1009043"/>
                <a:gd name="connsiteY4" fmla="*/ 851727 h 944689"/>
                <a:gd name="connsiteX5" fmla="*/ 878974 w 1009043"/>
                <a:gd name="connsiteY5" fmla="*/ 891311 h 944689"/>
                <a:gd name="connsiteX6" fmla="*/ 870377 w 1009043"/>
                <a:gd name="connsiteY6" fmla="*/ 902940 h 944689"/>
                <a:gd name="connsiteX7" fmla="*/ 867792 w 1009043"/>
                <a:gd name="connsiteY7" fmla="*/ 930349 h 944689"/>
                <a:gd name="connsiteX8" fmla="*/ 859025 w 1009043"/>
                <a:gd name="connsiteY8" fmla="*/ 920983 h 944689"/>
                <a:gd name="connsiteX9" fmla="*/ 841618 w 1009043"/>
                <a:gd name="connsiteY9" fmla="*/ 944912 h 944689"/>
                <a:gd name="connsiteX10" fmla="*/ 836429 w 1009043"/>
                <a:gd name="connsiteY10" fmla="*/ 943052 h 944689"/>
                <a:gd name="connsiteX11" fmla="*/ 820998 w 1009043"/>
                <a:gd name="connsiteY11" fmla="*/ 941979 h 944689"/>
                <a:gd name="connsiteX12" fmla="*/ 805531 w 1009043"/>
                <a:gd name="connsiteY12" fmla="*/ 912673 h 944689"/>
                <a:gd name="connsiteX13" fmla="*/ 802096 w 1009043"/>
                <a:gd name="connsiteY13" fmla="*/ 890345 h 944689"/>
                <a:gd name="connsiteX14" fmla="*/ 787631 w 1009043"/>
                <a:gd name="connsiteY14" fmla="*/ 861237 h 944689"/>
                <a:gd name="connsiteX15" fmla="*/ 788266 w 1009043"/>
                <a:gd name="connsiteY15" fmla="*/ 846074 h 944689"/>
                <a:gd name="connsiteX16" fmla="*/ 804690 w 1009043"/>
                <a:gd name="connsiteY16" fmla="*/ 848981 h 944689"/>
                <a:gd name="connsiteX17" fmla="*/ 758630 w 1009043"/>
                <a:gd name="connsiteY17" fmla="*/ 79104 h 944689"/>
                <a:gd name="connsiteX18" fmla="*/ 767665 w 1009043"/>
                <a:gd name="connsiteY18" fmla="*/ 99268 h 944689"/>
                <a:gd name="connsiteX19" fmla="*/ 783758 w 1009043"/>
                <a:gd name="connsiteY19" fmla="*/ 89571 h 944689"/>
                <a:gd name="connsiteX20" fmla="*/ 792068 w 1009043"/>
                <a:gd name="connsiteY20" fmla="*/ 100466 h 944689"/>
                <a:gd name="connsiteX21" fmla="*/ 804109 w 1009043"/>
                <a:gd name="connsiteY21" fmla="*/ 110530 h 944689"/>
                <a:gd name="connsiteX22" fmla="*/ 801533 w 1009043"/>
                <a:gd name="connsiteY22" fmla="*/ 121980 h 944689"/>
                <a:gd name="connsiteX23" fmla="*/ 806882 w 1009043"/>
                <a:gd name="connsiteY23" fmla="*/ 144201 h 944689"/>
                <a:gd name="connsiteX24" fmla="*/ 810693 w 1009043"/>
                <a:gd name="connsiteY24" fmla="*/ 157190 h 944689"/>
                <a:gd name="connsiteX25" fmla="*/ 817008 w 1009043"/>
                <a:gd name="connsiteY25" fmla="*/ 160365 h 944689"/>
                <a:gd name="connsiteX26" fmla="*/ 823816 w 1009043"/>
                <a:gd name="connsiteY26" fmla="*/ 182685 h 944689"/>
                <a:gd name="connsiteX27" fmla="*/ 821391 w 1009043"/>
                <a:gd name="connsiteY27" fmla="*/ 196281 h 944689"/>
                <a:gd name="connsiteX28" fmla="*/ 829514 w 1009043"/>
                <a:gd name="connsiteY28" fmla="*/ 214128 h 944689"/>
                <a:gd name="connsiteX29" fmla="*/ 856691 w 1009043"/>
                <a:gd name="connsiteY29" fmla="*/ 227922 h 944689"/>
                <a:gd name="connsiteX30" fmla="*/ 874403 w 1009043"/>
                <a:gd name="connsiteY30" fmla="*/ 240508 h 944689"/>
                <a:gd name="connsiteX31" fmla="*/ 891229 w 1009043"/>
                <a:gd name="connsiteY31" fmla="*/ 252066 h 944689"/>
                <a:gd name="connsiteX32" fmla="*/ 887946 w 1009043"/>
                <a:gd name="connsiteY32" fmla="*/ 258516 h 944689"/>
                <a:gd name="connsiteX33" fmla="*/ 902294 w 1009043"/>
                <a:gd name="connsiteY33" fmla="*/ 275262 h 944689"/>
                <a:gd name="connsiteX34" fmla="*/ 912045 w 1009043"/>
                <a:gd name="connsiteY34" fmla="*/ 304325 h 944689"/>
                <a:gd name="connsiteX35" fmla="*/ 922055 w 1009043"/>
                <a:gd name="connsiteY35" fmla="*/ 298403 h 944689"/>
                <a:gd name="connsiteX36" fmla="*/ 932226 w 1009043"/>
                <a:gd name="connsiteY36" fmla="*/ 310086 h 944689"/>
                <a:gd name="connsiteX37" fmla="*/ 938363 w 1009043"/>
                <a:gd name="connsiteY37" fmla="*/ 305935 h 944689"/>
                <a:gd name="connsiteX38" fmla="*/ 942684 w 1009043"/>
                <a:gd name="connsiteY38" fmla="*/ 334633 h 944689"/>
                <a:gd name="connsiteX39" fmla="*/ 960476 w 1009043"/>
                <a:gd name="connsiteY39" fmla="*/ 351370 h 944689"/>
                <a:gd name="connsiteX40" fmla="*/ 972123 w 1009043"/>
                <a:gd name="connsiteY40" fmla="*/ 361809 h 944689"/>
                <a:gd name="connsiteX41" fmla="*/ 991723 w 1009043"/>
                <a:gd name="connsiteY41" fmla="*/ 384065 h 944689"/>
                <a:gd name="connsiteX42" fmla="*/ 998772 w 1009043"/>
                <a:gd name="connsiteY42" fmla="*/ 406313 h 944689"/>
                <a:gd name="connsiteX43" fmla="*/ 999416 w 1009043"/>
                <a:gd name="connsiteY43" fmla="*/ 422182 h 944689"/>
                <a:gd name="connsiteX44" fmla="*/ 997689 w 1009043"/>
                <a:gd name="connsiteY44" fmla="*/ 439510 h 944689"/>
                <a:gd name="connsiteX45" fmla="*/ 1009640 w 1009043"/>
                <a:gd name="connsiteY45" fmla="*/ 463448 h 944689"/>
                <a:gd name="connsiteX46" fmla="*/ 1008209 w 1009043"/>
                <a:gd name="connsiteY46" fmla="*/ 488593 h 944689"/>
                <a:gd name="connsiteX47" fmla="*/ 1003870 w 1009043"/>
                <a:gd name="connsiteY47" fmla="*/ 501833 h 944689"/>
                <a:gd name="connsiteX48" fmla="*/ 997099 w 1009043"/>
                <a:gd name="connsiteY48" fmla="*/ 527515 h 944689"/>
                <a:gd name="connsiteX49" fmla="*/ 997609 w 1009043"/>
                <a:gd name="connsiteY49" fmla="*/ 544145 h 944689"/>
                <a:gd name="connsiteX50" fmla="*/ 992644 w 1009043"/>
                <a:gd name="connsiteY50" fmla="*/ 565077 h 944689"/>
                <a:gd name="connsiteX51" fmla="*/ 981570 w 1009043"/>
                <a:gd name="connsiteY51" fmla="*/ 591878 h 944689"/>
                <a:gd name="connsiteX52" fmla="*/ 962990 w 1009043"/>
                <a:gd name="connsiteY52" fmla="*/ 606468 h 944689"/>
                <a:gd name="connsiteX53" fmla="*/ 953839 w 1009043"/>
                <a:gd name="connsiteY53" fmla="*/ 629637 h 944689"/>
                <a:gd name="connsiteX54" fmla="*/ 945465 w 1009043"/>
                <a:gd name="connsiteY54" fmla="*/ 644541 h 944689"/>
                <a:gd name="connsiteX55" fmla="*/ 938032 w 1009043"/>
                <a:gd name="connsiteY55" fmla="*/ 670769 h 944689"/>
                <a:gd name="connsiteX56" fmla="*/ 928353 w 1009043"/>
                <a:gd name="connsiteY56" fmla="*/ 686039 h 944689"/>
                <a:gd name="connsiteX57" fmla="*/ 922011 w 1009043"/>
                <a:gd name="connsiteY57" fmla="*/ 709145 h 944689"/>
                <a:gd name="connsiteX58" fmla="*/ 918772 w 1009043"/>
                <a:gd name="connsiteY58" fmla="*/ 730623 h 944689"/>
                <a:gd name="connsiteX59" fmla="*/ 920060 w 1009043"/>
                <a:gd name="connsiteY59" fmla="*/ 740544 h 944689"/>
                <a:gd name="connsiteX60" fmla="*/ 905685 w 1009043"/>
                <a:gd name="connsiteY60" fmla="*/ 751493 h 944689"/>
                <a:gd name="connsiteX61" fmla="*/ 877605 w 1009043"/>
                <a:gd name="connsiteY61" fmla="*/ 752638 h 944689"/>
                <a:gd name="connsiteX62" fmla="*/ 854454 w 1009043"/>
                <a:gd name="connsiteY62" fmla="*/ 765645 h 944689"/>
                <a:gd name="connsiteX63" fmla="*/ 842932 w 1009043"/>
                <a:gd name="connsiteY63" fmla="*/ 777989 h 944689"/>
                <a:gd name="connsiteX64" fmla="*/ 827778 w 1009043"/>
                <a:gd name="connsiteY64" fmla="*/ 791757 h 944689"/>
                <a:gd name="connsiteX65" fmla="*/ 807007 w 1009043"/>
                <a:gd name="connsiteY65" fmla="*/ 777587 h 944689"/>
                <a:gd name="connsiteX66" fmla="*/ 791639 w 1009043"/>
                <a:gd name="connsiteY66" fmla="*/ 771960 h 944689"/>
                <a:gd name="connsiteX67" fmla="*/ 795539 w 1009043"/>
                <a:gd name="connsiteY67" fmla="*/ 755402 h 944689"/>
                <a:gd name="connsiteX68" fmla="*/ 781826 w 1009043"/>
                <a:gd name="connsiteY68" fmla="*/ 761396 h 944689"/>
                <a:gd name="connsiteX69" fmla="*/ 759864 w 1009043"/>
                <a:gd name="connsiteY69" fmla="*/ 784493 h 944689"/>
                <a:gd name="connsiteX70" fmla="*/ 738180 w 1009043"/>
                <a:gd name="connsiteY70" fmla="*/ 775816 h 944689"/>
                <a:gd name="connsiteX71" fmla="*/ 723957 w 1009043"/>
                <a:gd name="connsiteY71" fmla="*/ 770770 h 944689"/>
                <a:gd name="connsiteX72" fmla="*/ 709609 w 1009043"/>
                <a:gd name="connsiteY72" fmla="*/ 768499 h 944689"/>
                <a:gd name="connsiteX73" fmla="*/ 685331 w 1009043"/>
                <a:gd name="connsiteY73" fmla="*/ 759311 h 944689"/>
                <a:gd name="connsiteX74" fmla="*/ 669112 w 1009043"/>
                <a:gd name="connsiteY74" fmla="*/ 739855 h 944689"/>
                <a:gd name="connsiteX75" fmla="*/ 664451 w 1009043"/>
                <a:gd name="connsiteY75" fmla="*/ 716105 h 944689"/>
                <a:gd name="connsiteX76" fmla="*/ 658628 w 1009043"/>
                <a:gd name="connsiteY76" fmla="*/ 700432 h 944689"/>
                <a:gd name="connsiteX77" fmla="*/ 646301 w 1009043"/>
                <a:gd name="connsiteY77" fmla="*/ 687926 h 944689"/>
                <a:gd name="connsiteX78" fmla="*/ 622175 w 1009043"/>
                <a:gd name="connsiteY78" fmla="*/ 684223 h 944689"/>
                <a:gd name="connsiteX79" fmla="*/ 630423 w 1009043"/>
                <a:gd name="connsiteY79" fmla="*/ 669364 h 944689"/>
                <a:gd name="connsiteX80" fmla="*/ 624349 w 1009043"/>
                <a:gd name="connsiteY80" fmla="*/ 646804 h 944689"/>
                <a:gd name="connsiteX81" fmla="*/ 612102 w 1009043"/>
                <a:gd name="connsiteY81" fmla="*/ 667834 h 944689"/>
                <a:gd name="connsiteX82" fmla="*/ 589784 w 1009043"/>
                <a:gd name="connsiteY82" fmla="*/ 673443 h 944689"/>
                <a:gd name="connsiteX83" fmla="*/ 602906 w 1009043"/>
                <a:gd name="connsiteY83" fmla="*/ 656581 h 944689"/>
                <a:gd name="connsiteX84" fmla="*/ 606709 w 1009043"/>
                <a:gd name="connsiteY84" fmla="*/ 639110 h 944689"/>
                <a:gd name="connsiteX85" fmla="*/ 616397 w 1009043"/>
                <a:gd name="connsiteY85" fmla="*/ 624386 h 944689"/>
                <a:gd name="connsiteX86" fmla="*/ 614384 w 1009043"/>
                <a:gd name="connsiteY86" fmla="*/ 602273 h 944689"/>
                <a:gd name="connsiteX87" fmla="*/ 593988 w 1009043"/>
                <a:gd name="connsiteY87" fmla="*/ 627759 h 944689"/>
                <a:gd name="connsiteX88" fmla="*/ 578316 w 1009043"/>
                <a:gd name="connsiteY88" fmla="*/ 638046 h 944689"/>
                <a:gd name="connsiteX89" fmla="*/ 568708 w 1009043"/>
                <a:gd name="connsiteY89" fmla="*/ 662136 h 944689"/>
                <a:gd name="connsiteX90" fmla="*/ 549126 w 1009043"/>
                <a:gd name="connsiteY90" fmla="*/ 649649 h 944689"/>
                <a:gd name="connsiteX91" fmla="*/ 549904 w 1009043"/>
                <a:gd name="connsiteY91" fmla="*/ 633627 h 944689"/>
                <a:gd name="connsiteX92" fmla="*/ 534214 w 1009043"/>
                <a:gd name="connsiteY92" fmla="*/ 611889 h 944689"/>
                <a:gd name="connsiteX93" fmla="*/ 520984 w 1009043"/>
                <a:gd name="connsiteY93" fmla="*/ 600734 h 944689"/>
                <a:gd name="connsiteX94" fmla="*/ 525698 w 1009043"/>
                <a:gd name="connsiteY94" fmla="*/ 593882 h 944689"/>
                <a:gd name="connsiteX95" fmla="*/ 493512 w 1009043"/>
                <a:gd name="connsiteY95" fmla="*/ 575982 h 944689"/>
                <a:gd name="connsiteX96" fmla="*/ 475881 w 1009043"/>
                <a:gd name="connsiteY96" fmla="*/ 575141 h 944689"/>
                <a:gd name="connsiteX97" fmla="*/ 451763 w 1009043"/>
                <a:gd name="connsiteY97" fmla="*/ 560855 h 944689"/>
                <a:gd name="connsiteX98" fmla="*/ 406848 w 1009043"/>
                <a:gd name="connsiteY98" fmla="*/ 563628 h 944689"/>
                <a:gd name="connsiteX99" fmla="*/ 374367 w 1009043"/>
                <a:gd name="connsiteY99" fmla="*/ 574139 h 944689"/>
                <a:gd name="connsiteX100" fmla="*/ 345831 w 1009043"/>
                <a:gd name="connsiteY100" fmla="*/ 583980 h 944689"/>
                <a:gd name="connsiteX101" fmla="*/ 321892 w 1009043"/>
                <a:gd name="connsiteY101" fmla="*/ 582021 h 944689"/>
                <a:gd name="connsiteX102" fmla="*/ 295307 w 1009043"/>
                <a:gd name="connsiteY102" fmla="*/ 597192 h 944689"/>
                <a:gd name="connsiteX103" fmla="*/ 273551 w 1009043"/>
                <a:gd name="connsiteY103" fmla="*/ 604044 h 944689"/>
                <a:gd name="connsiteX104" fmla="*/ 268721 w 1009043"/>
                <a:gd name="connsiteY104" fmla="*/ 619699 h 944689"/>
                <a:gd name="connsiteX105" fmla="*/ 259462 w 1009043"/>
                <a:gd name="connsiteY105" fmla="*/ 631892 h 944689"/>
                <a:gd name="connsiteX106" fmla="*/ 238172 w 1009043"/>
                <a:gd name="connsiteY106" fmla="*/ 632625 h 944689"/>
                <a:gd name="connsiteX107" fmla="*/ 222419 w 1009043"/>
                <a:gd name="connsiteY107" fmla="*/ 635300 h 944689"/>
                <a:gd name="connsiteX108" fmla="*/ 200252 w 1009043"/>
                <a:gd name="connsiteY108" fmla="*/ 629816 h 944689"/>
                <a:gd name="connsiteX109" fmla="*/ 182209 w 1009043"/>
                <a:gd name="connsiteY109" fmla="*/ 633099 h 944689"/>
                <a:gd name="connsiteX110" fmla="*/ 164989 w 1009043"/>
                <a:gd name="connsiteY110" fmla="*/ 634477 h 944689"/>
                <a:gd name="connsiteX111" fmla="*/ 150068 w 1009043"/>
                <a:gd name="connsiteY111" fmla="*/ 650588 h 944689"/>
                <a:gd name="connsiteX112" fmla="*/ 142759 w 1009043"/>
                <a:gd name="connsiteY112" fmla="*/ 649219 h 944689"/>
                <a:gd name="connsiteX113" fmla="*/ 130182 w 1009043"/>
                <a:gd name="connsiteY113" fmla="*/ 657798 h 944689"/>
                <a:gd name="connsiteX114" fmla="*/ 118123 w 1009043"/>
                <a:gd name="connsiteY114" fmla="*/ 667477 h 944689"/>
                <a:gd name="connsiteX115" fmla="*/ 99821 w 1009043"/>
                <a:gd name="connsiteY115" fmla="*/ 666278 h 944689"/>
                <a:gd name="connsiteX116" fmla="*/ 83012 w 1009043"/>
                <a:gd name="connsiteY116" fmla="*/ 666269 h 944689"/>
                <a:gd name="connsiteX117" fmla="*/ 56399 w 1009043"/>
                <a:gd name="connsiteY117" fmla="*/ 646875 h 944689"/>
                <a:gd name="connsiteX118" fmla="*/ 42918 w 1009043"/>
                <a:gd name="connsiteY118" fmla="*/ 641132 h 944689"/>
                <a:gd name="connsiteX119" fmla="*/ 43464 w 1009043"/>
                <a:gd name="connsiteY119" fmla="*/ 623894 h 944689"/>
                <a:gd name="connsiteX120" fmla="*/ 55925 w 1009043"/>
                <a:gd name="connsiteY120" fmla="*/ 619815 h 944689"/>
                <a:gd name="connsiteX121" fmla="*/ 60183 w 1009043"/>
                <a:gd name="connsiteY121" fmla="*/ 613008 h 944689"/>
                <a:gd name="connsiteX122" fmla="*/ 59289 w 1009043"/>
                <a:gd name="connsiteY122" fmla="*/ 602309 h 944689"/>
                <a:gd name="connsiteX123" fmla="*/ 62357 w 1009043"/>
                <a:gd name="connsiteY123" fmla="*/ 581716 h 944689"/>
                <a:gd name="connsiteX124" fmla="*/ 59557 w 1009043"/>
                <a:gd name="connsiteY124" fmla="*/ 564291 h 944689"/>
                <a:gd name="connsiteX125" fmla="*/ 46300 w 1009043"/>
                <a:gd name="connsiteY125" fmla="*/ 534824 h 944689"/>
                <a:gd name="connsiteX126" fmla="*/ 42185 w 1009043"/>
                <a:gd name="connsiteY126" fmla="*/ 518319 h 944689"/>
                <a:gd name="connsiteX127" fmla="*/ 43267 w 1009043"/>
                <a:gd name="connsiteY127" fmla="*/ 501949 h 944689"/>
                <a:gd name="connsiteX128" fmla="*/ 33284 w 1009043"/>
                <a:gd name="connsiteY128" fmla="*/ 483351 h 944689"/>
                <a:gd name="connsiteX129" fmla="*/ 32649 w 1009043"/>
                <a:gd name="connsiteY129" fmla="*/ 474997 h 944689"/>
                <a:gd name="connsiteX130" fmla="*/ 21538 w 1009043"/>
                <a:gd name="connsiteY130" fmla="*/ 463707 h 944689"/>
                <a:gd name="connsiteX131" fmla="*/ 18408 w 1009043"/>
                <a:gd name="connsiteY131" fmla="*/ 441630 h 944689"/>
                <a:gd name="connsiteX132" fmla="*/ 4068 w 1009043"/>
                <a:gd name="connsiteY132" fmla="*/ 419472 h 944689"/>
                <a:gd name="connsiteX133" fmla="*/ 597 w 1009043"/>
                <a:gd name="connsiteY133" fmla="*/ 407601 h 944689"/>
                <a:gd name="connsiteX134" fmla="*/ 11609 w 1009043"/>
                <a:gd name="connsiteY134" fmla="*/ 419642 h 944689"/>
                <a:gd name="connsiteX135" fmla="*/ 3147 w 1009043"/>
                <a:gd name="connsiteY135" fmla="*/ 393870 h 944689"/>
                <a:gd name="connsiteX136" fmla="*/ 15590 w 1009043"/>
                <a:gd name="connsiteY136" fmla="*/ 401903 h 944689"/>
                <a:gd name="connsiteX137" fmla="*/ 23015 w 1009043"/>
                <a:gd name="connsiteY137" fmla="*/ 412664 h 944689"/>
                <a:gd name="connsiteX138" fmla="*/ 22594 w 1009043"/>
                <a:gd name="connsiteY138" fmla="*/ 398441 h 944689"/>
                <a:gd name="connsiteX139" fmla="*/ 10178 w 1009043"/>
                <a:gd name="connsiteY139" fmla="*/ 376703 h 944689"/>
                <a:gd name="connsiteX140" fmla="*/ 7771 w 1009043"/>
                <a:gd name="connsiteY140" fmla="*/ 368044 h 944689"/>
                <a:gd name="connsiteX141" fmla="*/ 1957 w 1009043"/>
                <a:gd name="connsiteY141" fmla="*/ 359841 h 944689"/>
                <a:gd name="connsiteX142" fmla="*/ 4685 w 1009043"/>
                <a:gd name="connsiteY142" fmla="*/ 344034 h 944689"/>
                <a:gd name="connsiteX143" fmla="*/ 9820 w 1009043"/>
                <a:gd name="connsiteY143" fmla="*/ 337325 h 944689"/>
                <a:gd name="connsiteX144" fmla="*/ 13246 w 1009043"/>
                <a:gd name="connsiteY144" fmla="*/ 323737 h 944689"/>
                <a:gd name="connsiteX145" fmla="*/ 10562 w 1009043"/>
                <a:gd name="connsiteY145" fmla="*/ 307922 h 944689"/>
                <a:gd name="connsiteX146" fmla="*/ 20930 w 1009043"/>
                <a:gd name="connsiteY146" fmla="*/ 288554 h 944689"/>
                <a:gd name="connsiteX147" fmla="*/ 22818 w 1009043"/>
                <a:gd name="connsiteY147" fmla="*/ 309057 h 944689"/>
                <a:gd name="connsiteX148" fmla="*/ 33418 w 1009043"/>
                <a:gd name="connsiteY148" fmla="*/ 290531 h 944689"/>
                <a:gd name="connsiteX149" fmla="*/ 53796 w 1009043"/>
                <a:gd name="connsiteY149" fmla="*/ 281568 h 944689"/>
                <a:gd name="connsiteX150" fmla="*/ 66016 w 1009043"/>
                <a:gd name="connsiteY150" fmla="*/ 270153 h 944689"/>
                <a:gd name="connsiteX151" fmla="*/ 85186 w 1009043"/>
                <a:gd name="connsiteY151" fmla="*/ 260358 h 944689"/>
                <a:gd name="connsiteX152" fmla="*/ 96583 w 1009043"/>
                <a:gd name="connsiteY152" fmla="*/ 258283 h 944689"/>
                <a:gd name="connsiteX153" fmla="*/ 103488 w 1009043"/>
                <a:gd name="connsiteY153" fmla="*/ 261566 h 944689"/>
                <a:gd name="connsiteX154" fmla="*/ 123249 w 1009043"/>
                <a:gd name="connsiteY154" fmla="*/ 251645 h 944689"/>
                <a:gd name="connsiteX155" fmla="*/ 138465 w 1009043"/>
                <a:gd name="connsiteY155" fmla="*/ 248693 h 944689"/>
                <a:gd name="connsiteX156" fmla="*/ 142267 w 1009043"/>
                <a:gd name="connsiteY156" fmla="*/ 242879 h 944689"/>
                <a:gd name="connsiteX157" fmla="*/ 148905 w 1009043"/>
                <a:gd name="connsiteY157" fmla="*/ 240454 h 944689"/>
                <a:gd name="connsiteX158" fmla="*/ 162770 w 1009043"/>
                <a:gd name="connsiteY158" fmla="*/ 241080 h 944689"/>
                <a:gd name="connsiteX159" fmla="*/ 189133 w 1009043"/>
                <a:gd name="connsiteY159" fmla="*/ 233325 h 944689"/>
                <a:gd name="connsiteX160" fmla="*/ 202766 w 1009043"/>
                <a:gd name="connsiteY160" fmla="*/ 221579 h 944689"/>
                <a:gd name="connsiteX161" fmla="*/ 209171 w 1009043"/>
                <a:gd name="connsiteY161" fmla="*/ 207490 h 944689"/>
                <a:gd name="connsiteX162" fmla="*/ 223886 w 1009043"/>
                <a:gd name="connsiteY162" fmla="*/ 194153 h 944689"/>
                <a:gd name="connsiteX163" fmla="*/ 225013 w 1009043"/>
                <a:gd name="connsiteY163" fmla="*/ 183695 h 944689"/>
                <a:gd name="connsiteX164" fmla="*/ 225666 w 1009043"/>
                <a:gd name="connsiteY164" fmla="*/ 169481 h 944689"/>
                <a:gd name="connsiteX165" fmla="*/ 243217 w 1009043"/>
                <a:gd name="connsiteY165" fmla="*/ 147350 h 944689"/>
                <a:gd name="connsiteX166" fmla="*/ 253782 w 1009043"/>
                <a:gd name="connsiteY166" fmla="*/ 169839 h 944689"/>
                <a:gd name="connsiteX167" fmla="*/ 264454 w 1009043"/>
                <a:gd name="connsiteY167" fmla="*/ 164632 h 944689"/>
                <a:gd name="connsiteX168" fmla="*/ 255526 w 1009043"/>
                <a:gd name="connsiteY168" fmla="*/ 152332 h 944689"/>
                <a:gd name="connsiteX169" fmla="*/ 263398 w 1009043"/>
                <a:gd name="connsiteY169" fmla="*/ 139728 h 944689"/>
                <a:gd name="connsiteX170" fmla="*/ 274464 w 1009043"/>
                <a:gd name="connsiteY170" fmla="*/ 145355 h 944689"/>
                <a:gd name="connsiteX171" fmla="*/ 277505 w 1009043"/>
                <a:gd name="connsiteY171" fmla="*/ 125630 h 944689"/>
                <a:gd name="connsiteX172" fmla="*/ 291209 w 1009043"/>
                <a:gd name="connsiteY172" fmla="*/ 112919 h 944689"/>
                <a:gd name="connsiteX173" fmla="*/ 297257 w 1009043"/>
                <a:gd name="connsiteY173" fmla="*/ 102739 h 944689"/>
                <a:gd name="connsiteX174" fmla="*/ 309870 w 1009043"/>
                <a:gd name="connsiteY174" fmla="*/ 98346 h 944689"/>
                <a:gd name="connsiteX175" fmla="*/ 310263 w 1009043"/>
                <a:gd name="connsiteY175" fmla="*/ 91154 h 944689"/>
                <a:gd name="connsiteX176" fmla="*/ 321284 w 1009043"/>
                <a:gd name="connsiteY176" fmla="*/ 94151 h 944689"/>
                <a:gd name="connsiteX177" fmla="*/ 321723 w 1009043"/>
                <a:gd name="connsiteY177" fmla="*/ 87692 h 944689"/>
                <a:gd name="connsiteX178" fmla="*/ 332753 w 1009043"/>
                <a:gd name="connsiteY178" fmla="*/ 84006 h 944689"/>
                <a:gd name="connsiteX179" fmla="*/ 344874 w 1009043"/>
                <a:gd name="connsiteY179" fmla="*/ 80545 h 944689"/>
                <a:gd name="connsiteX180" fmla="*/ 363400 w 1009043"/>
                <a:gd name="connsiteY180" fmla="*/ 92335 h 944689"/>
                <a:gd name="connsiteX181" fmla="*/ 377319 w 1009043"/>
                <a:gd name="connsiteY181" fmla="*/ 107587 h 944689"/>
                <a:gd name="connsiteX182" fmla="*/ 393019 w 1009043"/>
                <a:gd name="connsiteY182" fmla="*/ 107766 h 944689"/>
                <a:gd name="connsiteX183" fmla="*/ 408968 w 1009043"/>
                <a:gd name="connsiteY183" fmla="*/ 110190 h 944689"/>
                <a:gd name="connsiteX184" fmla="*/ 403654 w 1009043"/>
                <a:gd name="connsiteY184" fmla="*/ 96038 h 944689"/>
                <a:gd name="connsiteX185" fmla="*/ 415668 w 1009043"/>
                <a:gd name="connsiteY185" fmla="*/ 75437 h 944689"/>
                <a:gd name="connsiteX186" fmla="*/ 426975 w 1009043"/>
                <a:gd name="connsiteY186" fmla="*/ 68736 h 944689"/>
                <a:gd name="connsiteX187" fmla="*/ 423067 w 1009043"/>
                <a:gd name="connsiteY187" fmla="*/ 62340 h 944689"/>
                <a:gd name="connsiteX188" fmla="*/ 433962 w 1009043"/>
                <a:gd name="connsiteY188" fmla="*/ 47742 h 944689"/>
                <a:gd name="connsiteX189" fmla="*/ 449151 w 1009043"/>
                <a:gd name="connsiteY189" fmla="*/ 38742 h 944689"/>
                <a:gd name="connsiteX190" fmla="*/ 461988 w 1009043"/>
                <a:gd name="connsiteY190" fmla="*/ 41775 h 944689"/>
                <a:gd name="connsiteX191" fmla="*/ 483055 w 1009043"/>
                <a:gd name="connsiteY191" fmla="*/ 36971 h 944689"/>
                <a:gd name="connsiteX192" fmla="*/ 482599 w 1009043"/>
                <a:gd name="connsiteY192" fmla="*/ 23955 h 944689"/>
                <a:gd name="connsiteX193" fmla="*/ 464224 w 1009043"/>
                <a:gd name="connsiteY193" fmla="*/ 15582 h 944689"/>
                <a:gd name="connsiteX194" fmla="*/ 477580 w 1009043"/>
                <a:gd name="connsiteY194" fmla="*/ 11888 h 944689"/>
                <a:gd name="connsiteX195" fmla="*/ 494192 w 1009043"/>
                <a:gd name="connsiteY195" fmla="*/ 18185 h 944689"/>
                <a:gd name="connsiteX196" fmla="*/ 507512 w 1009043"/>
                <a:gd name="connsiteY196" fmla="*/ 28625 h 944689"/>
                <a:gd name="connsiteX197" fmla="*/ 528632 w 1009043"/>
                <a:gd name="connsiteY197" fmla="*/ 35146 h 944689"/>
                <a:gd name="connsiteX198" fmla="*/ 535798 w 1009043"/>
                <a:gd name="connsiteY198" fmla="*/ 32570 h 944689"/>
                <a:gd name="connsiteX199" fmla="*/ 551345 w 1009043"/>
                <a:gd name="connsiteY199" fmla="*/ 40397 h 944689"/>
                <a:gd name="connsiteX200" fmla="*/ 565997 w 1009043"/>
                <a:gd name="connsiteY200" fmla="*/ 33107 h 944689"/>
                <a:gd name="connsiteX201" fmla="*/ 575426 w 1009043"/>
                <a:gd name="connsiteY201" fmla="*/ 35325 h 944689"/>
                <a:gd name="connsiteX202" fmla="*/ 581294 w 1009043"/>
                <a:gd name="connsiteY202" fmla="*/ 30432 h 944689"/>
                <a:gd name="connsiteX203" fmla="*/ 592807 w 1009043"/>
                <a:gd name="connsiteY203" fmla="*/ 43045 h 944689"/>
                <a:gd name="connsiteX204" fmla="*/ 586125 w 1009043"/>
                <a:gd name="connsiteY204" fmla="*/ 56714 h 944689"/>
                <a:gd name="connsiteX205" fmla="*/ 576607 w 1009043"/>
                <a:gd name="connsiteY205" fmla="*/ 67046 h 944689"/>
                <a:gd name="connsiteX206" fmla="*/ 567983 w 1009043"/>
                <a:gd name="connsiteY206" fmla="*/ 67905 h 944689"/>
                <a:gd name="connsiteX207" fmla="*/ 570891 w 1009043"/>
                <a:gd name="connsiteY207" fmla="*/ 78156 h 944689"/>
                <a:gd name="connsiteX208" fmla="*/ 563520 w 1009043"/>
                <a:gd name="connsiteY208" fmla="*/ 90993 h 944689"/>
                <a:gd name="connsiteX209" fmla="*/ 554610 w 1009043"/>
                <a:gd name="connsiteY209" fmla="*/ 103642 h 944689"/>
                <a:gd name="connsiteX210" fmla="*/ 556408 w 1009043"/>
                <a:gd name="connsiteY210" fmla="*/ 110924 h 944689"/>
                <a:gd name="connsiteX211" fmla="*/ 576347 w 1009043"/>
                <a:gd name="connsiteY211" fmla="*/ 125201 h 944689"/>
                <a:gd name="connsiteX212" fmla="*/ 595670 w 1009043"/>
                <a:gd name="connsiteY212" fmla="*/ 133502 h 944689"/>
                <a:gd name="connsiteX213" fmla="*/ 608578 w 1009043"/>
                <a:gd name="connsiteY213" fmla="*/ 142439 h 944689"/>
                <a:gd name="connsiteX214" fmla="*/ 626710 w 1009043"/>
                <a:gd name="connsiteY214" fmla="*/ 157843 h 944689"/>
                <a:gd name="connsiteX215" fmla="*/ 633778 w 1009043"/>
                <a:gd name="connsiteY215" fmla="*/ 157816 h 944689"/>
                <a:gd name="connsiteX216" fmla="*/ 646909 w 1009043"/>
                <a:gd name="connsiteY216" fmla="*/ 164489 h 944689"/>
                <a:gd name="connsiteX217" fmla="*/ 650720 w 1009043"/>
                <a:gd name="connsiteY217" fmla="*/ 172549 h 944689"/>
                <a:gd name="connsiteX218" fmla="*/ 674667 w 1009043"/>
                <a:gd name="connsiteY218" fmla="*/ 181423 h 944689"/>
                <a:gd name="connsiteX219" fmla="*/ 691234 w 1009043"/>
                <a:gd name="connsiteY219" fmla="*/ 172487 h 944689"/>
                <a:gd name="connsiteX220" fmla="*/ 696146 w 1009043"/>
                <a:gd name="connsiteY220" fmla="*/ 158478 h 944689"/>
                <a:gd name="connsiteX221" fmla="*/ 701227 w 1009043"/>
                <a:gd name="connsiteY221" fmla="*/ 146947 h 944689"/>
                <a:gd name="connsiteX222" fmla="*/ 704349 w 1009043"/>
                <a:gd name="connsiteY222" fmla="*/ 132724 h 944689"/>
                <a:gd name="connsiteX223" fmla="*/ 711979 w 1009043"/>
                <a:gd name="connsiteY223" fmla="*/ 112149 h 944689"/>
                <a:gd name="connsiteX224" fmla="*/ 708490 w 1009043"/>
                <a:gd name="connsiteY224" fmla="*/ 99679 h 944689"/>
                <a:gd name="connsiteX225" fmla="*/ 710297 w 1009043"/>
                <a:gd name="connsiteY225" fmla="*/ 92192 h 944689"/>
                <a:gd name="connsiteX226" fmla="*/ 707399 w 1009043"/>
                <a:gd name="connsiteY226" fmla="*/ 77494 h 944689"/>
                <a:gd name="connsiteX227" fmla="*/ 710682 w 1009043"/>
                <a:gd name="connsiteY227" fmla="*/ 58199 h 944689"/>
                <a:gd name="connsiteX228" fmla="*/ 715494 w 1009043"/>
                <a:gd name="connsiteY228" fmla="*/ 53001 h 944689"/>
                <a:gd name="connsiteX229" fmla="*/ 711586 w 1009043"/>
                <a:gd name="connsiteY229" fmla="*/ 44477 h 944689"/>
                <a:gd name="connsiteX230" fmla="*/ 717651 w 1009043"/>
                <a:gd name="connsiteY230" fmla="*/ 30960 h 944689"/>
                <a:gd name="connsiteX231" fmla="*/ 722409 w 1009043"/>
                <a:gd name="connsiteY231" fmla="*/ 16978 h 944689"/>
                <a:gd name="connsiteX232" fmla="*/ 723036 w 1009043"/>
                <a:gd name="connsiteY232" fmla="*/ 9732 h 944689"/>
                <a:gd name="connsiteX233" fmla="*/ 732357 w 1009043"/>
                <a:gd name="connsiteY233" fmla="*/ 223 h 944689"/>
                <a:gd name="connsiteX234" fmla="*/ 739433 w 1009043"/>
                <a:gd name="connsiteY234" fmla="*/ 12639 h 944689"/>
                <a:gd name="connsiteX235" fmla="*/ 741169 w 1009043"/>
                <a:gd name="connsiteY235" fmla="*/ 28589 h 944689"/>
                <a:gd name="connsiteX236" fmla="*/ 747421 w 1009043"/>
                <a:gd name="connsiteY236" fmla="*/ 31667 h 944689"/>
                <a:gd name="connsiteX237" fmla="*/ 748486 w 1009043"/>
                <a:gd name="connsiteY237" fmla="*/ 42374 h 944689"/>
                <a:gd name="connsiteX238" fmla="*/ 757610 w 1009043"/>
                <a:gd name="connsiteY238" fmla="*/ 55363 h 944689"/>
                <a:gd name="connsiteX239" fmla="*/ 759489 w 1009043"/>
                <a:gd name="connsiteY239" fmla="*/ 69855 h 944689"/>
                <a:gd name="connsiteX240" fmla="*/ 758630 w 1009043"/>
                <a:gd name="connsiteY240" fmla="*/ 79104 h 94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1009043" h="944689">
                  <a:moveTo>
                    <a:pt x="804690" y="848981"/>
                  </a:moveTo>
                  <a:lnTo>
                    <a:pt x="828924" y="860404"/>
                  </a:lnTo>
                  <a:lnTo>
                    <a:pt x="842575" y="855860"/>
                  </a:lnTo>
                  <a:lnTo>
                    <a:pt x="862147" y="849509"/>
                  </a:lnTo>
                  <a:lnTo>
                    <a:pt x="877194" y="851727"/>
                  </a:lnTo>
                  <a:lnTo>
                    <a:pt x="878974" y="891311"/>
                  </a:lnTo>
                  <a:lnTo>
                    <a:pt x="870377" y="902940"/>
                  </a:lnTo>
                  <a:lnTo>
                    <a:pt x="867792" y="930349"/>
                  </a:lnTo>
                  <a:lnTo>
                    <a:pt x="859025" y="920983"/>
                  </a:lnTo>
                  <a:lnTo>
                    <a:pt x="841618" y="944912"/>
                  </a:lnTo>
                  <a:lnTo>
                    <a:pt x="836429" y="943052"/>
                  </a:lnTo>
                  <a:lnTo>
                    <a:pt x="820998" y="941979"/>
                  </a:lnTo>
                  <a:lnTo>
                    <a:pt x="805531" y="912673"/>
                  </a:lnTo>
                  <a:lnTo>
                    <a:pt x="802096" y="890345"/>
                  </a:lnTo>
                  <a:lnTo>
                    <a:pt x="787631" y="861237"/>
                  </a:lnTo>
                  <a:lnTo>
                    <a:pt x="788266" y="846074"/>
                  </a:lnTo>
                  <a:lnTo>
                    <a:pt x="804690" y="848981"/>
                  </a:lnTo>
                  <a:close/>
                  <a:moveTo>
                    <a:pt x="758630" y="79104"/>
                  </a:moveTo>
                  <a:lnTo>
                    <a:pt x="767665" y="99268"/>
                  </a:lnTo>
                  <a:lnTo>
                    <a:pt x="783758" y="89571"/>
                  </a:lnTo>
                  <a:lnTo>
                    <a:pt x="792068" y="100466"/>
                  </a:lnTo>
                  <a:lnTo>
                    <a:pt x="804109" y="110530"/>
                  </a:lnTo>
                  <a:lnTo>
                    <a:pt x="801533" y="121980"/>
                  </a:lnTo>
                  <a:lnTo>
                    <a:pt x="806882" y="144201"/>
                  </a:lnTo>
                  <a:lnTo>
                    <a:pt x="810693" y="157190"/>
                  </a:lnTo>
                  <a:lnTo>
                    <a:pt x="817008" y="160365"/>
                  </a:lnTo>
                  <a:lnTo>
                    <a:pt x="823816" y="182685"/>
                  </a:lnTo>
                  <a:lnTo>
                    <a:pt x="821391" y="196281"/>
                  </a:lnTo>
                  <a:lnTo>
                    <a:pt x="829514" y="214128"/>
                  </a:lnTo>
                  <a:lnTo>
                    <a:pt x="856691" y="227922"/>
                  </a:lnTo>
                  <a:lnTo>
                    <a:pt x="874403" y="240508"/>
                  </a:lnTo>
                  <a:lnTo>
                    <a:pt x="891229" y="252066"/>
                  </a:lnTo>
                  <a:lnTo>
                    <a:pt x="887946" y="258516"/>
                  </a:lnTo>
                  <a:lnTo>
                    <a:pt x="902294" y="275262"/>
                  </a:lnTo>
                  <a:lnTo>
                    <a:pt x="912045" y="304325"/>
                  </a:lnTo>
                  <a:lnTo>
                    <a:pt x="922055" y="298403"/>
                  </a:lnTo>
                  <a:lnTo>
                    <a:pt x="932226" y="310086"/>
                  </a:lnTo>
                  <a:lnTo>
                    <a:pt x="938363" y="305935"/>
                  </a:lnTo>
                  <a:lnTo>
                    <a:pt x="942684" y="334633"/>
                  </a:lnTo>
                  <a:lnTo>
                    <a:pt x="960476" y="351370"/>
                  </a:lnTo>
                  <a:lnTo>
                    <a:pt x="972123" y="361809"/>
                  </a:lnTo>
                  <a:lnTo>
                    <a:pt x="991723" y="384065"/>
                  </a:lnTo>
                  <a:lnTo>
                    <a:pt x="998772" y="406313"/>
                  </a:lnTo>
                  <a:lnTo>
                    <a:pt x="999416" y="422182"/>
                  </a:lnTo>
                  <a:lnTo>
                    <a:pt x="997689" y="439510"/>
                  </a:lnTo>
                  <a:lnTo>
                    <a:pt x="1009640" y="463448"/>
                  </a:lnTo>
                  <a:lnTo>
                    <a:pt x="1008209" y="488593"/>
                  </a:lnTo>
                  <a:lnTo>
                    <a:pt x="1003870" y="501833"/>
                  </a:lnTo>
                  <a:lnTo>
                    <a:pt x="997099" y="527515"/>
                  </a:lnTo>
                  <a:lnTo>
                    <a:pt x="997609" y="544145"/>
                  </a:lnTo>
                  <a:lnTo>
                    <a:pt x="992644" y="565077"/>
                  </a:lnTo>
                  <a:lnTo>
                    <a:pt x="981570" y="591878"/>
                  </a:lnTo>
                  <a:lnTo>
                    <a:pt x="962990" y="606468"/>
                  </a:lnTo>
                  <a:lnTo>
                    <a:pt x="953839" y="629637"/>
                  </a:lnTo>
                  <a:lnTo>
                    <a:pt x="945465" y="644541"/>
                  </a:lnTo>
                  <a:lnTo>
                    <a:pt x="938032" y="670769"/>
                  </a:lnTo>
                  <a:lnTo>
                    <a:pt x="928353" y="686039"/>
                  </a:lnTo>
                  <a:lnTo>
                    <a:pt x="922011" y="709145"/>
                  </a:lnTo>
                  <a:lnTo>
                    <a:pt x="918772" y="730623"/>
                  </a:lnTo>
                  <a:lnTo>
                    <a:pt x="920060" y="740544"/>
                  </a:lnTo>
                  <a:lnTo>
                    <a:pt x="905685" y="751493"/>
                  </a:lnTo>
                  <a:lnTo>
                    <a:pt x="877605" y="752638"/>
                  </a:lnTo>
                  <a:lnTo>
                    <a:pt x="854454" y="765645"/>
                  </a:lnTo>
                  <a:lnTo>
                    <a:pt x="842932" y="777989"/>
                  </a:lnTo>
                  <a:lnTo>
                    <a:pt x="827778" y="791757"/>
                  </a:lnTo>
                  <a:lnTo>
                    <a:pt x="807007" y="777587"/>
                  </a:lnTo>
                  <a:lnTo>
                    <a:pt x="791639" y="771960"/>
                  </a:lnTo>
                  <a:lnTo>
                    <a:pt x="795539" y="755402"/>
                  </a:lnTo>
                  <a:lnTo>
                    <a:pt x="781826" y="761396"/>
                  </a:lnTo>
                  <a:lnTo>
                    <a:pt x="759864" y="784493"/>
                  </a:lnTo>
                  <a:lnTo>
                    <a:pt x="738180" y="775816"/>
                  </a:lnTo>
                  <a:lnTo>
                    <a:pt x="723957" y="770770"/>
                  </a:lnTo>
                  <a:lnTo>
                    <a:pt x="709609" y="768499"/>
                  </a:lnTo>
                  <a:lnTo>
                    <a:pt x="685331" y="759311"/>
                  </a:lnTo>
                  <a:lnTo>
                    <a:pt x="669112" y="739855"/>
                  </a:lnTo>
                  <a:lnTo>
                    <a:pt x="664451" y="716105"/>
                  </a:lnTo>
                  <a:lnTo>
                    <a:pt x="658628" y="700432"/>
                  </a:lnTo>
                  <a:lnTo>
                    <a:pt x="646301" y="687926"/>
                  </a:lnTo>
                  <a:lnTo>
                    <a:pt x="622175" y="684223"/>
                  </a:lnTo>
                  <a:lnTo>
                    <a:pt x="630423" y="669364"/>
                  </a:lnTo>
                  <a:lnTo>
                    <a:pt x="624349" y="646804"/>
                  </a:lnTo>
                  <a:lnTo>
                    <a:pt x="612102" y="667834"/>
                  </a:lnTo>
                  <a:lnTo>
                    <a:pt x="589784" y="673443"/>
                  </a:lnTo>
                  <a:lnTo>
                    <a:pt x="602906" y="656581"/>
                  </a:lnTo>
                  <a:lnTo>
                    <a:pt x="606709" y="639110"/>
                  </a:lnTo>
                  <a:lnTo>
                    <a:pt x="616397" y="624386"/>
                  </a:lnTo>
                  <a:lnTo>
                    <a:pt x="614384" y="602273"/>
                  </a:lnTo>
                  <a:lnTo>
                    <a:pt x="593988" y="627759"/>
                  </a:lnTo>
                  <a:lnTo>
                    <a:pt x="578316" y="638046"/>
                  </a:lnTo>
                  <a:lnTo>
                    <a:pt x="568708" y="662136"/>
                  </a:lnTo>
                  <a:lnTo>
                    <a:pt x="549126" y="649649"/>
                  </a:lnTo>
                  <a:lnTo>
                    <a:pt x="549904" y="633627"/>
                  </a:lnTo>
                  <a:lnTo>
                    <a:pt x="534214" y="611889"/>
                  </a:lnTo>
                  <a:lnTo>
                    <a:pt x="520984" y="600734"/>
                  </a:lnTo>
                  <a:lnTo>
                    <a:pt x="525698" y="593882"/>
                  </a:lnTo>
                  <a:lnTo>
                    <a:pt x="493512" y="575982"/>
                  </a:lnTo>
                  <a:lnTo>
                    <a:pt x="475881" y="575141"/>
                  </a:lnTo>
                  <a:lnTo>
                    <a:pt x="451763" y="560855"/>
                  </a:lnTo>
                  <a:lnTo>
                    <a:pt x="406848" y="563628"/>
                  </a:lnTo>
                  <a:lnTo>
                    <a:pt x="374367" y="574139"/>
                  </a:lnTo>
                  <a:lnTo>
                    <a:pt x="345831" y="583980"/>
                  </a:lnTo>
                  <a:lnTo>
                    <a:pt x="321892" y="582021"/>
                  </a:lnTo>
                  <a:lnTo>
                    <a:pt x="295307" y="597192"/>
                  </a:lnTo>
                  <a:lnTo>
                    <a:pt x="273551" y="604044"/>
                  </a:lnTo>
                  <a:lnTo>
                    <a:pt x="268721" y="619699"/>
                  </a:lnTo>
                  <a:lnTo>
                    <a:pt x="259462" y="631892"/>
                  </a:lnTo>
                  <a:lnTo>
                    <a:pt x="238172" y="632625"/>
                  </a:lnTo>
                  <a:lnTo>
                    <a:pt x="222419" y="635300"/>
                  </a:lnTo>
                  <a:lnTo>
                    <a:pt x="200252" y="629816"/>
                  </a:lnTo>
                  <a:lnTo>
                    <a:pt x="182209" y="633099"/>
                  </a:lnTo>
                  <a:lnTo>
                    <a:pt x="164989" y="634477"/>
                  </a:lnTo>
                  <a:lnTo>
                    <a:pt x="150068" y="650588"/>
                  </a:lnTo>
                  <a:lnTo>
                    <a:pt x="142759" y="649219"/>
                  </a:lnTo>
                  <a:lnTo>
                    <a:pt x="130182" y="657798"/>
                  </a:lnTo>
                  <a:lnTo>
                    <a:pt x="118123" y="667477"/>
                  </a:lnTo>
                  <a:lnTo>
                    <a:pt x="99821" y="666278"/>
                  </a:lnTo>
                  <a:lnTo>
                    <a:pt x="83012" y="666269"/>
                  </a:lnTo>
                  <a:lnTo>
                    <a:pt x="56399" y="646875"/>
                  </a:lnTo>
                  <a:lnTo>
                    <a:pt x="42918" y="641132"/>
                  </a:lnTo>
                  <a:lnTo>
                    <a:pt x="43464" y="623894"/>
                  </a:lnTo>
                  <a:lnTo>
                    <a:pt x="55925" y="619815"/>
                  </a:lnTo>
                  <a:lnTo>
                    <a:pt x="60183" y="613008"/>
                  </a:lnTo>
                  <a:lnTo>
                    <a:pt x="59289" y="602309"/>
                  </a:lnTo>
                  <a:lnTo>
                    <a:pt x="62357" y="581716"/>
                  </a:lnTo>
                  <a:lnTo>
                    <a:pt x="59557" y="564291"/>
                  </a:lnTo>
                  <a:lnTo>
                    <a:pt x="46300" y="534824"/>
                  </a:lnTo>
                  <a:lnTo>
                    <a:pt x="42185" y="518319"/>
                  </a:lnTo>
                  <a:lnTo>
                    <a:pt x="43267" y="501949"/>
                  </a:lnTo>
                  <a:lnTo>
                    <a:pt x="33284" y="483351"/>
                  </a:lnTo>
                  <a:lnTo>
                    <a:pt x="32649" y="474997"/>
                  </a:lnTo>
                  <a:lnTo>
                    <a:pt x="21538" y="463707"/>
                  </a:lnTo>
                  <a:lnTo>
                    <a:pt x="18408" y="441630"/>
                  </a:lnTo>
                  <a:lnTo>
                    <a:pt x="4068" y="419472"/>
                  </a:lnTo>
                  <a:lnTo>
                    <a:pt x="597" y="407601"/>
                  </a:lnTo>
                  <a:lnTo>
                    <a:pt x="11609" y="419642"/>
                  </a:lnTo>
                  <a:lnTo>
                    <a:pt x="3147" y="393870"/>
                  </a:lnTo>
                  <a:lnTo>
                    <a:pt x="15590" y="401903"/>
                  </a:lnTo>
                  <a:lnTo>
                    <a:pt x="23015" y="412664"/>
                  </a:lnTo>
                  <a:lnTo>
                    <a:pt x="22594" y="398441"/>
                  </a:lnTo>
                  <a:lnTo>
                    <a:pt x="10178" y="376703"/>
                  </a:lnTo>
                  <a:lnTo>
                    <a:pt x="7771" y="368044"/>
                  </a:lnTo>
                  <a:lnTo>
                    <a:pt x="1957" y="359841"/>
                  </a:lnTo>
                  <a:lnTo>
                    <a:pt x="4685" y="344034"/>
                  </a:lnTo>
                  <a:lnTo>
                    <a:pt x="9820" y="337325"/>
                  </a:lnTo>
                  <a:lnTo>
                    <a:pt x="13246" y="323737"/>
                  </a:lnTo>
                  <a:lnTo>
                    <a:pt x="10562" y="307922"/>
                  </a:lnTo>
                  <a:lnTo>
                    <a:pt x="20930" y="288554"/>
                  </a:lnTo>
                  <a:lnTo>
                    <a:pt x="22818" y="309057"/>
                  </a:lnTo>
                  <a:lnTo>
                    <a:pt x="33418" y="290531"/>
                  </a:lnTo>
                  <a:lnTo>
                    <a:pt x="53796" y="281568"/>
                  </a:lnTo>
                  <a:lnTo>
                    <a:pt x="66016" y="270153"/>
                  </a:lnTo>
                  <a:lnTo>
                    <a:pt x="85186" y="260358"/>
                  </a:lnTo>
                  <a:lnTo>
                    <a:pt x="96583" y="258283"/>
                  </a:lnTo>
                  <a:lnTo>
                    <a:pt x="103488" y="261566"/>
                  </a:lnTo>
                  <a:lnTo>
                    <a:pt x="123249" y="251645"/>
                  </a:lnTo>
                  <a:lnTo>
                    <a:pt x="138465" y="248693"/>
                  </a:lnTo>
                  <a:lnTo>
                    <a:pt x="142267" y="242879"/>
                  </a:lnTo>
                  <a:lnTo>
                    <a:pt x="148905" y="240454"/>
                  </a:lnTo>
                  <a:lnTo>
                    <a:pt x="162770" y="241080"/>
                  </a:lnTo>
                  <a:lnTo>
                    <a:pt x="189133" y="233325"/>
                  </a:lnTo>
                  <a:lnTo>
                    <a:pt x="202766" y="221579"/>
                  </a:lnTo>
                  <a:lnTo>
                    <a:pt x="209171" y="207490"/>
                  </a:lnTo>
                  <a:lnTo>
                    <a:pt x="223886" y="194153"/>
                  </a:lnTo>
                  <a:lnTo>
                    <a:pt x="225013" y="183695"/>
                  </a:lnTo>
                  <a:lnTo>
                    <a:pt x="225666" y="169481"/>
                  </a:lnTo>
                  <a:lnTo>
                    <a:pt x="243217" y="147350"/>
                  </a:lnTo>
                  <a:lnTo>
                    <a:pt x="253782" y="169839"/>
                  </a:lnTo>
                  <a:lnTo>
                    <a:pt x="264454" y="164632"/>
                  </a:lnTo>
                  <a:lnTo>
                    <a:pt x="255526" y="152332"/>
                  </a:lnTo>
                  <a:lnTo>
                    <a:pt x="263398" y="139728"/>
                  </a:lnTo>
                  <a:lnTo>
                    <a:pt x="274464" y="145355"/>
                  </a:lnTo>
                  <a:lnTo>
                    <a:pt x="277505" y="125630"/>
                  </a:lnTo>
                  <a:lnTo>
                    <a:pt x="291209" y="112919"/>
                  </a:lnTo>
                  <a:lnTo>
                    <a:pt x="297257" y="102739"/>
                  </a:lnTo>
                  <a:lnTo>
                    <a:pt x="309870" y="98346"/>
                  </a:lnTo>
                  <a:lnTo>
                    <a:pt x="310263" y="91154"/>
                  </a:lnTo>
                  <a:lnTo>
                    <a:pt x="321284" y="94151"/>
                  </a:lnTo>
                  <a:lnTo>
                    <a:pt x="321723" y="87692"/>
                  </a:lnTo>
                  <a:lnTo>
                    <a:pt x="332753" y="84006"/>
                  </a:lnTo>
                  <a:lnTo>
                    <a:pt x="344874" y="80545"/>
                  </a:lnTo>
                  <a:lnTo>
                    <a:pt x="363400" y="92335"/>
                  </a:lnTo>
                  <a:lnTo>
                    <a:pt x="377319" y="107587"/>
                  </a:lnTo>
                  <a:lnTo>
                    <a:pt x="393019" y="107766"/>
                  </a:lnTo>
                  <a:lnTo>
                    <a:pt x="408968" y="110190"/>
                  </a:lnTo>
                  <a:lnTo>
                    <a:pt x="403654" y="96038"/>
                  </a:lnTo>
                  <a:lnTo>
                    <a:pt x="415668" y="75437"/>
                  </a:lnTo>
                  <a:lnTo>
                    <a:pt x="426975" y="68736"/>
                  </a:lnTo>
                  <a:lnTo>
                    <a:pt x="423067" y="62340"/>
                  </a:lnTo>
                  <a:lnTo>
                    <a:pt x="433962" y="47742"/>
                  </a:lnTo>
                  <a:lnTo>
                    <a:pt x="449151" y="38742"/>
                  </a:lnTo>
                  <a:lnTo>
                    <a:pt x="461988" y="41775"/>
                  </a:lnTo>
                  <a:lnTo>
                    <a:pt x="483055" y="36971"/>
                  </a:lnTo>
                  <a:lnTo>
                    <a:pt x="482599" y="23955"/>
                  </a:lnTo>
                  <a:lnTo>
                    <a:pt x="464224" y="15582"/>
                  </a:lnTo>
                  <a:lnTo>
                    <a:pt x="477580" y="11888"/>
                  </a:lnTo>
                  <a:lnTo>
                    <a:pt x="494192" y="18185"/>
                  </a:lnTo>
                  <a:lnTo>
                    <a:pt x="507512" y="28625"/>
                  </a:lnTo>
                  <a:lnTo>
                    <a:pt x="528632" y="35146"/>
                  </a:lnTo>
                  <a:lnTo>
                    <a:pt x="535798" y="32570"/>
                  </a:lnTo>
                  <a:lnTo>
                    <a:pt x="551345" y="40397"/>
                  </a:lnTo>
                  <a:lnTo>
                    <a:pt x="565997" y="33107"/>
                  </a:lnTo>
                  <a:lnTo>
                    <a:pt x="575426" y="35325"/>
                  </a:lnTo>
                  <a:lnTo>
                    <a:pt x="581294" y="30432"/>
                  </a:lnTo>
                  <a:lnTo>
                    <a:pt x="592807" y="43045"/>
                  </a:lnTo>
                  <a:lnTo>
                    <a:pt x="586125" y="56714"/>
                  </a:lnTo>
                  <a:lnTo>
                    <a:pt x="576607" y="67046"/>
                  </a:lnTo>
                  <a:lnTo>
                    <a:pt x="567983" y="67905"/>
                  </a:lnTo>
                  <a:lnTo>
                    <a:pt x="570891" y="78156"/>
                  </a:lnTo>
                  <a:lnTo>
                    <a:pt x="563520" y="90993"/>
                  </a:lnTo>
                  <a:lnTo>
                    <a:pt x="554610" y="103642"/>
                  </a:lnTo>
                  <a:lnTo>
                    <a:pt x="556408" y="110924"/>
                  </a:lnTo>
                  <a:lnTo>
                    <a:pt x="576347" y="125201"/>
                  </a:lnTo>
                  <a:lnTo>
                    <a:pt x="595670" y="133502"/>
                  </a:lnTo>
                  <a:lnTo>
                    <a:pt x="608578" y="142439"/>
                  </a:lnTo>
                  <a:lnTo>
                    <a:pt x="626710" y="157843"/>
                  </a:lnTo>
                  <a:lnTo>
                    <a:pt x="633778" y="157816"/>
                  </a:lnTo>
                  <a:lnTo>
                    <a:pt x="646909" y="164489"/>
                  </a:lnTo>
                  <a:lnTo>
                    <a:pt x="650720" y="172549"/>
                  </a:lnTo>
                  <a:lnTo>
                    <a:pt x="674667" y="181423"/>
                  </a:lnTo>
                  <a:lnTo>
                    <a:pt x="691234" y="172487"/>
                  </a:lnTo>
                  <a:lnTo>
                    <a:pt x="696146" y="158478"/>
                  </a:lnTo>
                  <a:lnTo>
                    <a:pt x="701227" y="146947"/>
                  </a:lnTo>
                  <a:lnTo>
                    <a:pt x="704349" y="132724"/>
                  </a:lnTo>
                  <a:lnTo>
                    <a:pt x="711979" y="112149"/>
                  </a:lnTo>
                  <a:lnTo>
                    <a:pt x="708490" y="99679"/>
                  </a:lnTo>
                  <a:lnTo>
                    <a:pt x="710297" y="92192"/>
                  </a:lnTo>
                  <a:lnTo>
                    <a:pt x="707399" y="77494"/>
                  </a:lnTo>
                  <a:lnTo>
                    <a:pt x="710682" y="58199"/>
                  </a:lnTo>
                  <a:lnTo>
                    <a:pt x="715494" y="53001"/>
                  </a:lnTo>
                  <a:lnTo>
                    <a:pt x="711586" y="44477"/>
                  </a:lnTo>
                  <a:lnTo>
                    <a:pt x="717651" y="30960"/>
                  </a:lnTo>
                  <a:lnTo>
                    <a:pt x="722409" y="16978"/>
                  </a:lnTo>
                  <a:lnTo>
                    <a:pt x="723036" y="9732"/>
                  </a:lnTo>
                  <a:lnTo>
                    <a:pt x="732357" y="223"/>
                  </a:lnTo>
                  <a:lnTo>
                    <a:pt x="739433" y="12639"/>
                  </a:lnTo>
                  <a:lnTo>
                    <a:pt x="741169" y="28589"/>
                  </a:lnTo>
                  <a:lnTo>
                    <a:pt x="747421" y="31667"/>
                  </a:lnTo>
                  <a:lnTo>
                    <a:pt x="748486" y="42374"/>
                  </a:lnTo>
                  <a:lnTo>
                    <a:pt x="757610" y="55363"/>
                  </a:lnTo>
                  <a:lnTo>
                    <a:pt x="759489" y="69855"/>
                  </a:lnTo>
                  <a:lnTo>
                    <a:pt x="758630" y="7910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/>
            <p:cNvSpPr/>
            <p:nvPr/>
          </p:nvSpPr>
          <p:spPr>
            <a:xfrm>
              <a:off x="6961206" y="3509384"/>
              <a:ext cx="140426" cy="117266"/>
            </a:xfrm>
            <a:custGeom>
              <a:avLst/>
              <a:gdLst>
                <a:gd name="connsiteX0" fmla="*/ 5714 w 140426"/>
                <a:gd name="connsiteY0" fmla="*/ 70147 h 117266"/>
                <a:gd name="connsiteX1" fmla="*/ 13148 w 140426"/>
                <a:gd name="connsiteY1" fmla="*/ 78851 h 117266"/>
                <a:gd name="connsiteX2" fmla="*/ 24231 w 140426"/>
                <a:gd name="connsiteY2" fmla="*/ 78779 h 117266"/>
                <a:gd name="connsiteX3" fmla="*/ 24115 w 140426"/>
                <a:gd name="connsiteY3" fmla="*/ 83771 h 117266"/>
                <a:gd name="connsiteX4" fmla="*/ 34357 w 140426"/>
                <a:gd name="connsiteY4" fmla="*/ 102377 h 117266"/>
                <a:gd name="connsiteX5" fmla="*/ 17155 w 140426"/>
                <a:gd name="connsiteY5" fmla="*/ 98111 h 117266"/>
                <a:gd name="connsiteX6" fmla="*/ 4479 w 140426"/>
                <a:gd name="connsiteY6" fmla="*/ 83252 h 117266"/>
                <a:gd name="connsiteX7" fmla="*/ 499 w 140426"/>
                <a:gd name="connsiteY7" fmla="*/ 71032 h 117266"/>
                <a:gd name="connsiteX8" fmla="*/ 5714 w 140426"/>
                <a:gd name="connsiteY8" fmla="*/ 70147 h 117266"/>
                <a:gd name="connsiteX9" fmla="*/ 65192 w 140426"/>
                <a:gd name="connsiteY9" fmla="*/ 21546 h 117266"/>
                <a:gd name="connsiteX10" fmla="*/ 76294 w 140426"/>
                <a:gd name="connsiteY10" fmla="*/ 23809 h 117266"/>
                <a:gd name="connsiteX11" fmla="*/ 80596 w 140426"/>
                <a:gd name="connsiteY11" fmla="*/ 15356 h 117266"/>
                <a:gd name="connsiteX12" fmla="*/ 95571 w 140426"/>
                <a:gd name="connsiteY12" fmla="*/ 1884 h 117266"/>
                <a:gd name="connsiteX13" fmla="*/ 108757 w 140426"/>
                <a:gd name="connsiteY13" fmla="*/ 19462 h 117266"/>
                <a:gd name="connsiteX14" fmla="*/ 121513 w 140426"/>
                <a:gd name="connsiteY14" fmla="*/ 42926 h 117266"/>
                <a:gd name="connsiteX15" fmla="*/ 133205 w 140426"/>
                <a:gd name="connsiteY15" fmla="*/ 44464 h 117266"/>
                <a:gd name="connsiteX16" fmla="*/ 140925 w 140426"/>
                <a:gd name="connsiteY16" fmla="*/ 53303 h 117266"/>
                <a:gd name="connsiteX17" fmla="*/ 120261 w 140426"/>
                <a:gd name="connsiteY17" fmla="*/ 55932 h 117266"/>
                <a:gd name="connsiteX18" fmla="*/ 115905 w 140426"/>
                <a:gd name="connsiteY18" fmla="*/ 81186 h 117266"/>
                <a:gd name="connsiteX19" fmla="*/ 111593 w 140426"/>
                <a:gd name="connsiteY19" fmla="*/ 92484 h 117266"/>
                <a:gd name="connsiteX20" fmla="*/ 102397 w 140426"/>
                <a:gd name="connsiteY20" fmla="*/ 99989 h 117266"/>
                <a:gd name="connsiteX21" fmla="*/ 103068 w 140426"/>
                <a:gd name="connsiteY21" fmla="*/ 115813 h 117266"/>
                <a:gd name="connsiteX22" fmla="*/ 96824 w 140426"/>
                <a:gd name="connsiteY22" fmla="*/ 117406 h 117266"/>
                <a:gd name="connsiteX23" fmla="*/ 81178 w 140426"/>
                <a:gd name="connsiteY23" fmla="*/ 100687 h 117266"/>
                <a:gd name="connsiteX24" fmla="*/ 89829 w 140426"/>
                <a:gd name="connsiteY24" fmla="*/ 84773 h 117266"/>
                <a:gd name="connsiteX25" fmla="*/ 82412 w 140426"/>
                <a:gd name="connsiteY25" fmla="*/ 75273 h 117266"/>
                <a:gd name="connsiteX26" fmla="*/ 73011 w 140426"/>
                <a:gd name="connsiteY26" fmla="*/ 77670 h 117266"/>
                <a:gd name="connsiteX27" fmla="*/ 43428 w 140426"/>
                <a:gd name="connsiteY27" fmla="*/ 101429 h 117266"/>
                <a:gd name="connsiteX28" fmla="*/ 42873 w 140426"/>
                <a:gd name="connsiteY28" fmla="*/ 79101 h 117266"/>
                <a:gd name="connsiteX29" fmla="*/ 31611 w 140426"/>
                <a:gd name="connsiteY29" fmla="*/ 73797 h 117266"/>
                <a:gd name="connsiteX30" fmla="*/ 20966 w 140426"/>
                <a:gd name="connsiteY30" fmla="*/ 64958 h 117266"/>
                <a:gd name="connsiteX31" fmla="*/ 28042 w 140426"/>
                <a:gd name="connsiteY31" fmla="*/ 54564 h 117266"/>
                <a:gd name="connsiteX32" fmla="*/ 14677 w 140426"/>
                <a:gd name="connsiteY32" fmla="*/ 43310 h 117266"/>
                <a:gd name="connsiteX33" fmla="*/ 19722 w 140426"/>
                <a:gd name="connsiteY33" fmla="*/ 35045 h 117266"/>
                <a:gd name="connsiteX34" fmla="*/ 10169 w 140426"/>
                <a:gd name="connsiteY34" fmla="*/ 29320 h 117266"/>
                <a:gd name="connsiteX35" fmla="*/ 4971 w 140426"/>
                <a:gd name="connsiteY35" fmla="*/ 20607 h 117266"/>
                <a:gd name="connsiteX36" fmla="*/ 11117 w 140426"/>
                <a:gd name="connsiteY36" fmla="*/ 15177 h 117266"/>
                <a:gd name="connsiteX37" fmla="*/ 29804 w 140426"/>
                <a:gd name="connsiteY37" fmla="*/ 24731 h 117266"/>
                <a:gd name="connsiteX38" fmla="*/ 43321 w 140426"/>
                <a:gd name="connsiteY38" fmla="*/ 26699 h 117266"/>
                <a:gd name="connsiteX39" fmla="*/ 46738 w 140426"/>
                <a:gd name="connsiteY39" fmla="*/ 22807 h 117266"/>
                <a:gd name="connsiteX40" fmla="*/ 34384 w 140426"/>
                <a:gd name="connsiteY40" fmla="*/ 4764 h 117266"/>
                <a:gd name="connsiteX41" fmla="*/ 40896 w 140426"/>
                <a:gd name="connsiteY41" fmla="*/ 139 h 117266"/>
                <a:gd name="connsiteX42" fmla="*/ 47946 w 140426"/>
                <a:gd name="connsiteY42" fmla="*/ 1266 h 117266"/>
                <a:gd name="connsiteX43" fmla="*/ 65192 w 140426"/>
                <a:gd name="connsiteY43" fmla="*/ 21546 h 11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40426" h="117266">
                  <a:moveTo>
                    <a:pt x="5714" y="70147"/>
                  </a:moveTo>
                  <a:lnTo>
                    <a:pt x="13148" y="78851"/>
                  </a:lnTo>
                  <a:lnTo>
                    <a:pt x="24231" y="78779"/>
                  </a:lnTo>
                  <a:lnTo>
                    <a:pt x="24115" y="83771"/>
                  </a:lnTo>
                  <a:lnTo>
                    <a:pt x="34357" y="102377"/>
                  </a:lnTo>
                  <a:lnTo>
                    <a:pt x="17155" y="98111"/>
                  </a:lnTo>
                  <a:lnTo>
                    <a:pt x="4479" y="83252"/>
                  </a:lnTo>
                  <a:lnTo>
                    <a:pt x="499" y="71032"/>
                  </a:lnTo>
                  <a:lnTo>
                    <a:pt x="5714" y="70147"/>
                  </a:lnTo>
                  <a:close/>
                  <a:moveTo>
                    <a:pt x="65192" y="21546"/>
                  </a:moveTo>
                  <a:lnTo>
                    <a:pt x="76294" y="23809"/>
                  </a:lnTo>
                  <a:lnTo>
                    <a:pt x="80596" y="15356"/>
                  </a:lnTo>
                  <a:lnTo>
                    <a:pt x="95571" y="1884"/>
                  </a:lnTo>
                  <a:lnTo>
                    <a:pt x="108757" y="19462"/>
                  </a:lnTo>
                  <a:lnTo>
                    <a:pt x="121513" y="42926"/>
                  </a:lnTo>
                  <a:lnTo>
                    <a:pt x="133205" y="44464"/>
                  </a:lnTo>
                  <a:lnTo>
                    <a:pt x="140925" y="53303"/>
                  </a:lnTo>
                  <a:lnTo>
                    <a:pt x="120261" y="55932"/>
                  </a:lnTo>
                  <a:lnTo>
                    <a:pt x="115905" y="81186"/>
                  </a:lnTo>
                  <a:lnTo>
                    <a:pt x="111593" y="92484"/>
                  </a:lnTo>
                  <a:lnTo>
                    <a:pt x="102397" y="99989"/>
                  </a:lnTo>
                  <a:lnTo>
                    <a:pt x="103068" y="115813"/>
                  </a:lnTo>
                  <a:lnTo>
                    <a:pt x="96824" y="117406"/>
                  </a:lnTo>
                  <a:lnTo>
                    <a:pt x="81178" y="100687"/>
                  </a:lnTo>
                  <a:lnTo>
                    <a:pt x="89829" y="84773"/>
                  </a:lnTo>
                  <a:lnTo>
                    <a:pt x="82412" y="75273"/>
                  </a:lnTo>
                  <a:lnTo>
                    <a:pt x="73011" y="77670"/>
                  </a:lnTo>
                  <a:lnTo>
                    <a:pt x="43428" y="101429"/>
                  </a:lnTo>
                  <a:lnTo>
                    <a:pt x="42873" y="79101"/>
                  </a:lnTo>
                  <a:lnTo>
                    <a:pt x="31611" y="73797"/>
                  </a:lnTo>
                  <a:lnTo>
                    <a:pt x="20966" y="64958"/>
                  </a:lnTo>
                  <a:lnTo>
                    <a:pt x="28042" y="54564"/>
                  </a:lnTo>
                  <a:lnTo>
                    <a:pt x="14677" y="43310"/>
                  </a:lnTo>
                  <a:lnTo>
                    <a:pt x="19722" y="35045"/>
                  </a:lnTo>
                  <a:lnTo>
                    <a:pt x="10169" y="29320"/>
                  </a:lnTo>
                  <a:lnTo>
                    <a:pt x="4971" y="20607"/>
                  </a:lnTo>
                  <a:lnTo>
                    <a:pt x="11117" y="15177"/>
                  </a:lnTo>
                  <a:lnTo>
                    <a:pt x="29804" y="24731"/>
                  </a:lnTo>
                  <a:lnTo>
                    <a:pt x="43321" y="26699"/>
                  </a:lnTo>
                  <a:lnTo>
                    <a:pt x="46738" y="22807"/>
                  </a:lnTo>
                  <a:lnTo>
                    <a:pt x="34384" y="4764"/>
                  </a:lnTo>
                  <a:lnTo>
                    <a:pt x="40896" y="139"/>
                  </a:lnTo>
                  <a:lnTo>
                    <a:pt x="47946" y="1266"/>
                  </a:lnTo>
                  <a:lnTo>
                    <a:pt x="65192" y="2154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/>
            <p:cNvSpPr/>
            <p:nvPr/>
          </p:nvSpPr>
          <p:spPr>
            <a:xfrm>
              <a:off x="6232729" y="3393030"/>
              <a:ext cx="96557" cy="89714"/>
            </a:xfrm>
            <a:custGeom>
              <a:avLst/>
              <a:gdLst>
                <a:gd name="connsiteX0" fmla="*/ 82119 w 96557"/>
                <a:gd name="connsiteY0" fmla="*/ 13346 h 89714"/>
                <a:gd name="connsiteX1" fmla="*/ 91207 w 96557"/>
                <a:gd name="connsiteY1" fmla="*/ 13256 h 89714"/>
                <a:gd name="connsiteX2" fmla="*/ 84928 w 96557"/>
                <a:gd name="connsiteY2" fmla="*/ 28705 h 89714"/>
                <a:gd name="connsiteX3" fmla="*/ 97022 w 96557"/>
                <a:gd name="connsiteY3" fmla="*/ 42123 h 89714"/>
                <a:gd name="connsiteX4" fmla="*/ 93363 w 96557"/>
                <a:gd name="connsiteY4" fmla="*/ 58413 h 89714"/>
                <a:gd name="connsiteX5" fmla="*/ 87459 w 96557"/>
                <a:gd name="connsiteY5" fmla="*/ 59934 h 89714"/>
                <a:gd name="connsiteX6" fmla="*/ 82772 w 96557"/>
                <a:gd name="connsiteY6" fmla="*/ 63083 h 89714"/>
                <a:gd name="connsiteX7" fmla="*/ 74614 w 96557"/>
                <a:gd name="connsiteY7" fmla="*/ 71071 h 89714"/>
                <a:gd name="connsiteX8" fmla="*/ 70937 w 96557"/>
                <a:gd name="connsiteY8" fmla="*/ 89848 h 89714"/>
                <a:gd name="connsiteX9" fmla="*/ 48743 w 96557"/>
                <a:gd name="connsiteY9" fmla="*/ 76939 h 89714"/>
                <a:gd name="connsiteX10" fmla="*/ 39270 w 96557"/>
                <a:gd name="connsiteY10" fmla="*/ 62609 h 89714"/>
                <a:gd name="connsiteX11" fmla="*/ 29716 w 96557"/>
                <a:gd name="connsiteY11" fmla="*/ 54978 h 89714"/>
                <a:gd name="connsiteX12" fmla="*/ 18186 w 96557"/>
                <a:gd name="connsiteY12" fmla="*/ 42034 h 89714"/>
                <a:gd name="connsiteX13" fmla="*/ 12746 w 96557"/>
                <a:gd name="connsiteY13" fmla="*/ 31219 h 89714"/>
                <a:gd name="connsiteX14" fmla="*/ 464 w 96557"/>
                <a:gd name="connsiteY14" fmla="*/ 14813 h 89714"/>
                <a:gd name="connsiteX15" fmla="*/ 5706 w 96557"/>
                <a:gd name="connsiteY15" fmla="*/ 133 h 89714"/>
                <a:gd name="connsiteX16" fmla="*/ 14715 w 96557"/>
                <a:gd name="connsiteY16" fmla="*/ 8274 h 89714"/>
                <a:gd name="connsiteX17" fmla="*/ 20145 w 96557"/>
                <a:gd name="connsiteY17" fmla="*/ 921 h 89714"/>
                <a:gd name="connsiteX18" fmla="*/ 31863 w 96557"/>
                <a:gd name="connsiteY18" fmla="*/ 133 h 89714"/>
                <a:gd name="connsiteX19" fmla="*/ 53431 w 96557"/>
                <a:gd name="connsiteY19" fmla="*/ 6019 h 89714"/>
                <a:gd name="connsiteX20" fmla="*/ 70767 w 96557"/>
                <a:gd name="connsiteY20" fmla="*/ 5527 h 8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6557" h="89714">
                  <a:moveTo>
                    <a:pt x="82119" y="13346"/>
                  </a:moveTo>
                  <a:lnTo>
                    <a:pt x="91207" y="13256"/>
                  </a:lnTo>
                  <a:lnTo>
                    <a:pt x="84928" y="28705"/>
                  </a:lnTo>
                  <a:lnTo>
                    <a:pt x="97022" y="42123"/>
                  </a:lnTo>
                  <a:lnTo>
                    <a:pt x="93363" y="58413"/>
                  </a:lnTo>
                  <a:lnTo>
                    <a:pt x="87459" y="59934"/>
                  </a:lnTo>
                  <a:lnTo>
                    <a:pt x="82772" y="63083"/>
                  </a:lnTo>
                  <a:lnTo>
                    <a:pt x="74614" y="71071"/>
                  </a:lnTo>
                  <a:lnTo>
                    <a:pt x="70937" y="89848"/>
                  </a:lnTo>
                  <a:lnTo>
                    <a:pt x="48743" y="76939"/>
                  </a:lnTo>
                  <a:lnTo>
                    <a:pt x="39270" y="62609"/>
                  </a:lnTo>
                  <a:lnTo>
                    <a:pt x="29716" y="54978"/>
                  </a:lnTo>
                  <a:lnTo>
                    <a:pt x="18186" y="42034"/>
                  </a:lnTo>
                  <a:lnTo>
                    <a:pt x="12746" y="31219"/>
                  </a:lnTo>
                  <a:lnTo>
                    <a:pt x="464" y="14813"/>
                  </a:lnTo>
                  <a:lnTo>
                    <a:pt x="5706" y="133"/>
                  </a:lnTo>
                  <a:lnTo>
                    <a:pt x="14715" y="8274"/>
                  </a:lnTo>
                  <a:lnTo>
                    <a:pt x="20145" y="921"/>
                  </a:lnTo>
                  <a:lnTo>
                    <a:pt x="31863" y="133"/>
                  </a:lnTo>
                  <a:lnTo>
                    <a:pt x="53431" y="6019"/>
                  </a:lnTo>
                  <a:lnTo>
                    <a:pt x="70767" y="552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/>
            <p:cNvSpPr/>
            <p:nvPr/>
          </p:nvSpPr>
          <p:spPr>
            <a:xfrm>
              <a:off x="8047011" y="3977179"/>
              <a:ext cx="115083" cy="157234"/>
            </a:xfrm>
            <a:custGeom>
              <a:avLst/>
              <a:gdLst>
                <a:gd name="connsiteX0" fmla="*/ 115631 w 115083"/>
                <a:gd name="connsiteY0" fmla="*/ 120702 h 157234"/>
                <a:gd name="connsiteX1" fmla="*/ 115113 w 115083"/>
                <a:gd name="connsiteY1" fmla="*/ 139953 h 157234"/>
                <a:gd name="connsiteX2" fmla="*/ 106364 w 115083"/>
                <a:gd name="connsiteY2" fmla="*/ 135901 h 157234"/>
                <a:gd name="connsiteX3" fmla="*/ 108001 w 115083"/>
                <a:gd name="connsiteY3" fmla="*/ 157396 h 157234"/>
                <a:gd name="connsiteX4" fmla="*/ 100827 w 115083"/>
                <a:gd name="connsiteY4" fmla="*/ 143477 h 157234"/>
                <a:gd name="connsiteX5" fmla="*/ 99387 w 115083"/>
                <a:gd name="connsiteY5" fmla="*/ 129835 h 157234"/>
                <a:gd name="connsiteX6" fmla="*/ 94610 w 115083"/>
                <a:gd name="connsiteY6" fmla="*/ 116891 h 157234"/>
                <a:gd name="connsiteX7" fmla="*/ 84134 w 115083"/>
                <a:gd name="connsiteY7" fmla="*/ 101183 h 157234"/>
                <a:gd name="connsiteX8" fmla="*/ 61028 w 115083"/>
                <a:gd name="connsiteY8" fmla="*/ 100101 h 157234"/>
                <a:gd name="connsiteX9" fmla="*/ 63309 w 115083"/>
                <a:gd name="connsiteY9" fmla="*/ 111238 h 157234"/>
                <a:gd name="connsiteX10" fmla="*/ 55437 w 115083"/>
                <a:gd name="connsiteY10" fmla="*/ 126213 h 157234"/>
                <a:gd name="connsiteX11" fmla="*/ 44765 w 115083"/>
                <a:gd name="connsiteY11" fmla="*/ 120765 h 157234"/>
                <a:gd name="connsiteX12" fmla="*/ 41125 w 115083"/>
                <a:gd name="connsiteY12" fmla="*/ 125649 h 157234"/>
                <a:gd name="connsiteX13" fmla="*/ 34022 w 115083"/>
                <a:gd name="connsiteY13" fmla="*/ 122724 h 157234"/>
                <a:gd name="connsiteX14" fmla="*/ 24316 w 115083"/>
                <a:gd name="connsiteY14" fmla="*/ 120317 h 157234"/>
                <a:gd name="connsiteX15" fmla="*/ 20406 w 115083"/>
                <a:gd name="connsiteY15" fmla="*/ 98088 h 157234"/>
                <a:gd name="connsiteX16" fmla="*/ 11721 w 115083"/>
                <a:gd name="connsiteY16" fmla="*/ 77683 h 157234"/>
                <a:gd name="connsiteX17" fmla="*/ 15978 w 115083"/>
                <a:gd name="connsiteY17" fmla="*/ 61232 h 157234"/>
                <a:gd name="connsiteX18" fmla="*/ 548 w 115083"/>
                <a:gd name="connsiteY18" fmla="*/ 53906 h 157234"/>
                <a:gd name="connsiteX19" fmla="*/ 6112 w 115083"/>
                <a:gd name="connsiteY19" fmla="*/ 43896 h 157234"/>
                <a:gd name="connsiteX20" fmla="*/ 21793 w 115083"/>
                <a:gd name="connsiteY20" fmla="*/ 33636 h 157234"/>
                <a:gd name="connsiteX21" fmla="*/ 3688 w 115083"/>
                <a:gd name="connsiteY21" fmla="*/ 19010 h 157234"/>
                <a:gd name="connsiteX22" fmla="*/ 12544 w 115083"/>
                <a:gd name="connsiteY22" fmla="*/ 161 h 157234"/>
                <a:gd name="connsiteX23" fmla="*/ 32412 w 115083"/>
                <a:gd name="connsiteY23" fmla="*/ 12175 h 157234"/>
                <a:gd name="connsiteX24" fmla="*/ 44390 w 115083"/>
                <a:gd name="connsiteY24" fmla="*/ 13544 h 157234"/>
                <a:gd name="connsiteX25" fmla="*/ 46599 w 115083"/>
                <a:gd name="connsiteY25" fmla="*/ 32777 h 157234"/>
                <a:gd name="connsiteX26" fmla="*/ 70465 w 115083"/>
                <a:gd name="connsiteY26" fmla="*/ 36561 h 157234"/>
                <a:gd name="connsiteX27" fmla="*/ 93733 w 115083"/>
                <a:gd name="connsiteY27" fmla="*/ 36149 h 157234"/>
                <a:gd name="connsiteX28" fmla="*/ 108189 w 115083"/>
                <a:gd name="connsiteY28" fmla="*/ 40855 h 157234"/>
                <a:gd name="connsiteX29" fmla="*/ 96631 w 115083"/>
                <a:gd name="connsiteY29" fmla="*/ 64059 h 157234"/>
                <a:gd name="connsiteX30" fmla="*/ 85405 w 115083"/>
                <a:gd name="connsiteY30" fmla="*/ 65643 h 157234"/>
                <a:gd name="connsiteX31" fmla="*/ 77667 w 115083"/>
                <a:gd name="connsiteY31" fmla="*/ 81154 h 157234"/>
                <a:gd name="connsiteX32" fmla="*/ 91398 w 115083"/>
                <a:gd name="connsiteY32" fmla="*/ 95216 h 157234"/>
                <a:gd name="connsiteX33" fmla="*/ 95495 w 115083"/>
                <a:gd name="connsiteY33" fmla="*/ 77862 h 157234"/>
                <a:gd name="connsiteX34" fmla="*/ 102419 w 115083"/>
                <a:gd name="connsiteY34" fmla="*/ 77773 h 157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5083" h="157234">
                  <a:moveTo>
                    <a:pt x="115631" y="120702"/>
                  </a:moveTo>
                  <a:lnTo>
                    <a:pt x="115113" y="139953"/>
                  </a:lnTo>
                  <a:lnTo>
                    <a:pt x="106364" y="135901"/>
                  </a:lnTo>
                  <a:lnTo>
                    <a:pt x="108001" y="157396"/>
                  </a:lnTo>
                  <a:lnTo>
                    <a:pt x="100827" y="143477"/>
                  </a:lnTo>
                  <a:lnTo>
                    <a:pt x="99387" y="129835"/>
                  </a:lnTo>
                  <a:lnTo>
                    <a:pt x="94610" y="116891"/>
                  </a:lnTo>
                  <a:lnTo>
                    <a:pt x="84134" y="101183"/>
                  </a:lnTo>
                  <a:lnTo>
                    <a:pt x="61028" y="100101"/>
                  </a:lnTo>
                  <a:lnTo>
                    <a:pt x="63309" y="111238"/>
                  </a:lnTo>
                  <a:lnTo>
                    <a:pt x="55437" y="126213"/>
                  </a:lnTo>
                  <a:lnTo>
                    <a:pt x="44765" y="120765"/>
                  </a:lnTo>
                  <a:lnTo>
                    <a:pt x="41125" y="125649"/>
                  </a:lnTo>
                  <a:lnTo>
                    <a:pt x="34022" y="122724"/>
                  </a:lnTo>
                  <a:lnTo>
                    <a:pt x="24316" y="120317"/>
                  </a:lnTo>
                  <a:lnTo>
                    <a:pt x="20406" y="98088"/>
                  </a:lnTo>
                  <a:lnTo>
                    <a:pt x="11721" y="77683"/>
                  </a:lnTo>
                  <a:lnTo>
                    <a:pt x="15978" y="61232"/>
                  </a:lnTo>
                  <a:lnTo>
                    <a:pt x="548" y="53906"/>
                  </a:lnTo>
                  <a:lnTo>
                    <a:pt x="6112" y="43896"/>
                  </a:lnTo>
                  <a:lnTo>
                    <a:pt x="21793" y="33636"/>
                  </a:lnTo>
                  <a:lnTo>
                    <a:pt x="3688" y="19010"/>
                  </a:lnTo>
                  <a:lnTo>
                    <a:pt x="12544" y="161"/>
                  </a:lnTo>
                  <a:lnTo>
                    <a:pt x="32412" y="12175"/>
                  </a:lnTo>
                  <a:lnTo>
                    <a:pt x="44390" y="13544"/>
                  </a:lnTo>
                  <a:lnTo>
                    <a:pt x="46599" y="32777"/>
                  </a:lnTo>
                  <a:lnTo>
                    <a:pt x="70465" y="36561"/>
                  </a:lnTo>
                  <a:lnTo>
                    <a:pt x="93733" y="36149"/>
                  </a:lnTo>
                  <a:lnTo>
                    <a:pt x="108189" y="40855"/>
                  </a:lnTo>
                  <a:lnTo>
                    <a:pt x="96631" y="64059"/>
                  </a:lnTo>
                  <a:lnTo>
                    <a:pt x="85405" y="65643"/>
                  </a:lnTo>
                  <a:lnTo>
                    <a:pt x="77667" y="81154"/>
                  </a:lnTo>
                  <a:lnTo>
                    <a:pt x="91398" y="95216"/>
                  </a:lnTo>
                  <a:lnTo>
                    <a:pt x="95495" y="77862"/>
                  </a:lnTo>
                  <a:lnTo>
                    <a:pt x="102419" y="7777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5900735" y="3157745"/>
              <a:ext cx="91369" cy="76528"/>
            </a:xfrm>
            <a:custGeom>
              <a:avLst/>
              <a:gdLst>
                <a:gd name="connsiteX0" fmla="*/ 20550 w 91369"/>
                <a:gd name="connsiteY0" fmla="*/ 5302 h 76528"/>
                <a:gd name="connsiteX1" fmla="*/ 38915 w 91369"/>
                <a:gd name="connsiteY1" fmla="*/ 8450 h 76528"/>
                <a:gd name="connsiteX2" fmla="*/ 62155 w 91369"/>
                <a:gd name="connsiteY2" fmla="*/ 122 h 76528"/>
                <a:gd name="connsiteX3" fmla="*/ 78033 w 91369"/>
                <a:gd name="connsiteY3" fmla="*/ 17620 h 76528"/>
                <a:gd name="connsiteX4" fmla="*/ 91819 w 91369"/>
                <a:gd name="connsiteY4" fmla="*/ 26887 h 76528"/>
                <a:gd name="connsiteX5" fmla="*/ 88974 w 91369"/>
                <a:gd name="connsiteY5" fmla="*/ 53437 h 76528"/>
                <a:gd name="connsiteX6" fmla="*/ 82435 w 91369"/>
                <a:gd name="connsiteY6" fmla="*/ 54913 h 76528"/>
                <a:gd name="connsiteX7" fmla="*/ 79715 w 91369"/>
                <a:gd name="connsiteY7" fmla="*/ 76651 h 76528"/>
                <a:gd name="connsiteX8" fmla="*/ 57772 w 91369"/>
                <a:gd name="connsiteY8" fmla="*/ 59001 h 76528"/>
                <a:gd name="connsiteX9" fmla="*/ 44908 w 91369"/>
                <a:gd name="connsiteY9" fmla="*/ 62025 h 76528"/>
                <a:gd name="connsiteX10" fmla="*/ 27393 w 91369"/>
                <a:gd name="connsiteY10" fmla="*/ 43624 h 76528"/>
                <a:gd name="connsiteX11" fmla="*/ 15737 w 91369"/>
                <a:gd name="connsiteY11" fmla="*/ 27809 h 76528"/>
                <a:gd name="connsiteX12" fmla="*/ 4081 w 91369"/>
                <a:gd name="connsiteY12" fmla="*/ 27165 h 76528"/>
                <a:gd name="connsiteX13" fmla="*/ 449 w 91369"/>
                <a:gd name="connsiteY13" fmla="*/ 13192 h 7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369" h="76528">
                  <a:moveTo>
                    <a:pt x="20550" y="5302"/>
                  </a:moveTo>
                  <a:lnTo>
                    <a:pt x="38915" y="8450"/>
                  </a:lnTo>
                  <a:lnTo>
                    <a:pt x="62155" y="122"/>
                  </a:lnTo>
                  <a:lnTo>
                    <a:pt x="78033" y="17620"/>
                  </a:lnTo>
                  <a:lnTo>
                    <a:pt x="91819" y="26887"/>
                  </a:lnTo>
                  <a:lnTo>
                    <a:pt x="88974" y="53437"/>
                  </a:lnTo>
                  <a:lnTo>
                    <a:pt x="82435" y="54913"/>
                  </a:lnTo>
                  <a:lnTo>
                    <a:pt x="79715" y="76651"/>
                  </a:lnTo>
                  <a:lnTo>
                    <a:pt x="57772" y="59001"/>
                  </a:lnTo>
                  <a:lnTo>
                    <a:pt x="44908" y="62025"/>
                  </a:lnTo>
                  <a:lnTo>
                    <a:pt x="27393" y="43624"/>
                  </a:lnTo>
                  <a:lnTo>
                    <a:pt x="15737" y="27809"/>
                  </a:lnTo>
                  <a:lnTo>
                    <a:pt x="4081" y="27165"/>
                  </a:lnTo>
                  <a:lnTo>
                    <a:pt x="449" y="1319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5700472" y="4280003"/>
              <a:ext cx="191818" cy="140515"/>
            </a:xfrm>
            <a:custGeom>
              <a:avLst/>
              <a:gdLst>
                <a:gd name="connsiteX0" fmla="*/ 66737 w 191818"/>
                <a:gd name="connsiteY0" fmla="*/ 139895 h 140515"/>
                <a:gd name="connsiteX1" fmla="*/ 49571 w 191818"/>
                <a:gd name="connsiteY1" fmla="*/ 133373 h 140515"/>
                <a:gd name="connsiteX2" fmla="*/ 37817 w 191818"/>
                <a:gd name="connsiteY2" fmla="*/ 134330 h 140515"/>
                <a:gd name="connsiteX3" fmla="*/ 29050 w 191818"/>
                <a:gd name="connsiteY3" fmla="*/ 140691 h 140515"/>
                <a:gd name="connsiteX4" fmla="*/ 17770 w 191818"/>
                <a:gd name="connsiteY4" fmla="*/ 135359 h 140515"/>
                <a:gd name="connsiteX5" fmla="*/ 13386 w 191818"/>
                <a:gd name="connsiteY5" fmla="*/ 126986 h 140515"/>
                <a:gd name="connsiteX6" fmla="*/ 2106 w 191818"/>
                <a:gd name="connsiteY6" fmla="*/ 121467 h 140515"/>
                <a:gd name="connsiteX7" fmla="*/ 442 w 191818"/>
                <a:gd name="connsiteY7" fmla="*/ 106743 h 140515"/>
                <a:gd name="connsiteX8" fmla="*/ 7285 w 191818"/>
                <a:gd name="connsiteY8" fmla="*/ 95972 h 140515"/>
                <a:gd name="connsiteX9" fmla="*/ 6704 w 191818"/>
                <a:gd name="connsiteY9" fmla="*/ 87358 h 140515"/>
                <a:gd name="connsiteX10" fmla="*/ 26617 w 191818"/>
                <a:gd name="connsiteY10" fmla="*/ 66237 h 140515"/>
                <a:gd name="connsiteX11" fmla="*/ 30293 w 191818"/>
                <a:gd name="connsiteY11" fmla="*/ 48704 h 140515"/>
                <a:gd name="connsiteX12" fmla="*/ 37172 w 191818"/>
                <a:gd name="connsiteY12" fmla="*/ 42451 h 140515"/>
                <a:gd name="connsiteX13" fmla="*/ 49294 w 191818"/>
                <a:gd name="connsiteY13" fmla="*/ 45904 h 140515"/>
                <a:gd name="connsiteX14" fmla="*/ 59813 w 191818"/>
                <a:gd name="connsiteY14" fmla="*/ 40689 h 140515"/>
                <a:gd name="connsiteX15" fmla="*/ 63222 w 191818"/>
                <a:gd name="connsiteY15" fmla="*/ 34096 h 140515"/>
                <a:gd name="connsiteX16" fmla="*/ 82678 w 191818"/>
                <a:gd name="connsiteY16" fmla="*/ 22583 h 140515"/>
                <a:gd name="connsiteX17" fmla="*/ 87473 w 191818"/>
                <a:gd name="connsiteY17" fmla="*/ 14541 h 140515"/>
                <a:gd name="connsiteX18" fmla="*/ 110910 w 191818"/>
                <a:gd name="connsiteY18" fmla="*/ 3842 h 140515"/>
                <a:gd name="connsiteX19" fmla="*/ 124722 w 191818"/>
                <a:gd name="connsiteY19" fmla="*/ 175 h 140515"/>
                <a:gd name="connsiteX20" fmla="*/ 130975 w 191818"/>
                <a:gd name="connsiteY20" fmla="*/ 5122 h 140515"/>
                <a:gd name="connsiteX21" fmla="*/ 147059 w 191818"/>
                <a:gd name="connsiteY21" fmla="*/ 5005 h 140515"/>
                <a:gd name="connsiteX22" fmla="*/ 145073 w 191818"/>
                <a:gd name="connsiteY22" fmla="*/ 17493 h 140515"/>
                <a:gd name="connsiteX23" fmla="*/ 148437 w 191818"/>
                <a:gd name="connsiteY23" fmla="*/ 29203 h 140515"/>
                <a:gd name="connsiteX24" fmla="*/ 162561 w 191818"/>
                <a:gd name="connsiteY24" fmla="*/ 45949 h 140515"/>
                <a:gd name="connsiteX25" fmla="*/ 163349 w 191818"/>
                <a:gd name="connsiteY25" fmla="*/ 58338 h 140515"/>
                <a:gd name="connsiteX26" fmla="*/ 192260 w 191818"/>
                <a:gd name="connsiteY26" fmla="*/ 64135 h 140515"/>
                <a:gd name="connsiteX27" fmla="*/ 191697 w 191818"/>
                <a:gd name="connsiteY27" fmla="*/ 81597 h 140515"/>
                <a:gd name="connsiteX28" fmla="*/ 186213 w 191818"/>
                <a:gd name="connsiteY28" fmla="*/ 89209 h 140515"/>
                <a:gd name="connsiteX29" fmla="*/ 173958 w 191818"/>
                <a:gd name="connsiteY29" fmla="*/ 91589 h 140515"/>
                <a:gd name="connsiteX30" fmla="*/ 168841 w 191818"/>
                <a:gd name="connsiteY30" fmla="*/ 102699 h 140515"/>
                <a:gd name="connsiteX31" fmla="*/ 160218 w 191818"/>
                <a:gd name="connsiteY31" fmla="*/ 105571 h 140515"/>
                <a:gd name="connsiteX32" fmla="*/ 138257 w 191818"/>
                <a:gd name="connsiteY32" fmla="*/ 105034 h 140515"/>
                <a:gd name="connsiteX33" fmla="*/ 126654 w 191818"/>
                <a:gd name="connsiteY33" fmla="*/ 103012 h 140515"/>
                <a:gd name="connsiteX34" fmla="*/ 118559 w 191818"/>
                <a:gd name="connsiteY34" fmla="*/ 107109 h 140515"/>
                <a:gd name="connsiteX35" fmla="*/ 107475 w 191818"/>
                <a:gd name="connsiteY35" fmla="*/ 105258 h 140515"/>
                <a:gd name="connsiteX36" fmla="*/ 63901 w 191818"/>
                <a:gd name="connsiteY36" fmla="*/ 106456 h 140515"/>
                <a:gd name="connsiteX37" fmla="*/ 63311 w 191818"/>
                <a:gd name="connsiteY37" fmla="*/ 120841 h 14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1818" h="140515">
                  <a:moveTo>
                    <a:pt x="66737" y="139895"/>
                  </a:moveTo>
                  <a:lnTo>
                    <a:pt x="49571" y="133373"/>
                  </a:lnTo>
                  <a:lnTo>
                    <a:pt x="37817" y="134330"/>
                  </a:lnTo>
                  <a:lnTo>
                    <a:pt x="29050" y="140691"/>
                  </a:lnTo>
                  <a:lnTo>
                    <a:pt x="17770" y="135359"/>
                  </a:lnTo>
                  <a:lnTo>
                    <a:pt x="13386" y="126986"/>
                  </a:lnTo>
                  <a:lnTo>
                    <a:pt x="2106" y="121467"/>
                  </a:lnTo>
                  <a:lnTo>
                    <a:pt x="442" y="106743"/>
                  </a:lnTo>
                  <a:lnTo>
                    <a:pt x="7285" y="95972"/>
                  </a:lnTo>
                  <a:lnTo>
                    <a:pt x="6704" y="87358"/>
                  </a:lnTo>
                  <a:lnTo>
                    <a:pt x="26617" y="66237"/>
                  </a:lnTo>
                  <a:lnTo>
                    <a:pt x="30293" y="48704"/>
                  </a:lnTo>
                  <a:lnTo>
                    <a:pt x="37172" y="42451"/>
                  </a:lnTo>
                  <a:lnTo>
                    <a:pt x="49294" y="45904"/>
                  </a:lnTo>
                  <a:lnTo>
                    <a:pt x="59813" y="40689"/>
                  </a:lnTo>
                  <a:lnTo>
                    <a:pt x="63222" y="34096"/>
                  </a:lnTo>
                  <a:lnTo>
                    <a:pt x="82678" y="22583"/>
                  </a:lnTo>
                  <a:lnTo>
                    <a:pt x="87473" y="14541"/>
                  </a:lnTo>
                  <a:lnTo>
                    <a:pt x="110910" y="3842"/>
                  </a:lnTo>
                  <a:lnTo>
                    <a:pt x="124722" y="175"/>
                  </a:lnTo>
                  <a:lnTo>
                    <a:pt x="130975" y="5122"/>
                  </a:lnTo>
                  <a:lnTo>
                    <a:pt x="147059" y="5005"/>
                  </a:lnTo>
                  <a:lnTo>
                    <a:pt x="145073" y="17493"/>
                  </a:lnTo>
                  <a:lnTo>
                    <a:pt x="148437" y="29203"/>
                  </a:lnTo>
                  <a:lnTo>
                    <a:pt x="162561" y="45949"/>
                  </a:lnTo>
                  <a:lnTo>
                    <a:pt x="163349" y="58338"/>
                  </a:lnTo>
                  <a:lnTo>
                    <a:pt x="192260" y="64135"/>
                  </a:lnTo>
                  <a:lnTo>
                    <a:pt x="191697" y="81597"/>
                  </a:lnTo>
                  <a:lnTo>
                    <a:pt x="186213" y="89209"/>
                  </a:lnTo>
                  <a:lnTo>
                    <a:pt x="173958" y="91589"/>
                  </a:lnTo>
                  <a:lnTo>
                    <a:pt x="168841" y="102699"/>
                  </a:lnTo>
                  <a:lnTo>
                    <a:pt x="160218" y="105571"/>
                  </a:lnTo>
                  <a:lnTo>
                    <a:pt x="138257" y="105034"/>
                  </a:lnTo>
                  <a:lnTo>
                    <a:pt x="126654" y="103012"/>
                  </a:lnTo>
                  <a:lnTo>
                    <a:pt x="118559" y="107109"/>
                  </a:lnTo>
                  <a:lnTo>
                    <a:pt x="107475" y="105258"/>
                  </a:lnTo>
                  <a:lnTo>
                    <a:pt x="63901" y="106456"/>
                  </a:lnTo>
                  <a:lnTo>
                    <a:pt x="63311" y="12084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6399035" y="3428177"/>
              <a:ext cx="154944" cy="102121"/>
            </a:xfrm>
            <a:custGeom>
              <a:avLst/>
              <a:gdLst>
                <a:gd name="connsiteX0" fmla="*/ 7406 w 154944"/>
                <a:gd name="connsiteY0" fmla="*/ 135 h 102121"/>
                <a:gd name="connsiteX1" fmla="*/ 14625 w 154944"/>
                <a:gd name="connsiteY1" fmla="*/ 14430 h 102121"/>
                <a:gd name="connsiteX2" fmla="*/ 24340 w 154944"/>
                <a:gd name="connsiteY2" fmla="*/ 11889 h 102121"/>
                <a:gd name="connsiteX3" fmla="*/ 43617 w 154944"/>
                <a:gd name="connsiteY3" fmla="*/ 17293 h 102121"/>
                <a:gd name="connsiteX4" fmla="*/ 80446 w 154944"/>
                <a:gd name="connsiteY4" fmla="*/ 19117 h 102121"/>
                <a:gd name="connsiteX5" fmla="*/ 92889 w 154944"/>
                <a:gd name="connsiteY5" fmla="*/ 10279 h 102121"/>
                <a:gd name="connsiteX6" fmla="*/ 122418 w 154944"/>
                <a:gd name="connsiteY6" fmla="*/ 2192 h 102121"/>
                <a:gd name="connsiteX7" fmla="*/ 140667 w 154944"/>
                <a:gd name="connsiteY7" fmla="*/ 14824 h 102121"/>
                <a:gd name="connsiteX8" fmla="*/ 155418 w 154944"/>
                <a:gd name="connsiteY8" fmla="*/ 18455 h 102121"/>
                <a:gd name="connsiteX9" fmla="*/ 142402 w 154944"/>
                <a:gd name="connsiteY9" fmla="*/ 32732 h 102121"/>
                <a:gd name="connsiteX10" fmla="*/ 133242 w 154944"/>
                <a:gd name="connsiteY10" fmla="*/ 57145 h 102121"/>
                <a:gd name="connsiteX11" fmla="*/ 141329 w 154944"/>
                <a:gd name="connsiteY11" fmla="*/ 76422 h 102121"/>
                <a:gd name="connsiteX12" fmla="*/ 119734 w 154944"/>
                <a:gd name="connsiteY12" fmla="*/ 71905 h 102121"/>
                <a:gd name="connsiteX13" fmla="*/ 94186 w 154944"/>
                <a:gd name="connsiteY13" fmla="*/ 82487 h 102121"/>
                <a:gd name="connsiteX14" fmla="*/ 93918 w 154944"/>
                <a:gd name="connsiteY14" fmla="*/ 99117 h 102121"/>
                <a:gd name="connsiteX15" fmla="*/ 71116 w 154944"/>
                <a:gd name="connsiteY15" fmla="*/ 102257 h 102121"/>
                <a:gd name="connsiteX16" fmla="*/ 53448 w 154944"/>
                <a:gd name="connsiteY16" fmla="*/ 90619 h 102121"/>
                <a:gd name="connsiteX17" fmla="*/ 33366 w 154944"/>
                <a:gd name="connsiteY17" fmla="*/ 99779 h 102121"/>
                <a:gd name="connsiteX18" fmla="*/ 14813 w 154944"/>
                <a:gd name="connsiteY18" fmla="*/ 98813 h 102121"/>
                <a:gd name="connsiteX19" fmla="*/ 13033 w 154944"/>
                <a:gd name="connsiteY19" fmla="*/ 76691 h 102121"/>
                <a:gd name="connsiteX20" fmla="*/ 473 w 154944"/>
                <a:gd name="connsiteY20" fmla="*/ 65876 h 102121"/>
                <a:gd name="connsiteX21" fmla="*/ 4597 w 154944"/>
                <a:gd name="connsiteY21" fmla="*/ 61098 h 102121"/>
                <a:gd name="connsiteX22" fmla="*/ 1878 w 154944"/>
                <a:gd name="connsiteY22" fmla="*/ 57064 h 102121"/>
                <a:gd name="connsiteX23" fmla="*/ 6091 w 154944"/>
                <a:gd name="connsiteY23" fmla="*/ 46240 h 102121"/>
                <a:gd name="connsiteX24" fmla="*/ 15654 w 154944"/>
                <a:gd name="connsiteY24" fmla="*/ 35550 h 102121"/>
                <a:gd name="connsiteX25" fmla="*/ 3470 w 154944"/>
                <a:gd name="connsiteY25" fmla="*/ 20692 h 102121"/>
                <a:gd name="connsiteX26" fmla="*/ 1216 w 154944"/>
                <a:gd name="connsiteY26" fmla="*/ 8034 h 102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4944" h="102121">
                  <a:moveTo>
                    <a:pt x="7406" y="135"/>
                  </a:moveTo>
                  <a:lnTo>
                    <a:pt x="14625" y="14430"/>
                  </a:lnTo>
                  <a:lnTo>
                    <a:pt x="24340" y="11889"/>
                  </a:lnTo>
                  <a:lnTo>
                    <a:pt x="43617" y="17293"/>
                  </a:lnTo>
                  <a:lnTo>
                    <a:pt x="80446" y="19117"/>
                  </a:lnTo>
                  <a:lnTo>
                    <a:pt x="92889" y="10279"/>
                  </a:lnTo>
                  <a:lnTo>
                    <a:pt x="122418" y="2192"/>
                  </a:lnTo>
                  <a:lnTo>
                    <a:pt x="140667" y="14824"/>
                  </a:lnTo>
                  <a:lnTo>
                    <a:pt x="155418" y="18455"/>
                  </a:lnTo>
                  <a:lnTo>
                    <a:pt x="142402" y="32732"/>
                  </a:lnTo>
                  <a:lnTo>
                    <a:pt x="133242" y="57145"/>
                  </a:lnTo>
                  <a:lnTo>
                    <a:pt x="141329" y="76422"/>
                  </a:lnTo>
                  <a:lnTo>
                    <a:pt x="119734" y="71905"/>
                  </a:lnTo>
                  <a:lnTo>
                    <a:pt x="94186" y="82487"/>
                  </a:lnTo>
                  <a:lnTo>
                    <a:pt x="93918" y="99117"/>
                  </a:lnTo>
                  <a:lnTo>
                    <a:pt x="71116" y="102257"/>
                  </a:lnTo>
                  <a:lnTo>
                    <a:pt x="53448" y="90619"/>
                  </a:lnTo>
                  <a:lnTo>
                    <a:pt x="33366" y="99779"/>
                  </a:lnTo>
                  <a:lnTo>
                    <a:pt x="14813" y="98813"/>
                  </a:lnTo>
                  <a:lnTo>
                    <a:pt x="13033" y="76691"/>
                  </a:lnTo>
                  <a:lnTo>
                    <a:pt x="473" y="65876"/>
                  </a:lnTo>
                  <a:lnTo>
                    <a:pt x="4597" y="61098"/>
                  </a:lnTo>
                  <a:lnTo>
                    <a:pt x="1878" y="57064"/>
                  </a:lnTo>
                  <a:lnTo>
                    <a:pt x="6091" y="46240"/>
                  </a:lnTo>
                  <a:lnTo>
                    <a:pt x="15654" y="35550"/>
                  </a:lnTo>
                  <a:lnTo>
                    <a:pt x="3470" y="20692"/>
                  </a:lnTo>
                  <a:lnTo>
                    <a:pt x="1216" y="803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6565690" y="4719638"/>
              <a:ext cx="43323" cy="53699"/>
            </a:xfrm>
            <a:custGeom>
              <a:avLst/>
              <a:gdLst>
                <a:gd name="connsiteX0" fmla="*/ 8377 w 43323"/>
                <a:gd name="connsiteY0" fmla="*/ 53893 h 53699"/>
                <a:gd name="connsiteX1" fmla="*/ 6785 w 43323"/>
                <a:gd name="connsiteY1" fmla="*/ 23773 h 53699"/>
                <a:gd name="connsiteX2" fmla="*/ 478 w 43323"/>
                <a:gd name="connsiteY2" fmla="*/ 12430 h 53699"/>
                <a:gd name="connsiteX3" fmla="*/ 15703 w 43323"/>
                <a:gd name="connsiteY3" fmla="*/ 14390 h 53699"/>
                <a:gd name="connsiteX4" fmla="*/ 23388 w 43323"/>
                <a:gd name="connsiteY4" fmla="*/ 193 h 53699"/>
                <a:gd name="connsiteX5" fmla="*/ 36716 w 43323"/>
                <a:gd name="connsiteY5" fmla="*/ 1821 h 53699"/>
                <a:gd name="connsiteX6" fmla="*/ 38166 w 43323"/>
                <a:gd name="connsiteY6" fmla="*/ 11643 h 53699"/>
                <a:gd name="connsiteX7" fmla="*/ 43569 w 43323"/>
                <a:gd name="connsiteY7" fmla="*/ 17297 h 53699"/>
                <a:gd name="connsiteX8" fmla="*/ 43802 w 43323"/>
                <a:gd name="connsiteY8" fmla="*/ 25410 h 53699"/>
                <a:gd name="connsiteX9" fmla="*/ 37611 w 43323"/>
                <a:gd name="connsiteY9" fmla="*/ 30634 h 53699"/>
                <a:gd name="connsiteX10" fmla="*/ 27852 w 43323"/>
                <a:gd name="connsiteY10" fmla="*/ 43650 h 53699"/>
                <a:gd name="connsiteX11" fmla="*/ 18745 w 43323"/>
                <a:gd name="connsiteY11" fmla="*/ 52703 h 5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323" h="53699">
                  <a:moveTo>
                    <a:pt x="8377" y="53893"/>
                  </a:moveTo>
                  <a:lnTo>
                    <a:pt x="6785" y="23773"/>
                  </a:lnTo>
                  <a:lnTo>
                    <a:pt x="478" y="12430"/>
                  </a:lnTo>
                  <a:lnTo>
                    <a:pt x="15703" y="14390"/>
                  </a:lnTo>
                  <a:lnTo>
                    <a:pt x="23388" y="193"/>
                  </a:lnTo>
                  <a:lnTo>
                    <a:pt x="36716" y="1821"/>
                  </a:lnTo>
                  <a:lnTo>
                    <a:pt x="38166" y="11643"/>
                  </a:lnTo>
                  <a:lnTo>
                    <a:pt x="43569" y="17297"/>
                  </a:lnTo>
                  <a:lnTo>
                    <a:pt x="43802" y="25410"/>
                  </a:lnTo>
                  <a:lnTo>
                    <a:pt x="37611" y="30634"/>
                  </a:lnTo>
                  <a:lnTo>
                    <a:pt x="27852" y="43650"/>
                  </a:lnTo>
                  <a:lnTo>
                    <a:pt x="18745" y="5270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5857054" y="4353892"/>
              <a:ext cx="75866" cy="153898"/>
            </a:xfrm>
            <a:custGeom>
              <a:avLst/>
              <a:gdLst>
                <a:gd name="connsiteX0" fmla="*/ 48591 w 75866"/>
                <a:gd name="connsiteY0" fmla="*/ 151143 h 153898"/>
                <a:gd name="connsiteX1" fmla="*/ 27865 w 75866"/>
                <a:gd name="connsiteY1" fmla="*/ 154077 h 153898"/>
                <a:gd name="connsiteX2" fmla="*/ 21683 w 75866"/>
                <a:gd name="connsiteY2" fmla="*/ 136777 h 153898"/>
                <a:gd name="connsiteX3" fmla="*/ 22828 w 75866"/>
                <a:gd name="connsiteY3" fmla="*/ 78988 h 153898"/>
                <a:gd name="connsiteX4" fmla="*/ 17774 w 75866"/>
                <a:gd name="connsiteY4" fmla="*/ 73782 h 153898"/>
                <a:gd name="connsiteX5" fmla="*/ 16826 w 75866"/>
                <a:gd name="connsiteY5" fmla="*/ 61384 h 153898"/>
                <a:gd name="connsiteX6" fmla="*/ 8113 w 75866"/>
                <a:gd name="connsiteY6" fmla="*/ 52519 h 153898"/>
                <a:gd name="connsiteX7" fmla="*/ 447 w 75866"/>
                <a:gd name="connsiteY7" fmla="*/ 45040 h 153898"/>
                <a:gd name="connsiteX8" fmla="*/ 3640 w 75866"/>
                <a:gd name="connsiteY8" fmla="*/ 31685 h 153898"/>
                <a:gd name="connsiteX9" fmla="*/ 12264 w 75866"/>
                <a:gd name="connsiteY9" fmla="*/ 28813 h 153898"/>
                <a:gd name="connsiteX10" fmla="*/ 17381 w 75866"/>
                <a:gd name="connsiteY10" fmla="*/ 17703 h 153898"/>
                <a:gd name="connsiteX11" fmla="*/ 29636 w 75866"/>
                <a:gd name="connsiteY11" fmla="*/ 15323 h 153898"/>
                <a:gd name="connsiteX12" fmla="*/ 35120 w 75866"/>
                <a:gd name="connsiteY12" fmla="*/ 7711 h 153898"/>
                <a:gd name="connsiteX13" fmla="*/ 43537 w 75866"/>
                <a:gd name="connsiteY13" fmla="*/ 250 h 153898"/>
                <a:gd name="connsiteX14" fmla="*/ 52527 w 75866"/>
                <a:gd name="connsiteY14" fmla="*/ 179 h 153898"/>
                <a:gd name="connsiteX15" fmla="*/ 71653 w 75866"/>
                <a:gd name="connsiteY15" fmla="*/ 14840 h 153898"/>
                <a:gd name="connsiteX16" fmla="*/ 70678 w 75866"/>
                <a:gd name="connsiteY16" fmla="*/ 23285 h 153898"/>
                <a:gd name="connsiteX17" fmla="*/ 76313 w 75866"/>
                <a:gd name="connsiteY17" fmla="*/ 38349 h 153898"/>
                <a:gd name="connsiteX18" fmla="*/ 71375 w 75866"/>
                <a:gd name="connsiteY18" fmla="*/ 48556 h 153898"/>
                <a:gd name="connsiteX19" fmla="*/ 74023 w 75866"/>
                <a:gd name="connsiteY19" fmla="*/ 55363 h 153898"/>
                <a:gd name="connsiteX20" fmla="*/ 61849 w 75866"/>
                <a:gd name="connsiteY20" fmla="*/ 71018 h 153898"/>
                <a:gd name="connsiteX21" fmla="*/ 54120 w 75866"/>
                <a:gd name="connsiteY21" fmla="*/ 78756 h 153898"/>
                <a:gd name="connsiteX22" fmla="*/ 49397 w 75866"/>
                <a:gd name="connsiteY22" fmla="*/ 94661 h 153898"/>
                <a:gd name="connsiteX23" fmla="*/ 50032 w 75866"/>
                <a:gd name="connsiteY23" fmla="*/ 110682 h 1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5866" h="153898">
                  <a:moveTo>
                    <a:pt x="48591" y="151143"/>
                  </a:moveTo>
                  <a:lnTo>
                    <a:pt x="27865" y="154077"/>
                  </a:lnTo>
                  <a:lnTo>
                    <a:pt x="21683" y="136777"/>
                  </a:lnTo>
                  <a:lnTo>
                    <a:pt x="22828" y="78988"/>
                  </a:lnTo>
                  <a:lnTo>
                    <a:pt x="17774" y="73782"/>
                  </a:lnTo>
                  <a:lnTo>
                    <a:pt x="16826" y="61384"/>
                  </a:lnTo>
                  <a:lnTo>
                    <a:pt x="8113" y="52519"/>
                  </a:lnTo>
                  <a:lnTo>
                    <a:pt x="447" y="45040"/>
                  </a:lnTo>
                  <a:lnTo>
                    <a:pt x="3640" y="31685"/>
                  </a:lnTo>
                  <a:lnTo>
                    <a:pt x="12264" y="28813"/>
                  </a:lnTo>
                  <a:lnTo>
                    <a:pt x="17381" y="17703"/>
                  </a:lnTo>
                  <a:lnTo>
                    <a:pt x="29636" y="15323"/>
                  </a:lnTo>
                  <a:lnTo>
                    <a:pt x="35120" y="7711"/>
                  </a:lnTo>
                  <a:lnTo>
                    <a:pt x="43537" y="250"/>
                  </a:lnTo>
                  <a:lnTo>
                    <a:pt x="52527" y="179"/>
                  </a:lnTo>
                  <a:lnTo>
                    <a:pt x="71653" y="14840"/>
                  </a:lnTo>
                  <a:lnTo>
                    <a:pt x="70678" y="23285"/>
                  </a:lnTo>
                  <a:lnTo>
                    <a:pt x="76313" y="38349"/>
                  </a:lnTo>
                  <a:lnTo>
                    <a:pt x="71375" y="48556"/>
                  </a:lnTo>
                  <a:lnTo>
                    <a:pt x="74023" y="55363"/>
                  </a:lnTo>
                  <a:lnTo>
                    <a:pt x="61849" y="71018"/>
                  </a:lnTo>
                  <a:lnTo>
                    <a:pt x="54120" y="78756"/>
                  </a:lnTo>
                  <a:lnTo>
                    <a:pt x="49397" y="94661"/>
                  </a:lnTo>
                  <a:lnTo>
                    <a:pt x="50032" y="11068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8702134" y="4525172"/>
              <a:ext cx="31273" cy="36005"/>
            </a:xfrm>
            <a:custGeom>
              <a:avLst/>
              <a:gdLst>
                <a:gd name="connsiteX0" fmla="*/ 576 w 31273"/>
                <a:gd name="connsiteY0" fmla="*/ 23245 h 36005"/>
                <a:gd name="connsiteX1" fmla="*/ 10505 w 31273"/>
                <a:gd name="connsiteY1" fmla="*/ 13888 h 36005"/>
                <a:gd name="connsiteX2" fmla="*/ 31849 w 31273"/>
                <a:gd name="connsiteY2" fmla="*/ 184 h 36005"/>
                <a:gd name="connsiteX3" fmla="*/ 30722 w 31273"/>
                <a:gd name="connsiteY3" fmla="*/ 12511 h 36005"/>
                <a:gd name="connsiteX4" fmla="*/ 29255 w 31273"/>
                <a:gd name="connsiteY4" fmla="*/ 28478 h 36005"/>
                <a:gd name="connsiteX5" fmla="*/ 17268 w 31273"/>
                <a:gd name="connsiteY5" fmla="*/ 27682 h 36005"/>
                <a:gd name="connsiteX6" fmla="*/ 11999 w 31273"/>
                <a:gd name="connsiteY6" fmla="*/ 36189 h 36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73" h="36005">
                  <a:moveTo>
                    <a:pt x="576" y="23245"/>
                  </a:moveTo>
                  <a:lnTo>
                    <a:pt x="10505" y="13888"/>
                  </a:lnTo>
                  <a:lnTo>
                    <a:pt x="31849" y="184"/>
                  </a:lnTo>
                  <a:lnTo>
                    <a:pt x="30722" y="12511"/>
                  </a:lnTo>
                  <a:lnTo>
                    <a:pt x="29255" y="28478"/>
                  </a:lnTo>
                  <a:lnTo>
                    <a:pt x="17268" y="27682"/>
                  </a:lnTo>
                  <a:lnTo>
                    <a:pt x="11999" y="3618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4092232" y="4905526"/>
              <a:ext cx="303288" cy="341414"/>
            </a:xfrm>
            <a:custGeom>
              <a:avLst/>
              <a:gdLst>
                <a:gd name="connsiteX0" fmla="*/ 169522 w 303288"/>
                <a:gd name="connsiteY0" fmla="*/ 319008 h 341414"/>
                <a:gd name="connsiteX1" fmla="*/ 140914 w 303288"/>
                <a:gd name="connsiteY1" fmla="*/ 317898 h 341414"/>
                <a:gd name="connsiteX2" fmla="*/ 131137 w 303288"/>
                <a:gd name="connsiteY2" fmla="*/ 339591 h 341414"/>
                <a:gd name="connsiteX3" fmla="*/ 116386 w 303288"/>
                <a:gd name="connsiteY3" fmla="*/ 320108 h 341414"/>
                <a:gd name="connsiteX4" fmla="*/ 83565 w 303288"/>
                <a:gd name="connsiteY4" fmla="*/ 313560 h 341414"/>
                <a:gd name="connsiteX5" fmla="*/ 62668 w 303288"/>
                <a:gd name="connsiteY5" fmla="*/ 337909 h 341414"/>
                <a:gd name="connsiteX6" fmla="*/ 44571 w 303288"/>
                <a:gd name="connsiteY6" fmla="*/ 341622 h 341414"/>
                <a:gd name="connsiteX7" fmla="*/ 34749 w 303288"/>
                <a:gd name="connsiteY7" fmla="*/ 304498 h 341414"/>
                <a:gd name="connsiteX8" fmla="*/ 21268 w 303288"/>
                <a:gd name="connsiteY8" fmla="*/ 274548 h 341414"/>
                <a:gd name="connsiteX9" fmla="*/ 29167 w 303288"/>
                <a:gd name="connsiteY9" fmla="*/ 248893 h 341414"/>
                <a:gd name="connsiteX10" fmla="*/ 16008 w 303288"/>
                <a:gd name="connsiteY10" fmla="*/ 237711 h 341414"/>
                <a:gd name="connsiteX11" fmla="*/ 12663 w 303288"/>
                <a:gd name="connsiteY11" fmla="*/ 218729 h 341414"/>
                <a:gd name="connsiteX12" fmla="*/ 371 w 303288"/>
                <a:gd name="connsiteY12" fmla="*/ 200909 h 341414"/>
                <a:gd name="connsiteX13" fmla="*/ 16187 w 303288"/>
                <a:gd name="connsiteY13" fmla="*/ 172767 h 341414"/>
                <a:gd name="connsiteX14" fmla="*/ 5399 w 303288"/>
                <a:gd name="connsiteY14" fmla="*/ 150967 h 341414"/>
                <a:gd name="connsiteX15" fmla="*/ 11151 w 303288"/>
                <a:gd name="connsiteY15" fmla="*/ 142271 h 341414"/>
                <a:gd name="connsiteX16" fmla="*/ 6660 w 303288"/>
                <a:gd name="connsiteY16" fmla="*/ 132700 h 341414"/>
                <a:gd name="connsiteX17" fmla="*/ 16464 w 303288"/>
                <a:gd name="connsiteY17" fmla="*/ 119818 h 341414"/>
                <a:gd name="connsiteX18" fmla="*/ 16947 w 303288"/>
                <a:gd name="connsiteY18" fmla="*/ 97964 h 341414"/>
                <a:gd name="connsiteX19" fmla="*/ 18191 w 303288"/>
                <a:gd name="connsiteY19" fmla="*/ 79966 h 341414"/>
                <a:gd name="connsiteX20" fmla="*/ 23576 w 303288"/>
                <a:gd name="connsiteY20" fmla="*/ 71316 h 341414"/>
                <a:gd name="connsiteX21" fmla="*/ 1892 w 303288"/>
                <a:gd name="connsiteY21" fmla="*/ 30345 h 341414"/>
                <a:gd name="connsiteX22" fmla="*/ 20543 w 303288"/>
                <a:gd name="connsiteY22" fmla="*/ 32492 h 341414"/>
                <a:gd name="connsiteX23" fmla="*/ 33461 w 303288"/>
                <a:gd name="connsiteY23" fmla="*/ 31938 h 341414"/>
                <a:gd name="connsiteX24" fmla="*/ 39052 w 303288"/>
                <a:gd name="connsiteY24" fmla="*/ 24263 h 341414"/>
                <a:gd name="connsiteX25" fmla="*/ 60986 w 303288"/>
                <a:gd name="connsiteY25" fmla="*/ 13993 h 341414"/>
                <a:gd name="connsiteX26" fmla="*/ 74199 w 303288"/>
                <a:gd name="connsiteY26" fmla="*/ 4484 h 341414"/>
                <a:gd name="connsiteX27" fmla="*/ 107019 w 303288"/>
                <a:gd name="connsiteY27" fmla="*/ 208 h 341414"/>
                <a:gd name="connsiteX28" fmla="*/ 104345 w 303288"/>
                <a:gd name="connsiteY28" fmla="*/ 19173 h 341414"/>
                <a:gd name="connsiteX29" fmla="*/ 107431 w 303288"/>
                <a:gd name="connsiteY29" fmla="*/ 28923 h 341414"/>
                <a:gd name="connsiteX30" fmla="*/ 105418 w 303288"/>
                <a:gd name="connsiteY30" fmla="*/ 45955 h 341414"/>
                <a:gd name="connsiteX31" fmla="*/ 132649 w 303288"/>
                <a:gd name="connsiteY31" fmla="*/ 68784 h 341414"/>
                <a:gd name="connsiteX32" fmla="*/ 160737 w 303288"/>
                <a:gd name="connsiteY32" fmla="*/ 72998 h 341414"/>
                <a:gd name="connsiteX33" fmla="*/ 170613 w 303288"/>
                <a:gd name="connsiteY33" fmla="*/ 82542 h 341414"/>
                <a:gd name="connsiteX34" fmla="*/ 187565 w 303288"/>
                <a:gd name="connsiteY34" fmla="*/ 87615 h 341414"/>
                <a:gd name="connsiteX35" fmla="*/ 197942 w 303288"/>
                <a:gd name="connsiteY35" fmla="*/ 95057 h 341414"/>
                <a:gd name="connsiteX36" fmla="*/ 213721 w 303288"/>
                <a:gd name="connsiteY36" fmla="*/ 94798 h 341414"/>
                <a:gd name="connsiteX37" fmla="*/ 228294 w 303288"/>
                <a:gd name="connsiteY37" fmla="*/ 102401 h 341414"/>
                <a:gd name="connsiteX38" fmla="*/ 229394 w 303288"/>
                <a:gd name="connsiteY38" fmla="*/ 117260 h 341414"/>
                <a:gd name="connsiteX39" fmla="*/ 234287 w 303288"/>
                <a:gd name="connsiteY39" fmla="*/ 124774 h 341414"/>
                <a:gd name="connsiteX40" fmla="*/ 234609 w 303288"/>
                <a:gd name="connsiteY40" fmla="*/ 135893 h 341414"/>
                <a:gd name="connsiteX41" fmla="*/ 227301 w 303288"/>
                <a:gd name="connsiteY41" fmla="*/ 136323 h 341414"/>
                <a:gd name="connsiteX42" fmla="*/ 236944 w 303288"/>
                <a:gd name="connsiteY42" fmla="*/ 166469 h 341414"/>
                <a:gd name="connsiteX43" fmla="*/ 285026 w 303288"/>
                <a:gd name="connsiteY43" fmla="*/ 167543 h 341414"/>
                <a:gd name="connsiteX44" fmla="*/ 281349 w 303288"/>
                <a:gd name="connsiteY44" fmla="*/ 182562 h 341414"/>
                <a:gd name="connsiteX45" fmla="*/ 284033 w 303288"/>
                <a:gd name="connsiteY45" fmla="*/ 192858 h 341414"/>
                <a:gd name="connsiteX46" fmla="*/ 297738 w 303288"/>
                <a:gd name="connsiteY46" fmla="*/ 200185 h 341414"/>
                <a:gd name="connsiteX47" fmla="*/ 303660 w 303288"/>
                <a:gd name="connsiteY47" fmla="*/ 216474 h 341414"/>
                <a:gd name="connsiteX48" fmla="*/ 299205 w 303288"/>
                <a:gd name="connsiteY48" fmla="*/ 237192 h 341414"/>
                <a:gd name="connsiteX49" fmla="*/ 292334 w 303288"/>
                <a:gd name="connsiteY49" fmla="*/ 248759 h 341414"/>
                <a:gd name="connsiteX50" fmla="*/ 294750 w 303288"/>
                <a:gd name="connsiteY50" fmla="*/ 263850 h 341414"/>
                <a:gd name="connsiteX51" fmla="*/ 286905 w 303288"/>
                <a:gd name="connsiteY51" fmla="*/ 269334 h 341414"/>
                <a:gd name="connsiteX52" fmla="*/ 286475 w 303288"/>
                <a:gd name="connsiteY52" fmla="*/ 261157 h 341414"/>
                <a:gd name="connsiteX53" fmla="*/ 263110 w 303288"/>
                <a:gd name="connsiteY53" fmla="*/ 247614 h 341414"/>
                <a:gd name="connsiteX54" fmla="*/ 239815 w 303288"/>
                <a:gd name="connsiteY54" fmla="*/ 247247 h 341414"/>
                <a:gd name="connsiteX55" fmla="*/ 196108 w 303288"/>
                <a:gd name="connsiteY55" fmla="*/ 254940 h 341414"/>
                <a:gd name="connsiteX56" fmla="*/ 184076 w 303288"/>
                <a:gd name="connsiteY56" fmla="*/ 278297 h 341414"/>
                <a:gd name="connsiteX57" fmla="*/ 183450 w 303288"/>
                <a:gd name="connsiteY57" fmla="*/ 292645 h 341414"/>
                <a:gd name="connsiteX58" fmla="*/ 173565 w 303288"/>
                <a:gd name="connsiteY58" fmla="*/ 324769 h 34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03288" h="341414">
                  <a:moveTo>
                    <a:pt x="169522" y="319008"/>
                  </a:moveTo>
                  <a:lnTo>
                    <a:pt x="140914" y="317898"/>
                  </a:lnTo>
                  <a:lnTo>
                    <a:pt x="131137" y="339591"/>
                  </a:lnTo>
                  <a:lnTo>
                    <a:pt x="116386" y="320108"/>
                  </a:lnTo>
                  <a:lnTo>
                    <a:pt x="83565" y="313560"/>
                  </a:lnTo>
                  <a:lnTo>
                    <a:pt x="62668" y="337909"/>
                  </a:lnTo>
                  <a:lnTo>
                    <a:pt x="44571" y="341622"/>
                  </a:lnTo>
                  <a:lnTo>
                    <a:pt x="34749" y="304498"/>
                  </a:lnTo>
                  <a:lnTo>
                    <a:pt x="21268" y="274548"/>
                  </a:lnTo>
                  <a:lnTo>
                    <a:pt x="29167" y="248893"/>
                  </a:lnTo>
                  <a:lnTo>
                    <a:pt x="16008" y="237711"/>
                  </a:lnTo>
                  <a:lnTo>
                    <a:pt x="12663" y="218729"/>
                  </a:lnTo>
                  <a:lnTo>
                    <a:pt x="371" y="200909"/>
                  </a:lnTo>
                  <a:lnTo>
                    <a:pt x="16187" y="172767"/>
                  </a:lnTo>
                  <a:lnTo>
                    <a:pt x="5399" y="150967"/>
                  </a:lnTo>
                  <a:lnTo>
                    <a:pt x="11151" y="142271"/>
                  </a:lnTo>
                  <a:lnTo>
                    <a:pt x="6660" y="132700"/>
                  </a:lnTo>
                  <a:lnTo>
                    <a:pt x="16464" y="119818"/>
                  </a:lnTo>
                  <a:lnTo>
                    <a:pt x="16947" y="97964"/>
                  </a:lnTo>
                  <a:lnTo>
                    <a:pt x="18191" y="79966"/>
                  </a:lnTo>
                  <a:lnTo>
                    <a:pt x="23576" y="71316"/>
                  </a:lnTo>
                  <a:lnTo>
                    <a:pt x="1892" y="30345"/>
                  </a:lnTo>
                  <a:lnTo>
                    <a:pt x="20543" y="32492"/>
                  </a:lnTo>
                  <a:lnTo>
                    <a:pt x="33461" y="31938"/>
                  </a:lnTo>
                  <a:lnTo>
                    <a:pt x="39052" y="24263"/>
                  </a:lnTo>
                  <a:lnTo>
                    <a:pt x="60986" y="13993"/>
                  </a:lnTo>
                  <a:lnTo>
                    <a:pt x="74199" y="4484"/>
                  </a:lnTo>
                  <a:lnTo>
                    <a:pt x="107019" y="208"/>
                  </a:lnTo>
                  <a:lnTo>
                    <a:pt x="104345" y="19173"/>
                  </a:lnTo>
                  <a:lnTo>
                    <a:pt x="107431" y="28923"/>
                  </a:lnTo>
                  <a:lnTo>
                    <a:pt x="105418" y="45955"/>
                  </a:lnTo>
                  <a:lnTo>
                    <a:pt x="132649" y="68784"/>
                  </a:lnTo>
                  <a:lnTo>
                    <a:pt x="160737" y="72998"/>
                  </a:lnTo>
                  <a:lnTo>
                    <a:pt x="170613" y="82542"/>
                  </a:lnTo>
                  <a:lnTo>
                    <a:pt x="187565" y="87615"/>
                  </a:lnTo>
                  <a:lnTo>
                    <a:pt x="197942" y="95057"/>
                  </a:lnTo>
                  <a:lnTo>
                    <a:pt x="213721" y="94798"/>
                  </a:lnTo>
                  <a:lnTo>
                    <a:pt x="228294" y="102401"/>
                  </a:lnTo>
                  <a:lnTo>
                    <a:pt x="229394" y="117260"/>
                  </a:lnTo>
                  <a:lnTo>
                    <a:pt x="234287" y="124774"/>
                  </a:lnTo>
                  <a:lnTo>
                    <a:pt x="234609" y="135893"/>
                  </a:lnTo>
                  <a:lnTo>
                    <a:pt x="227301" y="136323"/>
                  </a:lnTo>
                  <a:lnTo>
                    <a:pt x="236944" y="166469"/>
                  </a:lnTo>
                  <a:lnTo>
                    <a:pt x="285026" y="167543"/>
                  </a:lnTo>
                  <a:lnTo>
                    <a:pt x="281349" y="182562"/>
                  </a:lnTo>
                  <a:lnTo>
                    <a:pt x="284033" y="192858"/>
                  </a:lnTo>
                  <a:lnTo>
                    <a:pt x="297738" y="200185"/>
                  </a:lnTo>
                  <a:lnTo>
                    <a:pt x="303660" y="216474"/>
                  </a:lnTo>
                  <a:lnTo>
                    <a:pt x="299205" y="237192"/>
                  </a:lnTo>
                  <a:lnTo>
                    <a:pt x="292334" y="248759"/>
                  </a:lnTo>
                  <a:lnTo>
                    <a:pt x="294750" y="263850"/>
                  </a:lnTo>
                  <a:lnTo>
                    <a:pt x="286905" y="269334"/>
                  </a:lnTo>
                  <a:lnTo>
                    <a:pt x="286475" y="261157"/>
                  </a:lnTo>
                  <a:lnTo>
                    <a:pt x="263110" y="247614"/>
                  </a:lnTo>
                  <a:lnTo>
                    <a:pt x="239815" y="247247"/>
                  </a:lnTo>
                  <a:lnTo>
                    <a:pt x="196108" y="254940"/>
                  </a:lnTo>
                  <a:lnTo>
                    <a:pt x="184076" y="278297"/>
                  </a:lnTo>
                  <a:lnTo>
                    <a:pt x="183450" y="292645"/>
                  </a:lnTo>
                  <a:lnTo>
                    <a:pt x="173565" y="32476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3981952" y="4530262"/>
              <a:ext cx="984640" cy="1026245"/>
            </a:xfrm>
            <a:custGeom>
              <a:avLst/>
              <a:gdLst>
                <a:gd name="connsiteX0" fmla="*/ 410775 w 984640"/>
                <a:gd name="connsiteY0" fmla="*/ 921879 h 1026245"/>
                <a:gd name="connsiteX1" fmla="*/ 444231 w 984640"/>
                <a:gd name="connsiteY1" fmla="*/ 882770 h 1026245"/>
                <a:gd name="connsiteX2" fmla="*/ 472543 w 984640"/>
                <a:gd name="connsiteY2" fmla="*/ 855236 h 1026245"/>
                <a:gd name="connsiteX3" fmla="*/ 489388 w 984640"/>
                <a:gd name="connsiteY3" fmla="*/ 843767 h 1026245"/>
                <a:gd name="connsiteX4" fmla="*/ 510508 w 984640"/>
                <a:gd name="connsiteY4" fmla="*/ 828310 h 1026245"/>
                <a:gd name="connsiteX5" fmla="*/ 511018 w 984640"/>
                <a:gd name="connsiteY5" fmla="*/ 806035 h 1026245"/>
                <a:gd name="connsiteX6" fmla="*/ 498432 w 984640"/>
                <a:gd name="connsiteY6" fmla="*/ 790041 h 1026245"/>
                <a:gd name="connsiteX7" fmla="*/ 486015 w 984640"/>
                <a:gd name="connsiteY7" fmla="*/ 795345 h 1026245"/>
                <a:gd name="connsiteX8" fmla="*/ 490935 w 984640"/>
                <a:gd name="connsiteY8" fmla="*/ 779395 h 1026245"/>
                <a:gd name="connsiteX9" fmla="*/ 494335 w 984640"/>
                <a:gd name="connsiteY9" fmla="*/ 763141 h 1026245"/>
                <a:gd name="connsiteX10" fmla="*/ 494344 w 984640"/>
                <a:gd name="connsiteY10" fmla="*/ 748095 h 1026245"/>
                <a:gd name="connsiteX11" fmla="*/ 485326 w 984640"/>
                <a:gd name="connsiteY11" fmla="*/ 743148 h 1026245"/>
                <a:gd name="connsiteX12" fmla="*/ 475916 w 984640"/>
                <a:gd name="connsiteY12" fmla="*/ 747558 h 1026245"/>
                <a:gd name="connsiteX13" fmla="*/ 466559 w 984640"/>
                <a:gd name="connsiteY13" fmla="*/ 746342 h 1026245"/>
                <a:gd name="connsiteX14" fmla="*/ 463633 w 984640"/>
                <a:gd name="connsiteY14" fmla="*/ 735858 h 1026245"/>
                <a:gd name="connsiteX15" fmla="*/ 461299 w 984640"/>
                <a:gd name="connsiteY15" fmla="*/ 711007 h 1026245"/>
                <a:gd name="connsiteX16" fmla="*/ 456602 w 984640"/>
                <a:gd name="connsiteY16" fmla="*/ 702938 h 1026245"/>
                <a:gd name="connsiteX17" fmla="*/ 439660 w 984640"/>
                <a:gd name="connsiteY17" fmla="*/ 695648 h 1026245"/>
                <a:gd name="connsiteX18" fmla="*/ 429426 w 984640"/>
                <a:gd name="connsiteY18" fmla="*/ 700926 h 1026245"/>
                <a:gd name="connsiteX19" fmla="*/ 402947 w 984640"/>
                <a:gd name="connsiteY19" fmla="*/ 695755 h 1026245"/>
                <a:gd name="connsiteX20" fmla="*/ 404611 w 984640"/>
                <a:gd name="connsiteY20" fmla="*/ 659392 h 1026245"/>
                <a:gd name="connsiteX21" fmla="*/ 397195 w 984640"/>
                <a:gd name="connsiteY21" fmla="*/ 644596 h 1026245"/>
                <a:gd name="connsiteX22" fmla="*/ 405041 w 984640"/>
                <a:gd name="connsiteY22" fmla="*/ 639112 h 1026245"/>
                <a:gd name="connsiteX23" fmla="*/ 402625 w 984640"/>
                <a:gd name="connsiteY23" fmla="*/ 624021 h 1026245"/>
                <a:gd name="connsiteX24" fmla="*/ 409495 w 984640"/>
                <a:gd name="connsiteY24" fmla="*/ 612455 h 1026245"/>
                <a:gd name="connsiteX25" fmla="*/ 413950 w 984640"/>
                <a:gd name="connsiteY25" fmla="*/ 591737 h 1026245"/>
                <a:gd name="connsiteX26" fmla="*/ 408028 w 984640"/>
                <a:gd name="connsiteY26" fmla="*/ 575447 h 1026245"/>
                <a:gd name="connsiteX27" fmla="*/ 394324 w 984640"/>
                <a:gd name="connsiteY27" fmla="*/ 568121 h 1026245"/>
                <a:gd name="connsiteX28" fmla="*/ 391640 w 984640"/>
                <a:gd name="connsiteY28" fmla="*/ 557824 h 1026245"/>
                <a:gd name="connsiteX29" fmla="*/ 395317 w 984640"/>
                <a:gd name="connsiteY29" fmla="*/ 542805 h 1026245"/>
                <a:gd name="connsiteX30" fmla="*/ 347235 w 984640"/>
                <a:gd name="connsiteY30" fmla="*/ 541731 h 1026245"/>
                <a:gd name="connsiteX31" fmla="*/ 337591 w 984640"/>
                <a:gd name="connsiteY31" fmla="*/ 511585 h 1026245"/>
                <a:gd name="connsiteX32" fmla="*/ 344900 w 984640"/>
                <a:gd name="connsiteY32" fmla="*/ 511156 h 1026245"/>
                <a:gd name="connsiteX33" fmla="*/ 344578 w 984640"/>
                <a:gd name="connsiteY33" fmla="*/ 500036 h 1026245"/>
                <a:gd name="connsiteX34" fmla="*/ 339685 w 984640"/>
                <a:gd name="connsiteY34" fmla="*/ 492522 h 1026245"/>
                <a:gd name="connsiteX35" fmla="*/ 338584 w 984640"/>
                <a:gd name="connsiteY35" fmla="*/ 477664 h 1026245"/>
                <a:gd name="connsiteX36" fmla="*/ 324012 w 984640"/>
                <a:gd name="connsiteY36" fmla="*/ 470060 h 1026245"/>
                <a:gd name="connsiteX37" fmla="*/ 308232 w 984640"/>
                <a:gd name="connsiteY37" fmla="*/ 470320 h 1026245"/>
                <a:gd name="connsiteX38" fmla="*/ 297856 w 984640"/>
                <a:gd name="connsiteY38" fmla="*/ 462877 h 1026245"/>
                <a:gd name="connsiteX39" fmla="*/ 280904 w 984640"/>
                <a:gd name="connsiteY39" fmla="*/ 457805 h 1026245"/>
                <a:gd name="connsiteX40" fmla="*/ 271028 w 984640"/>
                <a:gd name="connsiteY40" fmla="*/ 448260 h 1026245"/>
                <a:gd name="connsiteX41" fmla="*/ 242939 w 984640"/>
                <a:gd name="connsiteY41" fmla="*/ 444046 h 1026245"/>
                <a:gd name="connsiteX42" fmla="*/ 215709 w 984640"/>
                <a:gd name="connsiteY42" fmla="*/ 421218 h 1026245"/>
                <a:gd name="connsiteX43" fmla="*/ 217722 w 984640"/>
                <a:gd name="connsiteY43" fmla="*/ 404185 h 1026245"/>
                <a:gd name="connsiteX44" fmla="*/ 214636 w 984640"/>
                <a:gd name="connsiteY44" fmla="*/ 394435 h 1026245"/>
                <a:gd name="connsiteX45" fmla="*/ 217310 w 984640"/>
                <a:gd name="connsiteY45" fmla="*/ 375470 h 1026245"/>
                <a:gd name="connsiteX46" fmla="*/ 184489 w 984640"/>
                <a:gd name="connsiteY46" fmla="*/ 379746 h 1026245"/>
                <a:gd name="connsiteX47" fmla="*/ 171277 w 984640"/>
                <a:gd name="connsiteY47" fmla="*/ 389255 h 1026245"/>
                <a:gd name="connsiteX48" fmla="*/ 149342 w 984640"/>
                <a:gd name="connsiteY48" fmla="*/ 399525 h 1026245"/>
                <a:gd name="connsiteX49" fmla="*/ 143751 w 984640"/>
                <a:gd name="connsiteY49" fmla="*/ 407200 h 1026245"/>
                <a:gd name="connsiteX50" fmla="*/ 130834 w 984640"/>
                <a:gd name="connsiteY50" fmla="*/ 407755 h 1026245"/>
                <a:gd name="connsiteX51" fmla="*/ 112183 w 984640"/>
                <a:gd name="connsiteY51" fmla="*/ 405608 h 1026245"/>
                <a:gd name="connsiteX52" fmla="*/ 98031 w 984640"/>
                <a:gd name="connsiteY52" fmla="*/ 409973 h 1026245"/>
                <a:gd name="connsiteX53" fmla="*/ 86626 w 984640"/>
                <a:gd name="connsiteY53" fmla="*/ 407057 h 1026245"/>
                <a:gd name="connsiteX54" fmla="*/ 88298 w 984640"/>
                <a:gd name="connsiteY54" fmla="*/ 368591 h 1026245"/>
                <a:gd name="connsiteX55" fmla="*/ 67724 w 984640"/>
                <a:gd name="connsiteY55" fmla="*/ 383495 h 1026245"/>
                <a:gd name="connsiteX56" fmla="*/ 45583 w 984640"/>
                <a:gd name="connsiteY56" fmla="*/ 382842 h 1026245"/>
                <a:gd name="connsiteX57" fmla="*/ 36101 w 984640"/>
                <a:gd name="connsiteY57" fmla="*/ 369352 h 1026245"/>
                <a:gd name="connsiteX58" fmla="*/ 19454 w 984640"/>
                <a:gd name="connsiteY58" fmla="*/ 367884 h 1026245"/>
                <a:gd name="connsiteX59" fmla="*/ 24758 w 984640"/>
                <a:gd name="connsiteY59" fmla="*/ 357043 h 1026245"/>
                <a:gd name="connsiteX60" fmla="*/ 10821 w 984640"/>
                <a:gd name="connsiteY60" fmla="*/ 341710 h 1026245"/>
                <a:gd name="connsiteX61" fmla="*/ 382 w 984640"/>
                <a:gd name="connsiteY61" fmla="*/ 319051 h 1026245"/>
                <a:gd name="connsiteX62" fmla="*/ 6993 w 984640"/>
                <a:gd name="connsiteY62" fmla="*/ 314453 h 1026245"/>
                <a:gd name="connsiteX63" fmla="*/ 6975 w 984640"/>
                <a:gd name="connsiteY63" fmla="*/ 303853 h 1026245"/>
                <a:gd name="connsiteX64" fmla="*/ 22128 w 984640"/>
                <a:gd name="connsiteY64" fmla="*/ 296607 h 1026245"/>
                <a:gd name="connsiteX65" fmla="*/ 19633 w 984640"/>
                <a:gd name="connsiteY65" fmla="*/ 283046 h 1026245"/>
                <a:gd name="connsiteX66" fmla="*/ 26029 w 984640"/>
                <a:gd name="connsiteY66" fmla="*/ 274333 h 1026245"/>
                <a:gd name="connsiteX67" fmla="*/ 27854 w 984640"/>
                <a:gd name="connsiteY67" fmla="*/ 262650 h 1026245"/>
                <a:gd name="connsiteX68" fmla="*/ 56533 w 984640"/>
                <a:gd name="connsiteY68" fmla="*/ 245635 h 1026245"/>
                <a:gd name="connsiteX69" fmla="*/ 77090 w 984640"/>
                <a:gd name="connsiteY69" fmla="*/ 240823 h 1026245"/>
                <a:gd name="connsiteX70" fmla="*/ 80453 w 984640"/>
                <a:gd name="connsiteY70" fmla="*/ 237066 h 1026245"/>
                <a:gd name="connsiteX71" fmla="*/ 103058 w 984640"/>
                <a:gd name="connsiteY71" fmla="*/ 238237 h 1026245"/>
                <a:gd name="connsiteX72" fmla="*/ 114330 w 984640"/>
                <a:gd name="connsiteY72" fmla="*/ 169831 h 1026245"/>
                <a:gd name="connsiteX73" fmla="*/ 114920 w 984640"/>
                <a:gd name="connsiteY73" fmla="*/ 159025 h 1026245"/>
                <a:gd name="connsiteX74" fmla="*/ 110993 w 984640"/>
                <a:gd name="connsiteY74" fmla="*/ 144757 h 1026245"/>
                <a:gd name="connsiteX75" fmla="*/ 99865 w 984640"/>
                <a:gd name="connsiteY75" fmla="*/ 135668 h 1026245"/>
                <a:gd name="connsiteX76" fmla="*/ 99990 w 984640"/>
                <a:gd name="connsiteY76" fmla="*/ 117563 h 1026245"/>
                <a:gd name="connsiteX77" fmla="*/ 114124 w 984640"/>
                <a:gd name="connsiteY77" fmla="*/ 113457 h 1026245"/>
                <a:gd name="connsiteX78" fmla="*/ 119133 w 984640"/>
                <a:gd name="connsiteY78" fmla="*/ 116042 h 1026245"/>
                <a:gd name="connsiteX79" fmla="*/ 119983 w 984640"/>
                <a:gd name="connsiteY79" fmla="*/ 106497 h 1026245"/>
                <a:gd name="connsiteX80" fmla="*/ 105286 w 984640"/>
                <a:gd name="connsiteY80" fmla="*/ 103921 h 1026245"/>
                <a:gd name="connsiteX81" fmla="*/ 104982 w 984640"/>
                <a:gd name="connsiteY81" fmla="*/ 88320 h 1026245"/>
                <a:gd name="connsiteX82" fmla="*/ 153842 w 984640"/>
                <a:gd name="connsiteY82" fmla="*/ 88883 h 1026245"/>
                <a:gd name="connsiteX83" fmla="*/ 162143 w 984640"/>
                <a:gd name="connsiteY83" fmla="*/ 80287 h 1026245"/>
                <a:gd name="connsiteX84" fmla="*/ 169112 w 984640"/>
                <a:gd name="connsiteY84" fmla="*/ 88195 h 1026245"/>
                <a:gd name="connsiteX85" fmla="*/ 173996 w 984640"/>
                <a:gd name="connsiteY85" fmla="*/ 102892 h 1026245"/>
                <a:gd name="connsiteX86" fmla="*/ 178737 w 984640"/>
                <a:gd name="connsiteY86" fmla="*/ 99824 h 1026245"/>
                <a:gd name="connsiteX87" fmla="*/ 192540 w 984640"/>
                <a:gd name="connsiteY87" fmla="*/ 113000 h 1026245"/>
                <a:gd name="connsiteX88" fmla="*/ 212041 w 984640"/>
                <a:gd name="connsiteY88" fmla="*/ 111390 h 1026245"/>
                <a:gd name="connsiteX89" fmla="*/ 216899 w 984640"/>
                <a:gd name="connsiteY89" fmla="*/ 103760 h 1026245"/>
                <a:gd name="connsiteX90" fmla="*/ 235550 w 984640"/>
                <a:gd name="connsiteY90" fmla="*/ 97945 h 1026245"/>
                <a:gd name="connsiteX91" fmla="*/ 245882 w 984640"/>
                <a:gd name="connsiteY91" fmla="*/ 93857 h 1026245"/>
                <a:gd name="connsiteX92" fmla="*/ 248789 w 984640"/>
                <a:gd name="connsiteY92" fmla="*/ 83301 h 1026245"/>
                <a:gd name="connsiteX93" fmla="*/ 266707 w 984640"/>
                <a:gd name="connsiteY93" fmla="*/ 76208 h 1026245"/>
                <a:gd name="connsiteX94" fmla="*/ 265356 w 984640"/>
                <a:gd name="connsiteY94" fmla="*/ 70966 h 1026245"/>
                <a:gd name="connsiteX95" fmla="*/ 244102 w 984640"/>
                <a:gd name="connsiteY95" fmla="*/ 68827 h 1026245"/>
                <a:gd name="connsiteX96" fmla="*/ 240622 w 984640"/>
                <a:gd name="connsiteY96" fmla="*/ 53110 h 1026245"/>
                <a:gd name="connsiteX97" fmla="*/ 241633 w 984640"/>
                <a:gd name="connsiteY97" fmla="*/ 36382 h 1026245"/>
                <a:gd name="connsiteX98" fmla="*/ 230407 w 984640"/>
                <a:gd name="connsiteY98" fmla="*/ 29906 h 1026245"/>
                <a:gd name="connsiteX99" fmla="*/ 235112 w 984640"/>
                <a:gd name="connsiteY99" fmla="*/ 27607 h 1026245"/>
                <a:gd name="connsiteX100" fmla="*/ 253683 w 984640"/>
                <a:gd name="connsiteY100" fmla="*/ 30800 h 1026245"/>
                <a:gd name="connsiteX101" fmla="*/ 273622 w 984640"/>
                <a:gd name="connsiteY101" fmla="*/ 37044 h 1026245"/>
                <a:gd name="connsiteX102" fmla="*/ 280859 w 984640"/>
                <a:gd name="connsiteY102" fmla="*/ 31140 h 1026245"/>
                <a:gd name="connsiteX103" fmla="*/ 298902 w 984640"/>
                <a:gd name="connsiteY103" fmla="*/ 27267 h 1026245"/>
                <a:gd name="connsiteX104" fmla="*/ 326955 w 984640"/>
                <a:gd name="connsiteY104" fmla="*/ 17910 h 1026245"/>
                <a:gd name="connsiteX105" fmla="*/ 336124 w 984640"/>
                <a:gd name="connsiteY105" fmla="*/ 8374 h 1026245"/>
                <a:gd name="connsiteX106" fmla="*/ 332806 w 984640"/>
                <a:gd name="connsiteY106" fmla="*/ 1316 h 1026245"/>
                <a:gd name="connsiteX107" fmla="*/ 345848 w 984640"/>
                <a:gd name="connsiteY107" fmla="*/ 207 h 1026245"/>
                <a:gd name="connsiteX108" fmla="*/ 351681 w 984640"/>
                <a:gd name="connsiteY108" fmla="*/ 5968 h 1026245"/>
                <a:gd name="connsiteX109" fmla="*/ 348415 w 984640"/>
                <a:gd name="connsiteY109" fmla="*/ 16953 h 1026245"/>
                <a:gd name="connsiteX110" fmla="*/ 357039 w 984640"/>
                <a:gd name="connsiteY110" fmla="*/ 20737 h 1026245"/>
                <a:gd name="connsiteX111" fmla="*/ 362791 w 984640"/>
                <a:gd name="connsiteY111" fmla="*/ 32348 h 1026245"/>
                <a:gd name="connsiteX112" fmla="*/ 355840 w 984640"/>
                <a:gd name="connsiteY112" fmla="*/ 41141 h 1026245"/>
                <a:gd name="connsiteX113" fmla="*/ 351842 w 984640"/>
                <a:gd name="connsiteY113" fmla="*/ 62378 h 1026245"/>
                <a:gd name="connsiteX114" fmla="*/ 358265 w 984640"/>
                <a:gd name="connsiteY114" fmla="*/ 74991 h 1026245"/>
                <a:gd name="connsiteX115" fmla="*/ 360080 w 984640"/>
                <a:gd name="connsiteY115" fmla="*/ 86531 h 1026245"/>
                <a:gd name="connsiteX116" fmla="*/ 375512 w 984640"/>
                <a:gd name="connsiteY116" fmla="*/ 98222 h 1026245"/>
                <a:gd name="connsiteX117" fmla="*/ 387820 w 984640"/>
                <a:gd name="connsiteY117" fmla="*/ 99457 h 1026245"/>
                <a:gd name="connsiteX118" fmla="*/ 390593 w 984640"/>
                <a:gd name="connsiteY118" fmla="*/ 94582 h 1026245"/>
                <a:gd name="connsiteX119" fmla="*/ 398528 w 984640"/>
                <a:gd name="connsiteY119" fmla="*/ 93499 h 1026245"/>
                <a:gd name="connsiteX120" fmla="*/ 409871 w 984640"/>
                <a:gd name="connsiteY120" fmla="*/ 89125 h 1026245"/>
                <a:gd name="connsiteX121" fmla="*/ 418029 w 984640"/>
                <a:gd name="connsiteY121" fmla="*/ 82496 h 1026245"/>
                <a:gd name="connsiteX122" fmla="*/ 431895 w 984640"/>
                <a:gd name="connsiteY122" fmla="*/ 84616 h 1026245"/>
                <a:gd name="connsiteX123" fmla="*/ 438005 w 984640"/>
                <a:gd name="connsiteY123" fmla="*/ 83722 h 1026245"/>
                <a:gd name="connsiteX124" fmla="*/ 451647 w 984640"/>
                <a:gd name="connsiteY124" fmla="*/ 85761 h 1026245"/>
                <a:gd name="connsiteX125" fmla="*/ 453901 w 984640"/>
                <a:gd name="connsiteY125" fmla="*/ 80663 h 1026245"/>
                <a:gd name="connsiteX126" fmla="*/ 449697 w 984640"/>
                <a:gd name="connsiteY126" fmla="*/ 75707 h 1026245"/>
                <a:gd name="connsiteX127" fmla="*/ 452201 w 984640"/>
                <a:gd name="connsiteY127" fmla="*/ 68488 h 1026245"/>
                <a:gd name="connsiteX128" fmla="*/ 462318 w 984640"/>
                <a:gd name="connsiteY128" fmla="*/ 70706 h 1026245"/>
                <a:gd name="connsiteX129" fmla="*/ 474171 w 984640"/>
                <a:gd name="connsiteY129" fmla="*/ 68157 h 1026245"/>
                <a:gd name="connsiteX130" fmla="*/ 488538 w 984640"/>
                <a:gd name="connsiteY130" fmla="*/ 73444 h 1026245"/>
                <a:gd name="connsiteX131" fmla="*/ 499487 w 984640"/>
                <a:gd name="connsiteY131" fmla="*/ 78587 h 1026245"/>
                <a:gd name="connsiteX132" fmla="*/ 507252 w 984640"/>
                <a:gd name="connsiteY132" fmla="*/ 71824 h 1026245"/>
                <a:gd name="connsiteX133" fmla="*/ 512860 w 984640"/>
                <a:gd name="connsiteY133" fmla="*/ 72862 h 1026245"/>
                <a:gd name="connsiteX134" fmla="*/ 516287 w 984640"/>
                <a:gd name="connsiteY134" fmla="*/ 79884 h 1026245"/>
                <a:gd name="connsiteX135" fmla="*/ 528292 w 984640"/>
                <a:gd name="connsiteY135" fmla="*/ 78104 h 1026245"/>
                <a:gd name="connsiteX136" fmla="*/ 537908 w 984640"/>
                <a:gd name="connsiteY136" fmla="*/ 68631 h 1026245"/>
                <a:gd name="connsiteX137" fmla="*/ 545601 w 984640"/>
                <a:gd name="connsiteY137" fmla="*/ 50266 h 1026245"/>
                <a:gd name="connsiteX138" fmla="*/ 560442 w 984640"/>
                <a:gd name="connsiteY138" fmla="*/ 27410 h 1026245"/>
                <a:gd name="connsiteX139" fmla="*/ 568985 w 984640"/>
                <a:gd name="connsiteY139" fmla="*/ 26229 h 1026245"/>
                <a:gd name="connsiteX140" fmla="*/ 575193 w 984640"/>
                <a:gd name="connsiteY140" fmla="*/ 40041 h 1026245"/>
                <a:gd name="connsiteX141" fmla="*/ 589255 w 984640"/>
                <a:gd name="connsiteY141" fmla="*/ 83668 h 1026245"/>
                <a:gd name="connsiteX142" fmla="*/ 602673 w 984640"/>
                <a:gd name="connsiteY142" fmla="*/ 87783 h 1026245"/>
                <a:gd name="connsiteX143" fmla="*/ 603344 w 984640"/>
                <a:gd name="connsiteY143" fmla="*/ 104985 h 1026245"/>
                <a:gd name="connsiteX144" fmla="*/ 584487 w 984640"/>
                <a:gd name="connsiteY144" fmla="*/ 125497 h 1026245"/>
                <a:gd name="connsiteX145" fmla="*/ 592288 w 984640"/>
                <a:gd name="connsiteY145" fmla="*/ 133012 h 1026245"/>
                <a:gd name="connsiteX146" fmla="*/ 636622 w 984640"/>
                <a:gd name="connsiteY146" fmla="*/ 136921 h 1026245"/>
                <a:gd name="connsiteX147" fmla="*/ 637525 w 984640"/>
                <a:gd name="connsiteY147" fmla="*/ 161897 h 1026245"/>
                <a:gd name="connsiteX148" fmla="*/ 656579 w 984640"/>
                <a:gd name="connsiteY148" fmla="*/ 145544 h 1026245"/>
                <a:gd name="connsiteX149" fmla="*/ 688139 w 984640"/>
                <a:gd name="connsiteY149" fmla="*/ 154499 h 1026245"/>
                <a:gd name="connsiteX150" fmla="*/ 729798 w 984640"/>
                <a:gd name="connsiteY150" fmla="*/ 169724 h 1026245"/>
                <a:gd name="connsiteX151" fmla="*/ 742035 w 984640"/>
                <a:gd name="connsiteY151" fmla="*/ 184323 h 1026245"/>
                <a:gd name="connsiteX152" fmla="*/ 737929 w 984640"/>
                <a:gd name="connsiteY152" fmla="*/ 198126 h 1026245"/>
                <a:gd name="connsiteX153" fmla="*/ 767092 w 984640"/>
                <a:gd name="connsiteY153" fmla="*/ 190442 h 1026245"/>
                <a:gd name="connsiteX154" fmla="*/ 815907 w 984640"/>
                <a:gd name="connsiteY154" fmla="*/ 203636 h 1026245"/>
                <a:gd name="connsiteX155" fmla="*/ 853380 w 984640"/>
                <a:gd name="connsiteY155" fmla="*/ 202661 h 1026245"/>
                <a:gd name="connsiteX156" fmla="*/ 890459 w 984640"/>
                <a:gd name="connsiteY156" fmla="*/ 223316 h 1026245"/>
                <a:gd name="connsiteX157" fmla="*/ 922484 w 984640"/>
                <a:gd name="connsiteY157" fmla="*/ 251307 h 1026245"/>
                <a:gd name="connsiteX158" fmla="*/ 941806 w 984640"/>
                <a:gd name="connsiteY158" fmla="*/ 258517 h 1026245"/>
                <a:gd name="connsiteX159" fmla="*/ 963257 w 984640"/>
                <a:gd name="connsiteY159" fmla="*/ 259528 h 1026245"/>
                <a:gd name="connsiteX160" fmla="*/ 972346 w 984640"/>
                <a:gd name="connsiteY160" fmla="*/ 267418 h 1026245"/>
                <a:gd name="connsiteX161" fmla="*/ 980862 w 984640"/>
                <a:gd name="connsiteY161" fmla="*/ 299317 h 1026245"/>
                <a:gd name="connsiteX162" fmla="*/ 985022 w 984640"/>
                <a:gd name="connsiteY162" fmla="*/ 314516 h 1026245"/>
                <a:gd name="connsiteX163" fmla="*/ 975039 w 984640"/>
                <a:gd name="connsiteY163" fmla="*/ 356130 h 1026245"/>
                <a:gd name="connsiteX164" fmla="*/ 962274 w 984640"/>
                <a:gd name="connsiteY164" fmla="*/ 372617 h 1026245"/>
                <a:gd name="connsiteX165" fmla="*/ 926921 w 984640"/>
                <a:gd name="connsiteY165" fmla="*/ 407862 h 1026245"/>
                <a:gd name="connsiteX166" fmla="*/ 910944 w 984640"/>
                <a:gd name="connsiteY166" fmla="*/ 436622 h 1026245"/>
                <a:gd name="connsiteX167" fmla="*/ 892373 w 984640"/>
                <a:gd name="connsiteY167" fmla="*/ 458762 h 1026245"/>
                <a:gd name="connsiteX168" fmla="*/ 886102 w 984640"/>
                <a:gd name="connsiteY168" fmla="*/ 459263 h 1026245"/>
                <a:gd name="connsiteX169" fmla="*/ 879098 w 984640"/>
                <a:gd name="connsiteY169" fmla="*/ 478120 h 1026245"/>
                <a:gd name="connsiteX170" fmla="*/ 880878 w 984640"/>
                <a:gd name="connsiteY170" fmla="*/ 526408 h 1026245"/>
                <a:gd name="connsiteX171" fmla="*/ 873883 w 984640"/>
                <a:gd name="connsiteY171" fmla="*/ 566466 h 1026245"/>
                <a:gd name="connsiteX172" fmla="*/ 871217 w 984640"/>
                <a:gd name="connsiteY172" fmla="*/ 583704 h 1026245"/>
                <a:gd name="connsiteX173" fmla="*/ 863292 w 984640"/>
                <a:gd name="connsiteY173" fmla="*/ 594054 h 1026245"/>
                <a:gd name="connsiteX174" fmla="*/ 858846 w 984640"/>
                <a:gd name="connsiteY174" fmla="*/ 629290 h 1026245"/>
                <a:gd name="connsiteX175" fmla="*/ 833414 w 984640"/>
                <a:gd name="connsiteY175" fmla="*/ 663981 h 1026245"/>
                <a:gd name="connsiteX176" fmla="*/ 829147 w 984640"/>
                <a:gd name="connsiteY176" fmla="*/ 691649 h 1026245"/>
                <a:gd name="connsiteX177" fmla="*/ 808849 w 984640"/>
                <a:gd name="connsiteY177" fmla="*/ 703314 h 1026245"/>
                <a:gd name="connsiteX178" fmla="*/ 802972 w 984640"/>
                <a:gd name="connsiteY178" fmla="*/ 719515 h 1026245"/>
                <a:gd name="connsiteX179" fmla="*/ 775724 w 984640"/>
                <a:gd name="connsiteY179" fmla="*/ 719452 h 1026245"/>
                <a:gd name="connsiteX180" fmla="*/ 736265 w 984640"/>
                <a:gd name="connsiteY180" fmla="*/ 729873 h 1026245"/>
                <a:gd name="connsiteX181" fmla="*/ 718598 w 984640"/>
                <a:gd name="connsiteY181" fmla="*/ 741977 h 1026245"/>
                <a:gd name="connsiteX182" fmla="*/ 690509 w 984640"/>
                <a:gd name="connsiteY182" fmla="*/ 749947 h 1026245"/>
                <a:gd name="connsiteX183" fmla="*/ 660989 w 984640"/>
                <a:gd name="connsiteY183" fmla="*/ 771774 h 1026245"/>
                <a:gd name="connsiteX184" fmla="*/ 639761 w 984640"/>
                <a:gd name="connsiteY184" fmla="*/ 799156 h 1026245"/>
                <a:gd name="connsiteX185" fmla="*/ 636112 w 984640"/>
                <a:gd name="connsiteY185" fmla="*/ 819928 h 1026245"/>
                <a:gd name="connsiteX186" fmla="*/ 640280 w 984640"/>
                <a:gd name="connsiteY186" fmla="*/ 835376 h 1026245"/>
                <a:gd name="connsiteX187" fmla="*/ 635593 w 984640"/>
                <a:gd name="connsiteY187" fmla="*/ 863841 h 1026245"/>
                <a:gd name="connsiteX188" fmla="*/ 629904 w 984640"/>
                <a:gd name="connsiteY188" fmla="*/ 877688 h 1026245"/>
                <a:gd name="connsiteX189" fmla="*/ 612370 w 984640"/>
                <a:gd name="connsiteY189" fmla="*/ 893379 h 1026245"/>
                <a:gd name="connsiteX190" fmla="*/ 584541 w 984640"/>
                <a:gd name="connsiteY190" fmla="*/ 944154 h 1026245"/>
                <a:gd name="connsiteX191" fmla="*/ 562490 w 984640"/>
                <a:gd name="connsiteY191" fmla="*/ 967349 h 1026245"/>
                <a:gd name="connsiteX192" fmla="*/ 545431 w 984640"/>
                <a:gd name="connsiteY192" fmla="*/ 981116 h 1026245"/>
                <a:gd name="connsiteX193" fmla="*/ 533999 w 984640"/>
                <a:gd name="connsiteY193" fmla="*/ 1009330 h 1026245"/>
                <a:gd name="connsiteX194" fmla="*/ 517405 w 984640"/>
                <a:gd name="connsiteY194" fmla="*/ 1026452 h 1026245"/>
                <a:gd name="connsiteX195" fmla="*/ 510463 w 984640"/>
                <a:gd name="connsiteY195" fmla="*/ 1009501 h 1026245"/>
                <a:gd name="connsiteX196" fmla="*/ 521520 w 984640"/>
                <a:gd name="connsiteY196" fmla="*/ 995385 h 1026245"/>
                <a:gd name="connsiteX197" fmla="*/ 507010 w 984640"/>
                <a:gd name="connsiteY197" fmla="*/ 975275 h 1026245"/>
                <a:gd name="connsiteX198" fmla="*/ 487339 w 984640"/>
                <a:gd name="connsiteY198" fmla="*/ 959039 h 1026245"/>
                <a:gd name="connsiteX199" fmla="*/ 461522 w 984640"/>
                <a:gd name="connsiteY199" fmla="*/ 940352 h 1026245"/>
                <a:gd name="connsiteX200" fmla="*/ 452210 w 984640"/>
                <a:gd name="connsiteY200" fmla="*/ 941202 h 1026245"/>
                <a:gd name="connsiteX201" fmla="*/ 427046 w 984640"/>
                <a:gd name="connsiteY201" fmla="*/ 918802 h 1026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</a:cxnLst>
              <a:rect l="l" t="t" r="r" b="b"/>
              <a:pathLst>
                <a:path w="984640" h="1026245">
                  <a:moveTo>
                    <a:pt x="410775" y="921879"/>
                  </a:moveTo>
                  <a:lnTo>
                    <a:pt x="444231" y="882770"/>
                  </a:lnTo>
                  <a:lnTo>
                    <a:pt x="472543" y="855236"/>
                  </a:lnTo>
                  <a:lnTo>
                    <a:pt x="489388" y="843767"/>
                  </a:lnTo>
                  <a:lnTo>
                    <a:pt x="510508" y="828310"/>
                  </a:lnTo>
                  <a:lnTo>
                    <a:pt x="511018" y="806035"/>
                  </a:lnTo>
                  <a:lnTo>
                    <a:pt x="498432" y="790041"/>
                  </a:lnTo>
                  <a:lnTo>
                    <a:pt x="486015" y="795345"/>
                  </a:lnTo>
                  <a:lnTo>
                    <a:pt x="490935" y="779395"/>
                  </a:lnTo>
                  <a:lnTo>
                    <a:pt x="494335" y="763141"/>
                  </a:lnTo>
                  <a:lnTo>
                    <a:pt x="494344" y="748095"/>
                  </a:lnTo>
                  <a:lnTo>
                    <a:pt x="485326" y="743148"/>
                  </a:lnTo>
                  <a:lnTo>
                    <a:pt x="475916" y="747558"/>
                  </a:lnTo>
                  <a:lnTo>
                    <a:pt x="466559" y="746342"/>
                  </a:lnTo>
                  <a:lnTo>
                    <a:pt x="463633" y="735858"/>
                  </a:lnTo>
                  <a:lnTo>
                    <a:pt x="461299" y="711007"/>
                  </a:lnTo>
                  <a:lnTo>
                    <a:pt x="456602" y="702938"/>
                  </a:lnTo>
                  <a:lnTo>
                    <a:pt x="439660" y="695648"/>
                  </a:lnTo>
                  <a:lnTo>
                    <a:pt x="429426" y="700926"/>
                  </a:lnTo>
                  <a:lnTo>
                    <a:pt x="402947" y="695755"/>
                  </a:lnTo>
                  <a:lnTo>
                    <a:pt x="404611" y="659392"/>
                  </a:lnTo>
                  <a:lnTo>
                    <a:pt x="397195" y="644596"/>
                  </a:lnTo>
                  <a:lnTo>
                    <a:pt x="405041" y="639112"/>
                  </a:lnTo>
                  <a:lnTo>
                    <a:pt x="402625" y="624021"/>
                  </a:lnTo>
                  <a:lnTo>
                    <a:pt x="409495" y="612455"/>
                  </a:lnTo>
                  <a:lnTo>
                    <a:pt x="413950" y="591737"/>
                  </a:lnTo>
                  <a:lnTo>
                    <a:pt x="408028" y="575447"/>
                  </a:lnTo>
                  <a:lnTo>
                    <a:pt x="394324" y="568121"/>
                  </a:lnTo>
                  <a:lnTo>
                    <a:pt x="391640" y="557824"/>
                  </a:lnTo>
                  <a:lnTo>
                    <a:pt x="395317" y="542805"/>
                  </a:lnTo>
                  <a:lnTo>
                    <a:pt x="347235" y="541731"/>
                  </a:lnTo>
                  <a:lnTo>
                    <a:pt x="337591" y="511585"/>
                  </a:lnTo>
                  <a:lnTo>
                    <a:pt x="344900" y="511156"/>
                  </a:lnTo>
                  <a:lnTo>
                    <a:pt x="344578" y="500036"/>
                  </a:lnTo>
                  <a:lnTo>
                    <a:pt x="339685" y="492522"/>
                  </a:lnTo>
                  <a:lnTo>
                    <a:pt x="338584" y="477664"/>
                  </a:lnTo>
                  <a:lnTo>
                    <a:pt x="324012" y="470060"/>
                  </a:lnTo>
                  <a:lnTo>
                    <a:pt x="308232" y="470320"/>
                  </a:lnTo>
                  <a:lnTo>
                    <a:pt x="297856" y="462877"/>
                  </a:lnTo>
                  <a:lnTo>
                    <a:pt x="280904" y="457805"/>
                  </a:lnTo>
                  <a:lnTo>
                    <a:pt x="271028" y="448260"/>
                  </a:lnTo>
                  <a:lnTo>
                    <a:pt x="242939" y="444046"/>
                  </a:lnTo>
                  <a:lnTo>
                    <a:pt x="215709" y="421218"/>
                  </a:lnTo>
                  <a:lnTo>
                    <a:pt x="217722" y="404185"/>
                  </a:lnTo>
                  <a:lnTo>
                    <a:pt x="214636" y="394435"/>
                  </a:lnTo>
                  <a:lnTo>
                    <a:pt x="217310" y="375470"/>
                  </a:lnTo>
                  <a:lnTo>
                    <a:pt x="184489" y="379746"/>
                  </a:lnTo>
                  <a:lnTo>
                    <a:pt x="171277" y="389255"/>
                  </a:lnTo>
                  <a:lnTo>
                    <a:pt x="149342" y="399525"/>
                  </a:lnTo>
                  <a:lnTo>
                    <a:pt x="143751" y="407200"/>
                  </a:lnTo>
                  <a:lnTo>
                    <a:pt x="130834" y="407755"/>
                  </a:lnTo>
                  <a:lnTo>
                    <a:pt x="112183" y="405608"/>
                  </a:lnTo>
                  <a:lnTo>
                    <a:pt x="98031" y="409973"/>
                  </a:lnTo>
                  <a:lnTo>
                    <a:pt x="86626" y="407057"/>
                  </a:lnTo>
                  <a:lnTo>
                    <a:pt x="88298" y="368591"/>
                  </a:lnTo>
                  <a:lnTo>
                    <a:pt x="67724" y="383495"/>
                  </a:lnTo>
                  <a:lnTo>
                    <a:pt x="45583" y="382842"/>
                  </a:lnTo>
                  <a:lnTo>
                    <a:pt x="36101" y="369352"/>
                  </a:lnTo>
                  <a:lnTo>
                    <a:pt x="19454" y="367884"/>
                  </a:lnTo>
                  <a:lnTo>
                    <a:pt x="24758" y="357043"/>
                  </a:lnTo>
                  <a:lnTo>
                    <a:pt x="10821" y="341710"/>
                  </a:lnTo>
                  <a:lnTo>
                    <a:pt x="382" y="319051"/>
                  </a:lnTo>
                  <a:lnTo>
                    <a:pt x="6993" y="314453"/>
                  </a:lnTo>
                  <a:lnTo>
                    <a:pt x="6975" y="303853"/>
                  </a:lnTo>
                  <a:lnTo>
                    <a:pt x="22128" y="296607"/>
                  </a:lnTo>
                  <a:lnTo>
                    <a:pt x="19633" y="283046"/>
                  </a:lnTo>
                  <a:lnTo>
                    <a:pt x="26029" y="274333"/>
                  </a:lnTo>
                  <a:lnTo>
                    <a:pt x="27854" y="262650"/>
                  </a:lnTo>
                  <a:lnTo>
                    <a:pt x="56533" y="245635"/>
                  </a:lnTo>
                  <a:lnTo>
                    <a:pt x="77090" y="240823"/>
                  </a:lnTo>
                  <a:lnTo>
                    <a:pt x="80453" y="237066"/>
                  </a:lnTo>
                  <a:lnTo>
                    <a:pt x="103058" y="238237"/>
                  </a:lnTo>
                  <a:lnTo>
                    <a:pt x="114330" y="169831"/>
                  </a:lnTo>
                  <a:lnTo>
                    <a:pt x="114920" y="159025"/>
                  </a:lnTo>
                  <a:lnTo>
                    <a:pt x="110993" y="144757"/>
                  </a:lnTo>
                  <a:lnTo>
                    <a:pt x="99865" y="135668"/>
                  </a:lnTo>
                  <a:lnTo>
                    <a:pt x="99990" y="117563"/>
                  </a:lnTo>
                  <a:lnTo>
                    <a:pt x="114124" y="113457"/>
                  </a:lnTo>
                  <a:lnTo>
                    <a:pt x="119133" y="116042"/>
                  </a:lnTo>
                  <a:lnTo>
                    <a:pt x="119983" y="106497"/>
                  </a:lnTo>
                  <a:lnTo>
                    <a:pt x="105286" y="103921"/>
                  </a:lnTo>
                  <a:lnTo>
                    <a:pt x="104982" y="88320"/>
                  </a:lnTo>
                  <a:lnTo>
                    <a:pt x="153842" y="88883"/>
                  </a:lnTo>
                  <a:lnTo>
                    <a:pt x="162143" y="80287"/>
                  </a:lnTo>
                  <a:lnTo>
                    <a:pt x="169112" y="88195"/>
                  </a:lnTo>
                  <a:lnTo>
                    <a:pt x="173996" y="102892"/>
                  </a:lnTo>
                  <a:lnTo>
                    <a:pt x="178737" y="99824"/>
                  </a:lnTo>
                  <a:lnTo>
                    <a:pt x="192540" y="113000"/>
                  </a:lnTo>
                  <a:lnTo>
                    <a:pt x="212041" y="111390"/>
                  </a:lnTo>
                  <a:lnTo>
                    <a:pt x="216899" y="103760"/>
                  </a:lnTo>
                  <a:lnTo>
                    <a:pt x="235550" y="97945"/>
                  </a:lnTo>
                  <a:lnTo>
                    <a:pt x="245882" y="93857"/>
                  </a:lnTo>
                  <a:lnTo>
                    <a:pt x="248789" y="83301"/>
                  </a:lnTo>
                  <a:lnTo>
                    <a:pt x="266707" y="76208"/>
                  </a:lnTo>
                  <a:lnTo>
                    <a:pt x="265356" y="70966"/>
                  </a:lnTo>
                  <a:lnTo>
                    <a:pt x="244102" y="68827"/>
                  </a:lnTo>
                  <a:lnTo>
                    <a:pt x="240622" y="53110"/>
                  </a:lnTo>
                  <a:lnTo>
                    <a:pt x="241633" y="36382"/>
                  </a:lnTo>
                  <a:lnTo>
                    <a:pt x="230407" y="29906"/>
                  </a:lnTo>
                  <a:lnTo>
                    <a:pt x="235112" y="27607"/>
                  </a:lnTo>
                  <a:lnTo>
                    <a:pt x="253683" y="30800"/>
                  </a:lnTo>
                  <a:lnTo>
                    <a:pt x="273622" y="37044"/>
                  </a:lnTo>
                  <a:lnTo>
                    <a:pt x="280859" y="31140"/>
                  </a:lnTo>
                  <a:lnTo>
                    <a:pt x="298902" y="27267"/>
                  </a:lnTo>
                  <a:lnTo>
                    <a:pt x="326955" y="17910"/>
                  </a:lnTo>
                  <a:lnTo>
                    <a:pt x="336124" y="8374"/>
                  </a:lnTo>
                  <a:lnTo>
                    <a:pt x="332806" y="1316"/>
                  </a:lnTo>
                  <a:lnTo>
                    <a:pt x="345848" y="207"/>
                  </a:lnTo>
                  <a:lnTo>
                    <a:pt x="351681" y="5968"/>
                  </a:lnTo>
                  <a:lnTo>
                    <a:pt x="348415" y="16953"/>
                  </a:lnTo>
                  <a:lnTo>
                    <a:pt x="357039" y="20737"/>
                  </a:lnTo>
                  <a:lnTo>
                    <a:pt x="362791" y="32348"/>
                  </a:lnTo>
                  <a:lnTo>
                    <a:pt x="355840" y="41141"/>
                  </a:lnTo>
                  <a:lnTo>
                    <a:pt x="351842" y="62378"/>
                  </a:lnTo>
                  <a:lnTo>
                    <a:pt x="358265" y="74991"/>
                  </a:lnTo>
                  <a:lnTo>
                    <a:pt x="360080" y="86531"/>
                  </a:lnTo>
                  <a:lnTo>
                    <a:pt x="375512" y="98222"/>
                  </a:lnTo>
                  <a:lnTo>
                    <a:pt x="387820" y="99457"/>
                  </a:lnTo>
                  <a:lnTo>
                    <a:pt x="390593" y="94582"/>
                  </a:lnTo>
                  <a:lnTo>
                    <a:pt x="398528" y="93499"/>
                  </a:lnTo>
                  <a:lnTo>
                    <a:pt x="409871" y="89125"/>
                  </a:lnTo>
                  <a:lnTo>
                    <a:pt x="418029" y="82496"/>
                  </a:lnTo>
                  <a:lnTo>
                    <a:pt x="431895" y="84616"/>
                  </a:lnTo>
                  <a:lnTo>
                    <a:pt x="438005" y="83722"/>
                  </a:lnTo>
                  <a:lnTo>
                    <a:pt x="451647" y="85761"/>
                  </a:lnTo>
                  <a:lnTo>
                    <a:pt x="453901" y="80663"/>
                  </a:lnTo>
                  <a:lnTo>
                    <a:pt x="449697" y="75707"/>
                  </a:lnTo>
                  <a:lnTo>
                    <a:pt x="452201" y="68488"/>
                  </a:lnTo>
                  <a:lnTo>
                    <a:pt x="462318" y="70706"/>
                  </a:lnTo>
                  <a:lnTo>
                    <a:pt x="474171" y="68157"/>
                  </a:lnTo>
                  <a:lnTo>
                    <a:pt x="488538" y="73444"/>
                  </a:lnTo>
                  <a:lnTo>
                    <a:pt x="499487" y="78587"/>
                  </a:lnTo>
                  <a:lnTo>
                    <a:pt x="507252" y="71824"/>
                  </a:lnTo>
                  <a:lnTo>
                    <a:pt x="512860" y="72862"/>
                  </a:lnTo>
                  <a:lnTo>
                    <a:pt x="516287" y="79884"/>
                  </a:lnTo>
                  <a:lnTo>
                    <a:pt x="528292" y="78104"/>
                  </a:lnTo>
                  <a:lnTo>
                    <a:pt x="537908" y="68631"/>
                  </a:lnTo>
                  <a:lnTo>
                    <a:pt x="545601" y="50266"/>
                  </a:lnTo>
                  <a:lnTo>
                    <a:pt x="560442" y="27410"/>
                  </a:lnTo>
                  <a:lnTo>
                    <a:pt x="568985" y="26229"/>
                  </a:lnTo>
                  <a:lnTo>
                    <a:pt x="575193" y="40041"/>
                  </a:lnTo>
                  <a:lnTo>
                    <a:pt x="589255" y="83668"/>
                  </a:lnTo>
                  <a:lnTo>
                    <a:pt x="602673" y="87783"/>
                  </a:lnTo>
                  <a:lnTo>
                    <a:pt x="603344" y="104985"/>
                  </a:lnTo>
                  <a:lnTo>
                    <a:pt x="584487" y="125497"/>
                  </a:lnTo>
                  <a:lnTo>
                    <a:pt x="592288" y="133012"/>
                  </a:lnTo>
                  <a:lnTo>
                    <a:pt x="636622" y="136921"/>
                  </a:lnTo>
                  <a:lnTo>
                    <a:pt x="637525" y="161897"/>
                  </a:lnTo>
                  <a:lnTo>
                    <a:pt x="656579" y="145544"/>
                  </a:lnTo>
                  <a:lnTo>
                    <a:pt x="688139" y="154499"/>
                  </a:lnTo>
                  <a:lnTo>
                    <a:pt x="729798" y="169724"/>
                  </a:lnTo>
                  <a:lnTo>
                    <a:pt x="742035" y="184323"/>
                  </a:lnTo>
                  <a:lnTo>
                    <a:pt x="737929" y="198126"/>
                  </a:lnTo>
                  <a:lnTo>
                    <a:pt x="767092" y="190442"/>
                  </a:lnTo>
                  <a:lnTo>
                    <a:pt x="815907" y="203636"/>
                  </a:lnTo>
                  <a:lnTo>
                    <a:pt x="853380" y="202661"/>
                  </a:lnTo>
                  <a:lnTo>
                    <a:pt x="890459" y="223316"/>
                  </a:lnTo>
                  <a:lnTo>
                    <a:pt x="922484" y="251307"/>
                  </a:lnTo>
                  <a:lnTo>
                    <a:pt x="941806" y="258517"/>
                  </a:lnTo>
                  <a:lnTo>
                    <a:pt x="963257" y="259528"/>
                  </a:lnTo>
                  <a:lnTo>
                    <a:pt x="972346" y="267418"/>
                  </a:lnTo>
                  <a:lnTo>
                    <a:pt x="980862" y="299317"/>
                  </a:lnTo>
                  <a:lnTo>
                    <a:pt x="985022" y="314516"/>
                  </a:lnTo>
                  <a:lnTo>
                    <a:pt x="975039" y="356130"/>
                  </a:lnTo>
                  <a:lnTo>
                    <a:pt x="962274" y="372617"/>
                  </a:lnTo>
                  <a:lnTo>
                    <a:pt x="926921" y="407862"/>
                  </a:lnTo>
                  <a:lnTo>
                    <a:pt x="910944" y="436622"/>
                  </a:lnTo>
                  <a:lnTo>
                    <a:pt x="892373" y="458762"/>
                  </a:lnTo>
                  <a:lnTo>
                    <a:pt x="886102" y="459263"/>
                  </a:lnTo>
                  <a:lnTo>
                    <a:pt x="879098" y="478120"/>
                  </a:lnTo>
                  <a:lnTo>
                    <a:pt x="880878" y="526408"/>
                  </a:lnTo>
                  <a:lnTo>
                    <a:pt x="873883" y="566466"/>
                  </a:lnTo>
                  <a:lnTo>
                    <a:pt x="871217" y="583704"/>
                  </a:lnTo>
                  <a:lnTo>
                    <a:pt x="863292" y="594054"/>
                  </a:lnTo>
                  <a:lnTo>
                    <a:pt x="858846" y="629290"/>
                  </a:lnTo>
                  <a:lnTo>
                    <a:pt x="833414" y="663981"/>
                  </a:lnTo>
                  <a:lnTo>
                    <a:pt x="829147" y="691649"/>
                  </a:lnTo>
                  <a:lnTo>
                    <a:pt x="808849" y="703314"/>
                  </a:lnTo>
                  <a:lnTo>
                    <a:pt x="802972" y="719515"/>
                  </a:lnTo>
                  <a:lnTo>
                    <a:pt x="775724" y="719452"/>
                  </a:lnTo>
                  <a:lnTo>
                    <a:pt x="736265" y="729873"/>
                  </a:lnTo>
                  <a:lnTo>
                    <a:pt x="718598" y="741977"/>
                  </a:lnTo>
                  <a:lnTo>
                    <a:pt x="690509" y="749947"/>
                  </a:lnTo>
                  <a:lnTo>
                    <a:pt x="660989" y="771774"/>
                  </a:lnTo>
                  <a:lnTo>
                    <a:pt x="639761" y="799156"/>
                  </a:lnTo>
                  <a:lnTo>
                    <a:pt x="636112" y="819928"/>
                  </a:lnTo>
                  <a:lnTo>
                    <a:pt x="640280" y="835376"/>
                  </a:lnTo>
                  <a:lnTo>
                    <a:pt x="635593" y="863841"/>
                  </a:lnTo>
                  <a:lnTo>
                    <a:pt x="629904" y="877688"/>
                  </a:lnTo>
                  <a:lnTo>
                    <a:pt x="612370" y="893379"/>
                  </a:lnTo>
                  <a:lnTo>
                    <a:pt x="584541" y="944154"/>
                  </a:lnTo>
                  <a:lnTo>
                    <a:pt x="562490" y="967349"/>
                  </a:lnTo>
                  <a:lnTo>
                    <a:pt x="545431" y="981116"/>
                  </a:lnTo>
                  <a:lnTo>
                    <a:pt x="533999" y="1009330"/>
                  </a:lnTo>
                  <a:lnTo>
                    <a:pt x="517405" y="1026452"/>
                  </a:lnTo>
                  <a:lnTo>
                    <a:pt x="510463" y="1009501"/>
                  </a:lnTo>
                  <a:lnTo>
                    <a:pt x="521520" y="995385"/>
                  </a:lnTo>
                  <a:lnTo>
                    <a:pt x="507010" y="975275"/>
                  </a:lnTo>
                  <a:lnTo>
                    <a:pt x="487339" y="959039"/>
                  </a:lnTo>
                  <a:lnTo>
                    <a:pt x="461522" y="940352"/>
                  </a:lnTo>
                  <a:lnTo>
                    <a:pt x="452210" y="941202"/>
                  </a:lnTo>
                  <a:lnTo>
                    <a:pt x="427046" y="91880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3856724" y="3960604"/>
              <a:ext cx="49656" cy="91941"/>
            </a:xfrm>
            <a:custGeom>
              <a:avLst/>
              <a:gdLst>
                <a:gd name="connsiteX0" fmla="*/ 36602 w 49656"/>
                <a:gd name="connsiteY0" fmla="*/ 90750 h 91941"/>
                <a:gd name="connsiteX1" fmla="*/ 30447 w 49656"/>
                <a:gd name="connsiteY1" fmla="*/ 92101 h 91941"/>
                <a:gd name="connsiteX2" fmla="*/ 24078 w 49656"/>
                <a:gd name="connsiteY2" fmla="*/ 76375 h 91941"/>
                <a:gd name="connsiteX3" fmla="*/ 14685 w 49656"/>
                <a:gd name="connsiteY3" fmla="*/ 68440 h 91941"/>
                <a:gd name="connsiteX4" fmla="*/ 20142 w 49656"/>
                <a:gd name="connsiteY4" fmla="*/ 50988 h 91941"/>
                <a:gd name="connsiteX5" fmla="*/ 27692 w 49656"/>
                <a:gd name="connsiteY5" fmla="*/ 52097 h 91941"/>
                <a:gd name="connsiteX6" fmla="*/ 36468 w 49656"/>
                <a:gd name="connsiteY6" fmla="*/ 74899 h 91941"/>
                <a:gd name="connsiteX7" fmla="*/ 36602 w 49656"/>
                <a:gd name="connsiteY7" fmla="*/ 90750 h 91941"/>
                <a:gd name="connsiteX8" fmla="*/ 29446 w 49656"/>
                <a:gd name="connsiteY8" fmla="*/ 13014 h 91941"/>
                <a:gd name="connsiteX9" fmla="*/ 2108 w 49656"/>
                <a:gd name="connsiteY9" fmla="*/ 17478 h 91941"/>
                <a:gd name="connsiteX10" fmla="*/ 355 w 49656"/>
                <a:gd name="connsiteY10" fmla="*/ 7155 h 91941"/>
                <a:gd name="connsiteX11" fmla="*/ 12145 w 49656"/>
                <a:gd name="connsiteY11" fmla="*/ 4918 h 91941"/>
                <a:gd name="connsiteX12" fmla="*/ 28703 w 49656"/>
                <a:gd name="connsiteY12" fmla="*/ 5759 h 91941"/>
                <a:gd name="connsiteX13" fmla="*/ 29446 w 49656"/>
                <a:gd name="connsiteY13" fmla="*/ 13014 h 91941"/>
                <a:gd name="connsiteX14" fmla="*/ 50011 w 49656"/>
                <a:gd name="connsiteY14" fmla="*/ 12728 h 91941"/>
                <a:gd name="connsiteX15" fmla="*/ 45682 w 49656"/>
                <a:gd name="connsiteY15" fmla="*/ 32497 h 91941"/>
                <a:gd name="connsiteX16" fmla="*/ 41066 w 49656"/>
                <a:gd name="connsiteY16" fmla="*/ 28946 h 91941"/>
                <a:gd name="connsiteX17" fmla="*/ 41477 w 49656"/>
                <a:gd name="connsiteY17" fmla="*/ 14410 h 91941"/>
                <a:gd name="connsiteX18" fmla="*/ 30242 w 49656"/>
                <a:gd name="connsiteY18" fmla="*/ 3371 h 91941"/>
                <a:gd name="connsiteX19" fmla="*/ 30188 w 49656"/>
                <a:gd name="connsiteY19" fmla="*/ 159 h 91941"/>
                <a:gd name="connsiteX20" fmla="*/ 50011 w 49656"/>
                <a:gd name="connsiteY20" fmla="*/ 12728 h 9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9656" h="91941">
                  <a:moveTo>
                    <a:pt x="36602" y="90750"/>
                  </a:moveTo>
                  <a:lnTo>
                    <a:pt x="30447" y="92101"/>
                  </a:lnTo>
                  <a:lnTo>
                    <a:pt x="24078" y="76375"/>
                  </a:lnTo>
                  <a:lnTo>
                    <a:pt x="14685" y="68440"/>
                  </a:lnTo>
                  <a:lnTo>
                    <a:pt x="20142" y="50988"/>
                  </a:lnTo>
                  <a:lnTo>
                    <a:pt x="27692" y="52097"/>
                  </a:lnTo>
                  <a:lnTo>
                    <a:pt x="36468" y="74899"/>
                  </a:lnTo>
                  <a:lnTo>
                    <a:pt x="36602" y="90750"/>
                  </a:lnTo>
                  <a:close/>
                  <a:moveTo>
                    <a:pt x="29446" y="13014"/>
                  </a:moveTo>
                  <a:lnTo>
                    <a:pt x="2108" y="17478"/>
                  </a:lnTo>
                  <a:lnTo>
                    <a:pt x="355" y="7155"/>
                  </a:lnTo>
                  <a:lnTo>
                    <a:pt x="12145" y="4918"/>
                  </a:lnTo>
                  <a:lnTo>
                    <a:pt x="28703" y="5759"/>
                  </a:lnTo>
                  <a:lnTo>
                    <a:pt x="29446" y="13014"/>
                  </a:lnTo>
                  <a:close/>
                  <a:moveTo>
                    <a:pt x="50011" y="12728"/>
                  </a:moveTo>
                  <a:lnTo>
                    <a:pt x="45682" y="32497"/>
                  </a:lnTo>
                  <a:lnTo>
                    <a:pt x="41066" y="28946"/>
                  </a:lnTo>
                  <a:lnTo>
                    <a:pt x="41477" y="14410"/>
                  </a:lnTo>
                  <a:lnTo>
                    <a:pt x="30242" y="3371"/>
                  </a:lnTo>
                  <a:lnTo>
                    <a:pt x="30188" y="159"/>
                  </a:lnTo>
                  <a:lnTo>
                    <a:pt x="50011" y="1272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8065314" y="3925197"/>
              <a:ext cx="82503" cy="44369"/>
            </a:xfrm>
            <a:custGeom>
              <a:avLst/>
              <a:gdLst>
                <a:gd name="connsiteX0" fmla="*/ 72836 w 82503"/>
                <a:gd name="connsiteY0" fmla="*/ 14988 h 44369"/>
                <a:gd name="connsiteX1" fmla="*/ 83052 w 82503"/>
                <a:gd name="connsiteY1" fmla="*/ 23979 h 44369"/>
                <a:gd name="connsiteX2" fmla="*/ 81290 w 82503"/>
                <a:gd name="connsiteY2" fmla="*/ 41199 h 44369"/>
                <a:gd name="connsiteX3" fmla="*/ 60831 w 82503"/>
                <a:gd name="connsiteY3" fmla="*/ 42030 h 44369"/>
                <a:gd name="connsiteX4" fmla="*/ 39648 w 82503"/>
                <a:gd name="connsiteY4" fmla="*/ 40152 h 44369"/>
                <a:gd name="connsiteX5" fmla="*/ 23886 w 82503"/>
                <a:gd name="connsiteY5" fmla="*/ 44526 h 44369"/>
                <a:gd name="connsiteX6" fmla="*/ 1084 w 82503"/>
                <a:gd name="connsiteY6" fmla="*/ 33908 h 44369"/>
                <a:gd name="connsiteX7" fmla="*/ 548 w 82503"/>
                <a:gd name="connsiteY7" fmla="*/ 28281 h 44369"/>
                <a:gd name="connsiteX8" fmla="*/ 17141 w 82503"/>
                <a:gd name="connsiteY8" fmla="*/ 7340 h 44369"/>
                <a:gd name="connsiteX9" fmla="*/ 30694 w 82503"/>
                <a:gd name="connsiteY9" fmla="*/ 157 h 44369"/>
                <a:gd name="connsiteX10" fmla="*/ 48612 w 82503"/>
                <a:gd name="connsiteY10" fmla="*/ 6714 h 44369"/>
                <a:gd name="connsiteX11" fmla="*/ 61860 w 82503"/>
                <a:gd name="connsiteY11" fmla="*/ 7402 h 44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503" h="44369">
                  <a:moveTo>
                    <a:pt x="72836" y="14988"/>
                  </a:moveTo>
                  <a:lnTo>
                    <a:pt x="83052" y="23979"/>
                  </a:lnTo>
                  <a:lnTo>
                    <a:pt x="81290" y="41199"/>
                  </a:lnTo>
                  <a:lnTo>
                    <a:pt x="60831" y="42030"/>
                  </a:lnTo>
                  <a:lnTo>
                    <a:pt x="39648" y="40152"/>
                  </a:lnTo>
                  <a:lnTo>
                    <a:pt x="23886" y="44526"/>
                  </a:lnTo>
                  <a:lnTo>
                    <a:pt x="1084" y="33908"/>
                  </a:lnTo>
                  <a:lnTo>
                    <a:pt x="548" y="28281"/>
                  </a:lnTo>
                  <a:lnTo>
                    <a:pt x="17141" y="7340"/>
                  </a:lnTo>
                  <a:lnTo>
                    <a:pt x="30694" y="157"/>
                  </a:lnTo>
                  <a:lnTo>
                    <a:pt x="48612" y="6714"/>
                  </a:lnTo>
                  <a:lnTo>
                    <a:pt x="61860" y="740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3599658" y="4191871"/>
              <a:ext cx="28142" cy="68191"/>
            </a:xfrm>
            <a:custGeom>
              <a:avLst/>
              <a:gdLst>
                <a:gd name="connsiteX0" fmla="*/ 2498 w 28142"/>
                <a:gd name="connsiteY0" fmla="*/ 18311 h 68191"/>
                <a:gd name="connsiteX1" fmla="*/ 2302 w 28142"/>
                <a:gd name="connsiteY1" fmla="*/ 14455 h 68191"/>
                <a:gd name="connsiteX2" fmla="*/ 5334 w 28142"/>
                <a:gd name="connsiteY2" fmla="*/ 13257 h 68191"/>
                <a:gd name="connsiteX3" fmla="*/ 9887 w 28142"/>
                <a:gd name="connsiteY3" fmla="*/ 16352 h 68191"/>
                <a:gd name="connsiteX4" fmla="*/ 18878 w 28142"/>
                <a:gd name="connsiteY4" fmla="*/ 509 h 68191"/>
                <a:gd name="connsiteX5" fmla="*/ 23646 w 28142"/>
                <a:gd name="connsiteY5" fmla="*/ 169 h 68191"/>
                <a:gd name="connsiteX6" fmla="*/ 23735 w 28142"/>
                <a:gd name="connsiteY6" fmla="*/ 4025 h 68191"/>
                <a:gd name="connsiteX7" fmla="*/ 28485 w 28142"/>
                <a:gd name="connsiteY7" fmla="*/ 4141 h 68191"/>
                <a:gd name="connsiteX8" fmla="*/ 28074 w 28142"/>
                <a:gd name="connsiteY8" fmla="*/ 11280 h 68191"/>
                <a:gd name="connsiteX9" fmla="*/ 24012 w 28142"/>
                <a:gd name="connsiteY9" fmla="*/ 22605 h 68191"/>
                <a:gd name="connsiteX10" fmla="*/ 26204 w 28142"/>
                <a:gd name="connsiteY10" fmla="*/ 26657 h 68191"/>
                <a:gd name="connsiteX11" fmla="*/ 23583 w 28142"/>
                <a:gd name="connsiteY11" fmla="*/ 35996 h 68191"/>
                <a:gd name="connsiteX12" fmla="*/ 25157 w 28142"/>
                <a:gd name="connsiteY12" fmla="*/ 38492 h 68191"/>
                <a:gd name="connsiteX13" fmla="*/ 22259 w 28142"/>
                <a:gd name="connsiteY13" fmla="*/ 51651 h 68191"/>
                <a:gd name="connsiteX14" fmla="*/ 17330 w 28142"/>
                <a:gd name="connsiteY14" fmla="*/ 58539 h 68191"/>
                <a:gd name="connsiteX15" fmla="*/ 12795 w 28142"/>
                <a:gd name="connsiteY15" fmla="*/ 59371 h 68191"/>
                <a:gd name="connsiteX16" fmla="*/ 7830 w 28142"/>
                <a:gd name="connsiteY16" fmla="*/ 68352 h 68191"/>
                <a:gd name="connsiteX17" fmla="*/ 342 w 28142"/>
                <a:gd name="connsiteY17" fmla="*/ 68361 h 68191"/>
                <a:gd name="connsiteX18" fmla="*/ 2302 w 28142"/>
                <a:gd name="connsiteY18" fmla="*/ 39020 h 6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142" h="68191">
                  <a:moveTo>
                    <a:pt x="2498" y="18311"/>
                  </a:moveTo>
                  <a:lnTo>
                    <a:pt x="2302" y="14455"/>
                  </a:lnTo>
                  <a:lnTo>
                    <a:pt x="5334" y="13257"/>
                  </a:lnTo>
                  <a:lnTo>
                    <a:pt x="9887" y="16352"/>
                  </a:lnTo>
                  <a:lnTo>
                    <a:pt x="18878" y="509"/>
                  </a:lnTo>
                  <a:lnTo>
                    <a:pt x="23646" y="169"/>
                  </a:lnTo>
                  <a:lnTo>
                    <a:pt x="23735" y="4025"/>
                  </a:lnTo>
                  <a:lnTo>
                    <a:pt x="28485" y="4141"/>
                  </a:lnTo>
                  <a:lnTo>
                    <a:pt x="28074" y="11280"/>
                  </a:lnTo>
                  <a:lnTo>
                    <a:pt x="24012" y="22605"/>
                  </a:lnTo>
                  <a:lnTo>
                    <a:pt x="26204" y="26657"/>
                  </a:lnTo>
                  <a:lnTo>
                    <a:pt x="23583" y="35996"/>
                  </a:lnTo>
                  <a:lnTo>
                    <a:pt x="25157" y="38492"/>
                  </a:lnTo>
                  <a:lnTo>
                    <a:pt x="22259" y="51651"/>
                  </a:lnTo>
                  <a:lnTo>
                    <a:pt x="17330" y="58539"/>
                  </a:lnTo>
                  <a:lnTo>
                    <a:pt x="12795" y="59371"/>
                  </a:lnTo>
                  <a:lnTo>
                    <a:pt x="7830" y="68352"/>
                  </a:lnTo>
                  <a:lnTo>
                    <a:pt x="342" y="68361"/>
                  </a:lnTo>
                  <a:lnTo>
                    <a:pt x="2302" y="3902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2301192" y="606328"/>
              <a:ext cx="2216005" cy="2897778"/>
            </a:xfrm>
            <a:custGeom>
              <a:avLst/>
              <a:gdLst>
                <a:gd name="connsiteX0" fmla="*/ 1064937 w 2216005"/>
                <a:gd name="connsiteY0" fmla="*/ 770492 h 2897778"/>
                <a:gd name="connsiteX1" fmla="*/ 1062951 w 2216005"/>
                <a:gd name="connsiteY1" fmla="*/ 717696 h 2897778"/>
                <a:gd name="connsiteX2" fmla="*/ 1095423 w 2216005"/>
                <a:gd name="connsiteY2" fmla="*/ 722875 h 2897778"/>
                <a:gd name="connsiteX3" fmla="*/ 1110040 w 2216005"/>
                <a:gd name="connsiteY3" fmla="*/ 731418 h 2897778"/>
                <a:gd name="connsiteX4" fmla="*/ 1140017 w 2216005"/>
                <a:gd name="connsiteY4" fmla="*/ 775475 h 2897778"/>
                <a:gd name="connsiteX5" fmla="*/ 1133218 w 2216005"/>
                <a:gd name="connsiteY5" fmla="*/ 819934 h 2897778"/>
                <a:gd name="connsiteX6" fmla="*/ 1096112 w 2216005"/>
                <a:gd name="connsiteY6" fmla="*/ 844722 h 2897778"/>
                <a:gd name="connsiteX7" fmla="*/ 1075681 w 2216005"/>
                <a:gd name="connsiteY7" fmla="*/ 816785 h 2897778"/>
                <a:gd name="connsiteX8" fmla="*/ 1064937 w 2216005"/>
                <a:gd name="connsiteY8" fmla="*/ 770492 h 2897778"/>
                <a:gd name="connsiteX9" fmla="*/ 1183152 w 2216005"/>
                <a:gd name="connsiteY9" fmla="*/ 883590 h 2897778"/>
                <a:gd name="connsiteX10" fmla="*/ 1186140 w 2216005"/>
                <a:gd name="connsiteY10" fmla="*/ 870261 h 2897778"/>
                <a:gd name="connsiteX11" fmla="*/ 1168535 w 2216005"/>
                <a:gd name="connsiteY11" fmla="*/ 848363 h 2897778"/>
                <a:gd name="connsiteX12" fmla="*/ 1118029 w 2216005"/>
                <a:gd name="connsiteY12" fmla="*/ 846627 h 2897778"/>
                <a:gd name="connsiteX13" fmla="*/ 1124720 w 2216005"/>
                <a:gd name="connsiteY13" fmla="*/ 879511 h 2897778"/>
                <a:gd name="connsiteX14" fmla="*/ 1171719 w 2216005"/>
                <a:gd name="connsiteY14" fmla="*/ 886909 h 2897778"/>
                <a:gd name="connsiteX15" fmla="*/ 1183152 w 2216005"/>
                <a:gd name="connsiteY15" fmla="*/ 883590 h 2897778"/>
                <a:gd name="connsiteX16" fmla="*/ 1508303 w 2216005"/>
                <a:gd name="connsiteY16" fmla="*/ 1303635 h 2897778"/>
                <a:gd name="connsiteX17" fmla="*/ 1535900 w 2216005"/>
                <a:gd name="connsiteY17" fmla="*/ 1349284 h 2897778"/>
                <a:gd name="connsiteX18" fmla="*/ 1543163 w 2216005"/>
                <a:gd name="connsiteY18" fmla="*/ 1354419 h 2897778"/>
                <a:gd name="connsiteX19" fmla="*/ 1570617 w 2216005"/>
                <a:gd name="connsiteY19" fmla="*/ 1343013 h 2897778"/>
                <a:gd name="connsiteX20" fmla="*/ 1597642 w 2216005"/>
                <a:gd name="connsiteY20" fmla="*/ 1344811 h 2897778"/>
                <a:gd name="connsiteX21" fmla="*/ 1624299 w 2216005"/>
                <a:gd name="connsiteY21" fmla="*/ 1347280 h 2897778"/>
                <a:gd name="connsiteX22" fmla="*/ 1622081 w 2216005"/>
                <a:gd name="connsiteY22" fmla="*/ 1323637 h 2897778"/>
                <a:gd name="connsiteX23" fmla="*/ 1578829 w 2216005"/>
                <a:gd name="connsiteY23" fmla="*/ 1275501 h 2897778"/>
                <a:gd name="connsiteX24" fmla="*/ 1521426 w 2216005"/>
                <a:gd name="connsiteY24" fmla="*/ 1265867 h 2897778"/>
                <a:gd name="connsiteX25" fmla="*/ 1509358 w 2216005"/>
                <a:gd name="connsiteY25" fmla="*/ 1271825 h 2897778"/>
                <a:gd name="connsiteX26" fmla="*/ 1508303 w 2216005"/>
                <a:gd name="connsiteY26" fmla="*/ 1303635 h 2897778"/>
                <a:gd name="connsiteX27" fmla="*/ 923043 w 2216005"/>
                <a:gd name="connsiteY27" fmla="*/ 742752 h 2897778"/>
                <a:gd name="connsiteX28" fmla="*/ 898819 w 2216005"/>
                <a:gd name="connsiteY28" fmla="*/ 780216 h 2897778"/>
                <a:gd name="connsiteX29" fmla="*/ 954657 w 2216005"/>
                <a:gd name="connsiteY29" fmla="*/ 784832 h 2897778"/>
                <a:gd name="connsiteX30" fmla="*/ 995940 w 2216005"/>
                <a:gd name="connsiteY30" fmla="*/ 824532 h 2897778"/>
                <a:gd name="connsiteX31" fmla="*/ 1036902 w 2216005"/>
                <a:gd name="connsiteY31" fmla="*/ 837932 h 2897778"/>
                <a:gd name="connsiteX32" fmla="*/ 1027133 w 2216005"/>
                <a:gd name="connsiteY32" fmla="*/ 787122 h 2897778"/>
                <a:gd name="connsiteX33" fmla="*/ 1007945 w 2216005"/>
                <a:gd name="connsiteY33" fmla="*/ 726954 h 2897778"/>
                <a:gd name="connsiteX34" fmla="*/ 940120 w 2216005"/>
                <a:gd name="connsiteY34" fmla="*/ 679069 h 2897778"/>
                <a:gd name="connsiteX35" fmla="*/ 890884 w 2216005"/>
                <a:gd name="connsiteY35" fmla="*/ 660785 h 2897778"/>
                <a:gd name="connsiteX36" fmla="*/ 892709 w 2216005"/>
                <a:gd name="connsiteY36" fmla="*/ 711658 h 2897778"/>
                <a:gd name="connsiteX37" fmla="*/ 923043 w 2216005"/>
                <a:gd name="connsiteY37" fmla="*/ 742752 h 2897778"/>
                <a:gd name="connsiteX38" fmla="*/ 1154705 w 2216005"/>
                <a:gd name="connsiteY38" fmla="*/ 651177 h 2897778"/>
                <a:gd name="connsiteX39" fmla="*/ 1200569 w 2216005"/>
                <a:gd name="connsiteY39" fmla="*/ 650140 h 2897778"/>
                <a:gd name="connsiteX40" fmla="*/ 1180745 w 2216005"/>
                <a:gd name="connsiteY40" fmla="*/ 685939 h 2897778"/>
                <a:gd name="connsiteX41" fmla="*/ 1180361 w 2216005"/>
                <a:gd name="connsiteY41" fmla="*/ 733324 h 2897778"/>
                <a:gd name="connsiteX42" fmla="*/ 1207314 w 2216005"/>
                <a:gd name="connsiteY42" fmla="*/ 784814 h 2897778"/>
                <a:gd name="connsiteX43" fmla="*/ 1259296 w 2216005"/>
                <a:gd name="connsiteY43" fmla="*/ 800612 h 2897778"/>
                <a:gd name="connsiteX44" fmla="*/ 1303666 w 2216005"/>
                <a:gd name="connsiteY44" fmla="*/ 791756 h 2897778"/>
                <a:gd name="connsiteX45" fmla="*/ 1350012 w 2216005"/>
                <a:gd name="connsiteY45" fmla="*/ 695779 h 2897778"/>
                <a:gd name="connsiteX46" fmla="*/ 1384452 w 2216005"/>
                <a:gd name="connsiteY46" fmla="*/ 655999 h 2897778"/>
                <a:gd name="connsiteX47" fmla="*/ 1354217 w 2216005"/>
                <a:gd name="connsiteY47" fmla="*/ 611540 h 2897778"/>
                <a:gd name="connsiteX48" fmla="*/ 1334402 w 2216005"/>
                <a:gd name="connsiteY48" fmla="*/ 516288 h 2897778"/>
                <a:gd name="connsiteX49" fmla="*/ 1293262 w 2216005"/>
                <a:gd name="connsiteY49" fmla="*/ 487770 h 2897778"/>
                <a:gd name="connsiteX50" fmla="*/ 1251057 w 2216005"/>
                <a:gd name="connsiteY50" fmla="*/ 454832 h 2897778"/>
                <a:gd name="connsiteX51" fmla="*/ 1219023 w 2216005"/>
                <a:gd name="connsiteY51" fmla="*/ 369304 h 2897778"/>
                <a:gd name="connsiteX52" fmla="*/ 1160690 w 2216005"/>
                <a:gd name="connsiteY52" fmla="*/ 377686 h 2897778"/>
                <a:gd name="connsiteX53" fmla="*/ 1171648 w 2216005"/>
                <a:gd name="connsiteY53" fmla="*/ 414801 h 2897778"/>
                <a:gd name="connsiteX54" fmla="*/ 1145938 w 2216005"/>
                <a:gd name="connsiteY54" fmla="*/ 425947 h 2897778"/>
                <a:gd name="connsiteX55" fmla="*/ 1128557 w 2216005"/>
                <a:gd name="connsiteY55" fmla="*/ 473555 h 2897778"/>
                <a:gd name="connsiteX56" fmla="*/ 1111167 w 2216005"/>
                <a:gd name="connsiteY56" fmla="*/ 540271 h 2897778"/>
                <a:gd name="connsiteX57" fmla="*/ 1127055 w 2216005"/>
                <a:gd name="connsiteY57" fmla="*/ 605224 h 2897778"/>
                <a:gd name="connsiteX58" fmla="*/ 1154705 w 2216005"/>
                <a:gd name="connsiteY58" fmla="*/ 651177 h 2897778"/>
                <a:gd name="connsiteX59" fmla="*/ 584430 w 2216005"/>
                <a:gd name="connsiteY59" fmla="*/ 1128661 h 2897778"/>
                <a:gd name="connsiteX60" fmla="*/ 619496 w 2216005"/>
                <a:gd name="connsiteY60" fmla="*/ 1146132 h 2897778"/>
                <a:gd name="connsiteX61" fmla="*/ 732808 w 2216005"/>
                <a:gd name="connsiteY61" fmla="*/ 1134520 h 2897778"/>
                <a:gd name="connsiteX62" fmla="*/ 680710 w 2216005"/>
                <a:gd name="connsiteY62" fmla="*/ 1177199 h 2897778"/>
                <a:gd name="connsiteX63" fmla="*/ 683903 w 2216005"/>
                <a:gd name="connsiteY63" fmla="*/ 1207891 h 2897778"/>
                <a:gd name="connsiteX64" fmla="*/ 722047 w 2216005"/>
                <a:gd name="connsiteY64" fmla="*/ 1205780 h 2897778"/>
                <a:gd name="connsiteX65" fmla="*/ 785327 w 2216005"/>
                <a:gd name="connsiteY65" fmla="*/ 1164810 h 2897778"/>
                <a:gd name="connsiteX66" fmla="*/ 870265 w 2216005"/>
                <a:gd name="connsiteY66" fmla="*/ 1149844 h 2897778"/>
                <a:gd name="connsiteX67" fmla="*/ 885526 w 2216005"/>
                <a:gd name="connsiteY67" fmla="*/ 1103166 h 2897778"/>
                <a:gd name="connsiteX68" fmla="*/ 881116 w 2216005"/>
                <a:gd name="connsiteY68" fmla="*/ 1053349 h 2897778"/>
                <a:gd name="connsiteX69" fmla="*/ 854834 w 2216005"/>
                <a:gd name="connsiteY69" fmla="*/ 1048858 h 2897778"/>
                <a:gd name="connsiteX70" fmla="*/ 832497 w 2216005"/>
                <a:gd name="connsiteY70" fmla="*/ 1066114 h 2897778"/>
                <a:gd name="connsiteX71" fmla="*/ 822666 w 2216005"/>
                <a:gd name="connsiteY71" fmla="*/ 1029142 h 2897778"/>
                <a:gd name="connsiteX72" fmla="*/ 814213 w 2216005"/>
                <a:gd name="connsiteY72" fmla="*/ 978162 h 2897778"/>
                <a:gd name="connsiteX73" fmla="*/ 788315 w 2216005"/>
                <a:gd name="connsiteY73" fmla="*/ 965504 h 2897778"/>
                <a:gd name="connsiteX74" fmla="*/ 765334 w 2216005"/>
                <a:gd name="connsiteY74" fmla="*/ 1004963 h 2897778"/>
                <a:gd name="connsiteX75" fmla="*/ 801206 w 2216005"/>
                <a:gd name="connsiteY75" fmla="*/ 1103802 h 2897778"/>
                <a:gd name="connsiteX76" fmla="*/ 757391 w 2216005"/>
                <a:gd name="connsiteY76" fmla="*/ 1096189 h 2897778"/>
                <a:gd name="connsiteX77" fmla="*/ 712833 w 2216005"/>
                <a:gd name="connsiteY77" fmla="*/ 1035467 h 2897778"/>
                <a:gd name="connsiteX78" fmla="*/ 642244 w 2216005"/>
                <a:gd name="connsiteY78" fmla="*/ 999703 h 2897778"/>
                <a:gd name="connsiteX79" fmla="*/ 618637 w 2216005"/>
                <a:gd name="connsiteY79" fmla="*/ 1029411 h 2897778"/>
                <a:gd name="connsiteX80" fmla="*/ 584430 w 2216005"/>
                <a:gd name="connsiteY80" fmla="*/ 1128661 h 2897778"/>
                <a:gd name="connsiteX81" fmla="*/ 786267 w 2216005"/>
                <a:gd name="connsiteY81" fmla="*/ 752360 h 2897778"/>
                <a:gd name="connsiteX82" fmla="*/ 753651 w 2216005"/>
                <a:gd name="connsiteY82" fmla="*/ 726445 h 2897778"/>
                <a:gd name="connsiteX83" fmla="*/ 740197 w 2216005"/>
                <a:gd name="connsiteY83" fmla="*/ 720550 h 2897778"/>
                <a:gd name="connsiteX84" fmla="*/ 714470 w 2216005"/>
                <a:gd name="connsiteY84" fmla="*/ 758872 h 2897778"/>
                <a:gd name="connsiteX85" fmla="*/ 714068 w 2216005"/>
                <a:gd name="connsiteY85" fmla="*/ 776781 h 2897778"/>
                <a:gd name="connsiteX86" fmla="*/ 755718 w 2216005"/>
                <a:gd name="connsiteY86" fmla="*/ 776906 h 2897778"/>
                <a:gd name="connsiteX87" fmla="*/ 786267 w 2216005"/>
                <a:gd name="connsiteY87" fmla="*/ 752360 h 2897778"/>
                <a:gd name="connsiteX88" fmla="*/ 773135 w 2216005"/>
                <a:gd name="connsiteY88" fmla="*/ 862908 h 2897778"/>
                <a:gd name="connsiteX89" fmla="*/ 781472 w 2216005"/>
                <a:gd name="connsiteY89" fmla="*/ 827260 h 2897778"/>
                <a:gd name="connsiteX90" fmla="*/ 746102 w 2216005"/>
                <a:gd name="connsiteY90" fmla="*/ 808251 h 2897778"/>
                <a:gd name="connsiteX91" fmla="*/ 709479 w 2216005"/>
                <a:gd name="connsiteY91" fmla="*/ 820641 h 2897778"/>
                <a:gd name="connsiteX92" fmla="*/ 689163 w 2216005"/>
                <a:gd name="connsiteY92" fmla="*/ 858757 h 2897778"/>
                <a:gd name="connsiteX93" fmla="*/ 726368 w 2216005"/>
                <a:gd name="connsiteY93" fmla="*/ 896391 h 2897778"/>
                <a:gd name="connsiteX94" fmla="*/ 773135 w 2216005"/>
                <a:gd name="connsiteY94" fmla="*/ 862908 h 2897778"/>
                <a:gd name="connsiteX95" fmla="*/ 1033440 w 2216005"/>
                <a:gd name="connsiteY95" fmla="*/ 1160248 h 2897778"/>
                <a:gd name="connsiteX96" fmla="*/ 1074795 w 2216005"/>
                <a:gd name="connsiteY96" fmla="*/ 1150354 h 2897778"/>
                <a:gd name="connsiteX97" fmla="*/ 1086218 w 2216005"/>
                <a:gd name="connsiteY97" fmla="*/ 1076536 h 2897778"/>
                <a:gd name="connsiteX98" fmla="*/ 1085440 w 2216005"/>
                <a:gd name="connsiteY98" fmla="*/ 1023355 h 2897778"/>
                <a:gd name="connsiteX99" fmla="*/ 1066261 w 2216005"/>
                <a:gd name="connsiteY99" fmla="*/ 973618 h 2897778"/>
                <a:gd name="connsiteX100" fmla="*/ 1064329 w 2216005"/>
                <a:gd name="connsiteY100" fmla="*/ 987895 h 2897778"/>
                <a:gd name="connsiteX101" fmla="*/ 1029057 w 2216005"/>
                <a:gd name="connsiteY101" fmla="*/ 981642 h 2897778"/>
                <a:gd name="connsiteX102" fmla="*/ 991280 w 2216005"/>
                <a:gd name="connsiteY102" fmla="*/ 1018202 h 2897778"/>
                <a:gd name="connsiteX103" fmla="*/ 964291 w 2216005"/>
                <a:gd name="connsiteY103" fmla="*/ 1014892 h 2897778"/>
                <a:gd name="connsiteX104" fmla="*/ 965883 w 2216005"/>
                <a:gd name="connsiteY104" fmla="*/ 1094722 h 2897778"/>
                <a:gd name="connsiteX105" fmla="*/ 1006997 w 2216005"/>
                <a:gd name="connsiteY105" fmla="*/ 1086957 h 2897778"/>
                <a:gd name="connsiteX106" fmla="*/ 1006478 w 2216005"/>
                <a:gd name="connsiteY106" fmla="*/ 1144790 h 2897778"/>
                <a:gd name="connsiteX107" fmla="*/ 1033440 w 2216005"/>
                <a:gd name="connsiteY107" fmla="*/ 1160248 h 2897778"/>
                <a:gd name="connsiteX108" fmla="*/ 1004045 w 2216005"/>
                <a:gd name="connsiteY108" fmla="*/ 1568189 h 2897778"/>
                <a:gd name="connsiteX109" fmla="*/ 958781 w 2216005"/>
                <a:gd name="connsiteY109" fmla="*/ 1533060 h 2897778"/>
                <a:gd name="connsiteX110" fmla="*/ 916656 w 2216005"/>
                <a:gd name="connsiteY110" fmla="*/ 1495418 h 2897778"/>
                <a:gd name="connsiteX111" fmla="*/ 908883 w 2216005"/>
                <a:gd name="connsiteY111" fmla="*/ 1440134 h 2897778"/>
                <a:gd name="connsiteX112" fmla="*/ 893139 w 2216005"/>
                <a:gd name="connsiteY112" fmla="*/ 1360296 h 2897778"/>
                <a:gd name="connsiteX113" fmla="*/ 865041 w 2216005"/>
                <a:gd name="connsiteY113" fmla="*/ 1325954 h 2897778"/>
                <a:gd name="connsiteX114" fmla="*/ 840110 w 2216005"/>
                <a:gd name="connsiteY114" fmla="*/ 1312115 h 2897778"/>
                <a:gd name="connsiteX115" fmla="*/ 818041 w 2216005"/>
                <a:gd name="connsiteY115" fmla="*/ 1324791 h 2897778"/>
                <a:gd name="connsiteX116" fmla="*/ 835861 w 2216005"/>
                <a:gd name="connsiteY116" fmla="*/ 1410543 h 2897778"/>
                <a:gd name="connsiteX117" fmla="*/ 823256 w 2216005"/>
                <a:gd name="connsiteY117" fmla="*/ 1443918 h 2897778"/>
                <a:gd name="connsiteX118" fmla="*/ 802735 w 2216005"/>
                <a:gd name="connsiteY118" fmla="*/ 1363597 h 2897778"/>
                <a:gd name="connsiteX119" fmla="*/ 779817 w 2216005"/>
                <a:gd name="connsiteY119" fmla="*/ 1335821 h 2897778"/>
                <a:gd name="connsiteX120" fmla="*/ 751478 w 2216005"/>
                <a:gd name="connsiteY120" fmla="*/ 1378885 h 2897778"/>
                <a:gd name="connsiteX121" fmla="*/ 716599 w 2216005"/>
                <a:gd name="connsiteY121" fmla="*/ 1336304 h 2897778"/>
                <a:gd name="connsiteX122" fmla="*/ 660788 w 2216005"/>
                <a:gd name="connsiteY122" fmla="*/ 1361960 h 2897778"/>
                <a:gd name="connsiteX123" fmla="*/ 673303 w 2216005"/>
                <a:gd name="connsiteY123" fmla="*/ 1322036 h 2897778"/>
                <a:gd name="connsiteX124" fmla="*/ 647674 w 2216005"/>
                <a:gd name="connsiteY124" fmla="*/ 1305263 h 2897778"/>
                <a:gd name="connsiteX125" fmla="*/ 580520 w 2216005"/>
                <a:gd name="connsiteY125" fmla="*/ 1357487 h 2897778"/>
                <a:gd name="connsiteX126" fmla="*/ 563059 w 2216005"/>
                <a:gd name="connsiteY126" fmla="*/ 1390684 h 2897778"/>
                <a:gd name="connsiteX127" fmla="*/ 542001 w 2216005"/>
                <a:gd name="connsiteY127" fmla="*/ 1451254 h 2897778"/>
                <a:gd name="connsiteX128" fmla="*/ 585798 w 2216005"/>
                <a:gd name="connsiteY128" fmla="*/ 1471980 h 2897778"/>
                <a:gd name="connsiteX129" fmla="*/ 624487 w 2216005"/>
                <a:gd name="connsiteY129" fmla="*/ 1470889 h 2897778"/>
                <a:gd name="connsiteX130" fmla="*/ 566315 w 2216005"/>
                <a:gd name="connsiteY130" fmla="*/ 1501850 h 2897778"/>
                <a:gd name="connsiteX131" fmla="*/ 579545 w 2216005"/>
                <a:gd name="connsiteY131" fmla="*/ 1529840 h 2897778"/>
                <a:gd name="connsiteX132" fmla="*/ 615113 w 2216005"/>
                <a:gd name="connsiteY132" fmla="*/ 1531352 h 2897778"/>
                <a:gd name="connsiteX133" fmla="*/ 668705 w 2216005"/>
                <a:gd name="connsiteY133" fmla="*/ 1525367 h 2897778"/>
                <a:gd name="connsiteX134" fmla="*/ 717207 w 2216005"/>
                <a:gd name="connsiteY134" fmla="*/ 1542891 h 2897778"/>
                <a:gd name="connsiteX135" fmla="*/ 684467 w 2216005"/>
                <a:gd name="connsiteY135" fmla="*/ 1555818 h 2897778"/>
                <a:gd name="connsiteX136" fmla="*/ 649105 w 2216005"/>
                <a:gd name="connsiteY136" fmla="*/ 1552490 h 2897778"/>
                <a:gd name="connsiteX137" fmla="*/ 610389 w 2216005"/>
                <a:gd name="connsiteY137" fmla="*/ 1565094 h 2897778"/>
                <a:gd name="connsiteX138" fmla="*/ 593706 w 2216005"/>
                <a:gd name="connsiteY138" fmla="*/ 1572913 h 2897778"/>
                <a:gd name="connsiteX139" fmla="*/ 624613 w 2216005"/>
                <a:gd name="connsiteY139" fmla="*/ 1629752 h 2897778"/>
                <a:gd name="connsiteX140" fmla="*/ 646878 w 2216005"/>
                <a:gd name="connsiteY140" fmla="*/ 1621853 h 2897778"/>
                <a:gd name="connsiteX141" fmla="*/ 681121 w 2216005"/>
                <a:gd name="connsiteY141" fmla="*/ 1641041 h 2897778"/>
                <a:gd name="connsiteX142" fmla="*/ 694710 w 2216005"/>
                <a:gd name="connsiteY142" fmla="*/ 1673701 h 2897778"/>
                <a:gd name="connsiteX143" fmla="*/ 739330 w 2216005"/>
                <a:gd name="connsiteY143" fmla="*/ 1667216 h 2897778"/>
                <a:gd name="connsiteX144" fmla="*/ 802887 w 2216005"/>
                <a:gd name="connsiteY144" fmla="*/ 1656866 h 2897778"/>
                <a:gd name="connsiteX145" fmla="*/ 849977 w 2216005"/>
                <a:gd name="connsiteY145" fmla="*/ 1633196 h 2897778"/>
                <a:gd name="connsiteX146" fmla="*/ 879139 w 2216005"/>
                <a:gd name="connsiteY146" fmla="*/ 1628911 h 2897778"/>
                <a:gd name="connsiteX147" fmla="*/ 922283 w 2216005"/>
                <a:gd name="connsiteY147" fmla="*/ 1647831 h 2897778"/>
                <a:gd name="connsiteX148" fmla="*/ 967673 w 2216005"/>
                <a:gd name="connsiteY148" fmla="*/ 1658736 h 2897778"/>
                <a:gd name="connsiteX149" fmla="*/ 976126 w 2216005"/>
                <a:gd name="connsiteY149" fmla="*/ 1633160 h 2897778"/>
                <a:gd name="connsiteX150" fmla="*/ 960122 w 2216005"/>
                <a:gd name="connsiteY150" fmla="*/ 1605886 h 2897778"/>
                <a:gd name="connsiteX151" fmla="*/ 1001308 w 2216005"/>
                <a:gd name="connsiteY151" fmla="*/ 1600116 h 2897778"/>
                <a:gd name="connsiteX152" fmla="*/ 1004045 w 2216005"/>
                <a:gd name="connsiteY152" fmla="*/ 1568189 h 2897778"/>
                <a:gd name="connsiteX153" fmla="*/ 1073328 w 2216005"/>
                <a:gd name="connsiteY153" fmla="*/ 1559414 h 2897778"/>
                <a:gd name="connsiteX154" fmla="*/ 1055795 w 2216005"/>
                <a:gd name="connsiteY154" fmla="*/ 1591072 h 2897778"/>
                <a:gd name="connsiteX155" fmla="*/ 1033717 w 2216005"/>
                <a:gd name="connsiteY155" fmla="*/ 1613310 h 2897778"/>
                <a:gd name="connsiteX156" fmla="*/ 1067970 w 2216005"/>
                <a:gd name="connsiteY156" fmla="*/ 1644986 h 2897778"/>
                <a:gd name="connsiteX157" fmla="*/ 1088401 w 2216005"/>
                <a:gd name="connsiteY157" fmla="*/ 1637347 h 2897778"/>
                <a:gd name="connsiteX158" fmla="*/ 1122206 w 2216005"/>
                <a:gd name="connsiteY158" fmla="*/ 1658440 h 2897778"/>
                <a:gd name="connsiteX159" fmla="*/ 1137798 w 2216005"/>
                <a:gd name="connsiteY159" fmla="*/ 1634001 h 2897778"/>
                <a:gd name="connsiteX160" fmla="*/ 1122510 w 2216005"/>
                <a:gd name="connsiteY160" fmla="*/ 1606896 h 2897778"/>
                <a:gd name="connsiteX161" fmla="*/ 1114987 w 2216005"/>
                <a:gd name="connsiteY161" fmla="*/ 1593246 h 2897778"/>
                <a:gd name="connsiteX162" fmla="*/ 1099941 w 2216005"/>
                <a:gd name="connsiteY162" fmla="*/ 1580203 h 2897778"/>
                <a:gd name="connsiteX163" fmla="*/ 1073328 w 2216005"/>
                <a:gd name="connsiteY163" fmla="*/ 1559414 h 2897778"/>
                <a:gd name="connsiteX164" fmla="*/ 915771 w 2216005"/>
                <a:gd name="connsiteY164" fmla="*/ 1296031 h 2897778"/>
                <a:gd name="connsiteX165" fmla="*/ 896708 w 2216005"/>
                <a:gd name="connsiteY165" fmla="*/ 1276575 h 2897778"/>
                <a:gd name="connsiteX166" fmla="*/ 863100 w 2216005"/>
                <a:gd name="connsiteY166" fmla="*/ 1280126 h 2897778"/>
                <a:gd name="connsiteX167" fmla="*/ 854575 w 2216005"/>
                <a:gd name="connsiteY167" fmla="*/ 1292507 h 2897778"/>
                <a:gd name="connsiteX168" fmla="*/ 893702 w 2216005"/>
                <a:gd name="connsiteY168" fmla="*/ 1352907 h 2897778"/>
                <a:gd name="connsiteX169" fmla="*/ 915771 w 2216005"/>
                <a:gd name="connsiteY169" fmla="*/ 1296031 h 2897778"/>
                <a:gd name="connsiteX170" fmla="*/ 1172390 w 2216005"/>
                <a:gd name="connsiteY170" fmla="*/ 1413862 h 2897778"/>
                <a:gd name="connsiteX171" fmla="*/ 1199298 w 2216005"/>
                <a:gd name="connsiteY171" fmla="*/ 1351896 h 2897778"/>
                <a:gd name="connsiteX172" fmla="*/ 1229203 w 2216005"/>
                <a:gd name="connsiteY172" fmla="*/ 1335365 h 2897778"/>
                <a:gd name="connsiteX173" fmla="*/ 1266676 w 2216005"/>
                <a:gd name="connsiteY173" fmla="*/ 1257154 h 2897778"/>
                <a:gd name="connsiteX174" fmla="*/ 1218764 w 2216005"/>
                <a:gd name="connsiteY174" fmla="*/ 1235059 h 2897778"/>
                <a:gd name="connsiteX175" fmla="*/ 1166504 w 2216005"/>
                <a:gd name="connsiteY175" fmla="*/ 1231865 h 2897778"/>
                <a:gd name="connsiteX176" fmla="*/ 1141618 w 2216005"/>
                <a:gd name="connsiteY176" fmla="*/ 1256644 h 2897778"/>
                <a:gd name="connsiteX177" fmla="*/ 1128513 w 2216005"/>
                <a:gd name="connsiteY177" fmla="*/ 1294493 h 2897778"/>
                <a:gd name="connsiteX178" fmla="*/ 1128128 w 2216005"/>
                <a:gd name="connsiteY178" fmla="*/ 1337583 h 2897778"/>
                <a:gd name="connsiteX179" fmla="*/ 1143783 w 2216005"/>
                <a:gd name="connsiteY179" fmla="*/ 1410829 h 2897778"/>
                <a:gd name="connsiteX180" fmla="*/ 1172390 w 2216005"/>
                <a:gd name="connsiteY180" fmla="*/ 1413862 h 2897778"/>
                <a:gd name="connsiteX181" fmla="*/ 1325850 w 2216005"/>
                <a:gd name="connsiteY181" fmla="*/ 1208070 h 2897778"/>
                <a:gd name="connsiteX182" fmla="*/ 1377341 w 2216005"/>
                <a:gd name="connsiteY182" fmla="*/ 1206415 h 2897778"/>
                <a:gd name="connsiteX183" fmla="*/ 1449289 w 2216005"/>
                <a:gd name="connsiteY183" fmla="*/ 1191977 h 2897778"/>
                <a:gd name="connsiteX184" fmla="*/ 1481395 w 2216005"/>
                <a:gd name="connsiteY184" fmla="*/ 1203383 h 2897778"/>
                <a:gd name="connsiteX185" fmla="*/ 1518796 w 2216005"/>
                <a:gd name="connsiteY185" fmla="*/ 1183166 h 2897778"/>
                <a:gd name="connsiteX186" fmla="*/ 1534442 w 2216005"/>
                <a:gd name="connsiteY186" fmla="*/ 1157761 h 2897778"/>
                <a:gd name="connsiteX187" fmla="*/ 1528842 w 2216005"/>
                <a:gd name="connsiteY187" fmla="*/ 1117336 h 2897778"/>
                <a:gd name="connsiteX188" fmla="*/ 1501978 w 2216005"/>
                <a:gd name="connsiteY188" fmla="*/ 1079506 h 2897778"/>
                <a:gd name="connsiteX189" fmla="*/ 1461223 w 2216005"/>
                <a:gd name="connsiteY189" fmla="*/ 1072340 h 2897778"/>
                <a:gd name="connsiteX190" fmla="*/ 1410153 w 2216005"/>
                <a:gd name="connsiteY190" fmla="*/ 1081009 h 2897778"/>
                <a:gd name="connsiteX191" fmla="*/ 1370283 w 2216005"/>
                <a:gd name="connsiteY191" fmla="*/ 1102844 h 2897778"/>
                <a:gd name="connsiteX192" fmla="*/ 1333687 w 2216005"/>
                <a:gd name="connsiteY192" fmla="*/ 1094445 h 2897778"/>
                <a:gd name="connsiteX193" fmla="*/ 1299855 w 2216005"/>
                <a:gd name="connsiteY193" fmla="*/ 1090017 h 2897778"/>
                <a:gd name="connsiteX194" fmla="*/ 1283923 w 2216005"/>
                <a:gd name="connsiteY194" fmla="*/ 1065846 h 2897778"/>
                <a:gd name="connsiteX195" fmla="*/ 1255145 w 2216005"/>
                <a:gd name="connsiteY195" fmla="*/ 1042462 h 2897778"/>
                <a:gd name="connsiteX196" fmla="*/ 1260861 w 2216005"/>
                <a:gd name="connsiteY196" fmla="*/ 1002807 h 2897778"/>
                <a:gd name="connsiteX197" fmla="*/ 1239213 w 2216005"/>
                <a:gd name="connsiteY197" fmla="*/ 967186 h 2897778"/>
                <a:gd name="connsiteX198" fmla="*/ 1189834 w 2216005"/>
                <a:gd name="connsiteY198" fmla="*/ 967427 h 2897778"/>
                <a:gd name="connsiteX199" fmla="*/ 1161987 w 2216005"/>
                <a:gd name="connsiteY199" fmla="*/ 931753 h 2897778"/>
                <a:gd name="connsiteX200" fmla="*/ 1110291 w 2216005"/>
                <a:gd name="connsiteY200" fmla="*/ 924605 h 2897778"/>
                <a:gd name="connsiteX201" fmla="*/ 1100853 w 2216005"/>
                <a:gd name="connsiteY201" fmla="*/ 970192 h 2897778"/>
                <a:gd name="connsiteX202" fmla="*/ 1129926 w 2216005"/>
                <a:gd name="connsiteY202" fmla="*/ 1003692 h 2897778"/>
                <a:gd name="connsiteX203" fmla="*/ 1181810 w 2216005"/>
                <a:gd name="connsiteY203" fmla="*/ 1016699 h 2897778"/>
                <a:gd name="connsiteX204" fmla="*/ 1206991 w 2216005"/>
                <a:gd name="connsiteY204" fmla="*/ 1062277 h 2897778"/>
                <a:gd name="connsiteX205" fmla="*/ 1210042 w 2216005"/>
                <a:gd name="connsiteY205" fmla="*/ 1112389 h 2897778"/>
                <a:gd name="connsiteX206" fmla="*/ 1218719 w 2216005"/>
                <a:gd name="connsiteY206" fmla="*/ 1165973 h 2897778"/>
                <a:gd name="connsiteX207" fmla="*/ 1285381 w 2216005"/>
                <a:gd name="connsiteY207" fmla="*/ 1196540 h 2897778"/>
                <a:gd name="connsiteX208" fmla="*/ 1325850 w 2216005"/>
                <a:gd name="connsiteY208" fmla="*/ 1208070 h 2897778"/>
                <a:gd name="connsiteX209" fmla="*/ 529531 w 2216005"/>
                <a:gd name="connsiteY209" fmla="*/ 1044645 h 2897778"/>
                <a:gd name="connsiteX210" fmla="*/ 576155 w 2216005"/>
                <a:gd name="connsiteY210" fmla="*/ 999443 h 2897778"/>
                <a:gd name="connsiteX211" fmla="*/ 599592 w 2216005"/>
                <a:gd name="connsiteY211" fmla="*/ 994192 h 2897778"/>
                <a:gd name="connsiteX212" fmla="*/ 618914 w 2216005"/>
                <a:gd name="connsiteY212" fmla="*/ 956371 h 2897778"/>
                <a:gd name="connsiteX213" fmla="*/ 622358 w 2216005"/>
                <a:gd name="connsiteY213" fmla="*/ 868982 h 2897778"/>
                <a:gd name="connsiteX214" fmla="*/ 587954 w 2216005"/>
                <a:gd name="connsiteY214" fmla="*/ 886104 h 2897778"/>
                <a:gd name="connsiteX215" fmla="*/ 549488 w 2216005"/>
                <a:gd name="connsiteY215" fmla="*/ 884494 h 2897778"/>
                <a:gd name="connsiteX216" fmla="*/ 497980 w 2216005"/>
                <a:gd name="connsiteY216" fmla="*/ 957748 h 2897778"/>
                <a:gd name="connsiteX217" fmla="*/ 455409 w 2216005"/>
                <a:gd name="connsiteY217" fmla="*/ 1038052 h 2897778"/>
                <a:gd name="connsiteX218" fmla="*/ 489392 w 2216005"/>
                <a:gd name="connsiteY218" fmla="*/ 1060505 h 2897778"/>
                <a:gd name="connsiteX219" fmla="*/ 529531 w 2216005"/>
                <a:gd name="connsiteY219" fmla="*/ 1044645 h 2897778"/>
                <a:gd name="connsiteX220" fmla="*/ 1175199 w 2216005"/>
                <a:gd name="connsiteY220" fmla="*/ 1189321 h 2897778"/>
                <a:gd name="connsiteX221" fmla="*/ 1188841 w 2216005"/>
                <a:gd name="connsiteY221" fmla="*/ 1152286 h 2897778"/>
                <a:gd name="connsiteX222" fmla="*/ 1179690 w 2216005"/>
                <a:gd name="connsiteY222" fmla="*/ 1121353 h 2897778"/>
                <a:gd name="connsiteX223" fmla="*/ 1157791 w 2216005"/>
                <a:gd name="connsiteY223" fmla="*/ 1086304 h 2897778"/>
                <a:gd name="connsiteX224" fmla="*/ 1121732 w 2216005"/>
                <a:gd name="connsiteY224" fmla="*/ 1113302 h 2897778"/>
                <a:gd name="connsiteX225" fmla="*/ 1108376 w 2216005"/>
                <a:gd name="connsiteY225" fmla="*/ 1157349 h 2897778"/>
                <a:gd name="connsiteX226" fmla="*/ 1138782 w 2216005"/>
                <a:gd name="connsiteY226" fmla="*/ 1182281 h 2897778"/>
                <a:gd name="connsiteX227" fmla="*/ 1175199 w 2216005"/>
                <a:gd name="connsiteY227" fmla="*/ 1189321 h 2897778"/>
                <a:gd name="connsiteX228" fmla="*/ 1100880 w 2216005"/>
                <a:gd name="connsiteY228" fmla="*/ 1291630 h 2897778"/>
                <a:gd name="connsiteX229" fmla="*/ 1094359 w 2216005"/>
                <a:gd name="connsiteY229" fmla="*/ 1265858 h 2897778"/>
                <a:gd name="connsiteX230" fmla="*/ 1049613 w 2216005"/>
                <a:gd name="connsiteY230" fmla="*/ 1277165 h 2897778"/>
                <a:gd name="connsiteX231" fmla="*/ 1019700 w 2216005"/>
                <a:gd name="connsiteY231" fmla="*/ 1258317 h 2897778"/>
                <a:gd name="connsiteX232" fmla="*/ 990018 w 2216005"/>
                <a:gd name="connsiteY232" fmla="*/ 1301291 h 2897778"/>
                <a:gd name="connsiteX233" fmla="*/ 1017651 w 2216005"/>
                <a:gd name="connsiteY233" fmla="*/ 1357487 h 2897778"/>
                <a:gd name="connsiteX234" fmla="*/ 966438 w 2216005"/>
                <a:gd name="connsiteY234" fmla="*/ 1346985 h 2897778"/>
                <a:gd name="connsiteX235" fmla="*/ 965937 w 2216005"/>
                <a:gd name="connsiteY235" fmla="*/ 1373920 h 2897778"/>
                <a:gd name="connsiteX236" fmla="*/ 1028269 w 2216005"/>
                <a:gd name="connsiteY236" fmla="*/ 1436950 h 2897778"/>
                <a:gd name="connsiteX237" fmla="*/ 1045624 w 2216005"/>
                <a:gd name="connsiteY237" fmla="*/ 1467186 h 2897778"/>
                <a:gd name="connsiteX238" fmla="*/ 1069785 w 2216005"/>
                <a:gd name="connsiteY238" fmla="*/ 1473725 h 2897778"/>
                <a:gd name="connsiteX239" fmla="*/ 1110917 w 2216005"/>
                <a:gd name="connsiteY239" fmla="*/ 1443194 h 2897778"/>
                <a:gd name="connsiteX240" fmla="*/ 1115425 w 2216005"/>
                <a:gd name="connsiteY240" fmla="*/ 1369742 h 2897778"/>
                <a:gd name="connsiteX241" fmla="*/ 1077461 w 2216005"/>
                <a:gd name="connsiteY241" fmla="*/ 1333298 h 2897778"/>
                <a:gd name="connsiteX242" fmla="*/ 1100880 w 2216005"/>
                <a:gd name="connsiteY242" fmla="*/ 1291630 h 2897778"/>
                <a:gd name="connsiteX243" fmla="*/ 438967 w 2216005"/>
                <a:gd name="connsiteY243" fmla="*/ 2666893 h 2897778"/>
                <a:gd name="connsiteX244" fmla="*/ 428617 w 2216005"/>
                <a:gd name="connsiteY244" fmla="*/ 2645925 h 2897778"/>
                <a:gd name="connsiteX245" fmla="*/ 403578 w 2216005"/>
                <a:gd name="connsiteY245" fmla="*/ 2630100 h 2897778"/>
                <a:gd name="connsiteX246" fmla="*/ 391180 w 2216005"/>
                <a:gd name="connsiteY246" fmla="*/ 2611736 h 2897778"/>
                <a:gd name="connsiteX247" fmla="*/ 382646 w 2216005"/>
                <a:gd name="connsiteY247" fmla="*/ 2598273 h 2897778"/>
                <a:gd name="connsiteX248" fmla="*/ 359074 w 2216005"/>
                <a:gd name="connsiteY248" fmla="*/ 2594122 h 2897778"/>
                <a:gd name="connsiteX249" fmla="*/ 343679 w 2216005"/>
                <a:gd name="connsiteY249" fmla="*/ 2588155 h 2897778"/>
                <a:gd name="connsiteX250" fmla="*/ 317353 w 2216005"/>
                <a:gd name="connsiteY250" fmla="*/ 2579549 h 2897778"/>
                <a:gd name="connsiteX251" fmla="*/ 315188 w 2216005"/>
                <a:gd name="connsiteY251" fmla="*/ 2588683 h 2897778"/>
                <a:gd name="connsiteX252" fmla="*/ 324849 w 2216005"/>
                <a:gd name="connsiteY252" fmla="*/ 2609973 h 2897778"/>
                <a:gd name="connsiteX253" fmla="*/ 350666 w 2216005"/>
                <a:gd name="connsiteY253" fmla="*/ 2616960 h 2897778"/>
                <a:gd name="connsiteX254" fmla="*/ 355183 w 2216005"/>
                <a:gd name="connsiteY254" fmla="*/ 2627972 h 2897778"/>
                <a:gd name="connsiteX255" fmla="*/ 377627 w 2216005"/>
                <a:gd name="connsiteY255" fmla="*/ 2641408 h 2897778"/>
                <a:gd name="connsiteX256" fmla="*/ 385151 w 2216005"/>
                <a:gd name="connsiteY256" fmla="*/ 2654942 h 2897778"/>
                <a:gd name="connsiteX257" fmla="*/ 426336 w 2216005"/>
                <a:gd name="connsiteY257" fmla="*/ 2672118 h 2897778"/>
                <a:gd name="connsiteX258" fmla="*/ 438967 w 2216005"/>
                <a:gd name="connsiteY258" fmla="*/ 2666893 h 2897778"/>
                <a:gd name="connsiteX259" fmla="*/ 1527688 w 2216005"/>
                <a:gd name="connsiteY259" fmla="*/ 1972463 h 2897778"/>
                <a:gd name="connsiteX260" fmla="*/ 1509779 w 2216005"/>
                <a:gd name="connsiteY260" fmla="*/ 1953597 h 2897778"/>
                <a:gd name="connsiteX261" fmla="*/ 1491324 w 2216005"/>
                <a:gd name="connsiteY261" fmla="*/ 1958052 h 2897778"/>
                <a:gd name="connsiteX262" fmla="*/ 1489097 w 2216005"/>
                <a:gd name="connsiteY262" fmla="*/ 1930661 h 2897778"/>
                <a:gd name="connsiteX263" fmla="*/ 1460364 w 2216005"/>
                <a:gd name="connsiteY263" fmla="*/ 1912457 h 2897778"/>
                <a:gd name="connsiteX264" fmla="*/ 1432901 w 2216005"/>
                <a:gd name="connsiteY264" fmla="*/ 1892177 h 2897778"/>
                <a:gd name="connsiteX265" fmla="*/ 1418320 w 2216005"/>
                <a:gd name="connsiteY265" fmla="*/ 1876496 h 2897778"/>
                <a:gd name="connsiteX266" fmla="*/ 1405483 w 2216005"/>
                <a:gd name="connsiteY266" fmla="*/ 1885746 h 2897778"/>
                <a:gd name="connsiteX267" fmla="*/ 1400823 w 2216005"/>
                <a:gd name="connsiteY267" fmla="*/ 1859240 h 2897778"/>
                <a:gd name="connsiteX268" fmla="*/ 1382699 w 2216005"/>
                <a:gd name="connsiteY268" fmla="*/ 1854275 h 2897778"/>
                <a:gd name="connsiteX269" fmla="*/ 1374147 w 2216005"/>
                <a:gd name="connsiteY269" fmla="*/ 1909147 h 2897778"/>
                <a:gd name="connsiteX270" fmla="*/ 1370945 w 2216005"/>
                <a:gd name="connsiteY270" fmla="*/ 1954832 h 2897778"/>
                <a:gd name="connsiteX271" fmla="*/ 1349136 w 2216005"/>
                <a:gd name="connsiteY271" fmla="*/ 1982885 h 2897778"/>
                <a:gd name="connsiteX272" fmla="*/ 1383128 w 2216005"/>
                <a:gd name="connsiteY272" fmla="*/ 1977482 h 2897778"/>
                <a:gd name="connsiteX273" fmla="*/ 1391743 w 2216005"/>
                <a:gd name="connsiteY273" fmla="*/ 2010133 h 2897778"/>
                <a:gd name="connsiteX274" fmla="*/ 1427435 w 2216005"/>
                <a:gd name="connsiteY274" fmla="*/ 1981284 h 2897778"/>
                <a:gd name="connsiteX275" fmla="*/ 1452304 w 2216005"/>
                <a:gd name="connsiteY275" fmla="*/ 1951057 h 2897778"/>
                <a:gd name="connsiteX276" fmla="*/ 1466393 w 2216005"/>
                <a:gd name="connsiteY276" fmla="*/ 1976668 h 2897778"/>
                <a:gd name="connsiteX277" fmla="*/ 1505422 w 2216005"/>
                <a:gd name="connsiteY277" fmla="*/ 1990184 h 2897778"/>
                <a:gd name="connsiteX278" fmla="*/ 1527688 w 2216005"/>
                <a:gd name="connsiteY278" fmla="*/ 1972463 h 2897778"/>
                <a:gd name="connsiteX279" fmla="*/ 449451 w 2216005"/>
                <a:gd name="connsiteY279" fmla="*/ 1502431 h 2897778"/>
                <a:gd name="connsiteX280" fmla="*/ 515469 w 2216005"/>
                <a:gd name="connsiteY280" fmla="*/ 1465048 h 2897778"/>
                <a:gd name="connsiteX281" fmla="*/ 515469 w 2216005"/>
                <a:gd name="connsiteY281" fmla="*/ 1430393 h 2897778"/>
                <a:gd name="connsiteX282" fmla="*/ 546572 w 2216005"/>
                <a:gd name="connsiteY282" fmla="*/ 1373079 h 2897778"/>
                <a:gd name="connsiteX283" fmla="*/ 608072 w 2216005"/>
                <a:gd name="connsiteY283" fmla="*/ 1313243 h 2897778"/>
                <a:gd name="connsiteX284" fmla="*/ 639605 w 2216005"/>
                <a:gd name="connsiteY284" fmla="*/ 1291174 h 2897778"/>
                <a:gd name="connsiteX285" fmla="*/ 612679 w 2216005"/>
                <a:gd name="connsiteY285" fmla="*/ 1253612 h 2897778"/>
                <a:gd name="connsiteX286" fmla="*/ 588321 w 2216005"/>
                <a:gd name="connsiteY286" fmla="*/ 1227196 h 2897778"/>
                <a:gd name="connsiteX287" fmla="*/ 524253 w 2216005"/>
                <a:gd name="connsiteY287" fmla="*/ 1222079 h 2897778"/>
                <a:gd name="connsiteX288" fmla="*/ 488435 w 2216005"/>
                <a:gd name="connsiteY288" fmla="*/ 1202793 h 2897778"/>
                <a:gd name="connsiteX289" fmla="*/ 403659 w 2216005"/>
                <a:gd name="connsiteY289" fmla="*/ 1217329 h 2897778"/>
                <a:gd name="connsiteX290" fmla="*/ 428187 w 2216005"/>
                <a:gd name="connsiteY290" fmla="*/ 1273015 h 2897778"/>
                <a:gd name="connsiteX291" fmla="*/ 406432 w 2216005"/>
                <a:gd name="connsiteY291" fmla="*/ 1330543 h 2897778"/>
                <a:gd name="connsiteX292" fmla="*/ 389060 w 2216005"/>
                <a:gd name="connsiteY292" fmla="*/ 1391963 h 2897778"/>
                <a:gd name="connsiteX293" fmla="*/ 378298 w 2216005"/>
                <a:gd name="connsiteY293" fmla="*/ 1426475 h 2897778"/>
                <a:gd name="connsiteX294" fmla="*/ 436212 w 2216005"/>
                <a:gd name="connsiteY294" fmla="*/ 1468465 h 2897778"/>
                <a:gd name="connsiteX295" fmla="*/ 449451 w 2216005"/>
                <a:gd name="connsiteY295" fmla="*/ 1502431 h 2897778"/>
                <a:gd name="connsiteX296" fmla="*/ 1650268 w 2216005"/>
                <a:gd name="connsiteY296" fmla="*/ 1746670 h 2897778"/>
                <a:gd name="connsiteX297" fmla="*/ 1653095 w 2216005"/>
                <a:gd name="connsiteY297" fmla="*/ 1737644 h 2897778"/>
                <a:gd name="connsiteX298" fmla="*/ 1652817 w 2216005"/>
                <a:gd name="connsiteY298" fmla="*/ 1709242 h 2897778"/>
                <a:gd name="connsiteX299" fmla="*/ 1633236 w 2216005"/>
                <a:gd name="connsiteY299" fmla="*/ 1690599 h 2897778"/>
                <a:gd name="connsiteX300" fmla="*/ 1610246 w 2216005"/>
                <a:gd name="connsiteY300" fmla="*/ 1699965 h 2897778"/>
                <a:gd name="connsiteX301" fmla="*/ 1599592 w 2216005"/>
                <a:gd name="connsiteY301" fmla="*/ 1737241 h 2897778"/>
                <a:gd name="connsiteX302" fmla="*/ 1605853 w 2216005"/>
                <a:gd name="connsiteY302" fmla="*/ 1769078 h 2897778"/>
                <a:gd name="connsiteX303" fmla="*/ 1633969 w 2216005"/>
                <a:gd name="connsiteY303" fmla="*/ 1765849 h 2897778"/>
                <a:gd name="connsiteX304" fmla="*/ 1650268 w 2216005"/>
                <a:gd name="connsiteY304" fmla="*/ 1746670 h 2897778"/>
                <a:gd name="connsiteX305" fmla="*/ 1863341 w 2216005"/>
                <a:gd name="connsiteY305" fmla="*/ 1814173 h 2897778"/>
                <a:gd name="connsiteX306" fmla="*/ 1902772 w 2216005"/>
                <a:gd name="connsiteY306" fmla="*/ 1873222 h 2897778"/>
                <a:gd name="connsiteX307" fmla="*/ 1933634 w 2216005"/>
                <a:gd name="connsiteY307" fmla="*/ 1898761 h 2897778"/>
                <a:gd name="connsiteX308" fmla="*/ 1977655 w 2216005"/>
                <a:gd name="connsiteY308" fmla="*/ 1828360 h 2897778"/>
                <a:gd name="connsiteX309" fmla="*/ 1985465 w 2216005"/>
                <a:gd name="connsiteY309" fmla="*/ 1784232 h 2897778"/>
                <a:gd name="connsiteX310" fmla="*/ 1946015 w 2216005"/>
                <a:gd name="connsiteY310" fmla="*/ 1779992 h 2897778"/>
                <a:gd name="connsiteX311" fmla="*/ 1909965 w 2216005"/>
                <a:gd name="connsiteY311" fmla="*/ 1720093 h 2897778"/>
                <a:gd name="connsiteX312" fmla="*/ 1870148 w 2216005"/>
                <a:gd name="connsiteY312" fmla="*/ 1705422 h 2897778"/>
                <a:gd name="connsiteX313" fmla="*/ 1811072 w 2216005"/>
                <a:gd name="connsiteY313" fmla="*/ 1660981 h 2897778"/>
                <a:gd name="connsiteX314" fmla="*/ 1857124 w 2216005"/>
                <a:gd name="connsiteY314" fmla="*/ 1628473 h 2897778"/>
                <a:gd name="connsiteX315" fmla="*/ 1833400 w 2216005"/>
                <a:gd name="connsiteY315" fmla="*/ 1561006 h 2897778"/>
                <a:gd name="connsiteX316" fmla="*/ 1811555 w 2216005"/>
                <a:gd name="connsiteY316" fmla="*/ 1531003 h 2897778"/>
                <a:gd name="connsiteX317" fmla="*/ 1751003 w 2216005"/>
                <a:gd name="connsiteY317" fmla="*/ 1501018 h 2897778"/>
                <a:gd name="connsiteX318" fmla="*/ 1724864 w 2216005"/>
                <a:gd name="connsiteY318" fmla="*/ 1451379 h 2897778"/>
                <a:gd name="connsiteX319" fmla="*/ 1678285 w 2216005"/>
                <a:gd name="connsiteY319" fmla="*/ 1469189 h 2897778"/>
                <a:gd name="connsiteX320" fmla="*/ 1675038 w 2216005"/>
                <a:gd name="connsiteY320" fmla="*/ 1434633 h 2897778"/>
                <a:gd name="connsiteX321" fmla="*/ 1640491 w 2216005"/>
                <a:gd name="connsiteY321" fmla="*/ 1395971 h 2897778"/>
                <a:gd name="connsiteX322" fmla="*/ 1584841 w 2216005"/>
                <a:gd name="connsiteY322" fmla="*/ 1353801 h 2897778"/>
                <a:gd name="connsiteX323" fmla="*/ 1561117 w 2216005"/>
                <a:gd name="connsiteY323" fmla="*/ 1387025 h 2897778"/>
                <a:gd name="connsiteX324" fmla="*/ 1511496 w 2216005"/>
                <a:gd name="connsiteY324" fmla="*/ 1410838 h 2897778"/>
                <a:gd name="connsiteX325" fmla="*/ 1515227 w 2216005"/>
                <a:gd name="connsiteY325" fmla="*/ 1356592 h 2897778"/>
                <a:gd name="connsiteX326" fmla="*/ 1472199 w 2216005"/>
                <a:gd name="connsiteY326" fmla="*/ 1266672 h 2897778"/>
                <a:gd name="connsiteX327" fmla="*/ 1408632 w 2216005"/>
                <a:gd name="connsiteY327" fmla="*/ 1303018 h 2897778"/>
                <a:gd name="connsiteX328" fmla="*/ 1385454 w 2216005"/>
                <a:gd name="connsiteY328" fmla="*/ 1371907 h 2897778"/>
                <a:gd name="connsiteX329" fmla="*/ 1365694 w 2216005"/>
                <a:gd name="connsiteY329" fmla="*/ 1318923 h 2897778"/>
                <a:gd name="connsiteX330" fmla="*/ 1384148 w 2216005"/>
                <a:gd name="connsiteY330" fmla="*/ 1261931 h 2897778"/>
                <a:gd name="connsiteX331" fmla="*/ 1319383 w 2216005"/>
                <a:gd name="connsiteY331" fmla="*/ 1285646 h 2897778"/>
                <a:gd name="connsiteX332" fmla="*/ 1293593 w 2216005"/>
                <a:gd name="connsiteY332" fmla="*/ 1321347 h 2897778"/>
                <a:gd name="connsiteX333" fmla="*/ 1274315 w 2216005"/>
                <a:gd name="connsiteY333" fmla="*/ 1396677 h 2897778"/>
                <a:gd name="connsiteX334" fmla="*/ 1282268 w 2216005"/>
                <a:gd name="connsiteY334" fmla="*/ 1477643 h 2897778"/>
                <a:gd name="connsiteX335" fmla="*/ 1317898 w 2216005"/>
                <a:gd name="connsiteY335" fmla="*/ 1477983 h 2897778"/>
                <a:gd name="connsiteX336" fmla="*/ 1291670 w 2216005"/>
                <a:gd name="connsiteY336" fmla="*/ 1513085 h 2897778"/>
                <a:gd name="connsiteX337" fmla="*/ 1312530 w 2216005"/>
                <a:gd name="connsiteY337" fmla="*/ 1539573 h 2897778"/>
                <a:gd name="connsiteX338" fmla="*/ 1353206 w 2216005"/>
                <a:gd name="connsiteY338" fmla="*/ 1550799 h 2897778"/>
                <a:gd name="connsiteX339" fmla="*/ 1406261 w 2216005"/>
                <a:gd name="connsiteY339" fmla="*/ 1572420 h 2897778"/>
                <a:gd name="connsiteX340" fmla="*/ 1497541 w 2216005"/>
                <a:gd name="connsiteY340" fmla="*/ 1588683 h 2897778"/>
                <a:gd name="connsiteX341" fmla="*/ 1543011 w 2216005"/>
                <a:gd name="connsiteY341" fmla="*/ 1579344 h 2897778"/>
                <a:gd name="connsiteX342" fmla="*/ 1556439 w 2216005"/>
                <a:gd name="connsiteY342" fmla="*/ 1557696 h 2897778"/>
                <a:gd name="connsiteX343" fmla="*/ 1576217 w 2216005"/>
                <a:gd name="connsiteY343" fmla="*/ 1582636 h 2897778"/>
                <a:gd name="connsiteX344" fmla="*/ 1598321 w 2216005"/>
                <a:gd name="connsiteY344" fmla="*/ 1586769 h 2897778"/>
                <a:gd name="connsiteX345" fmla="*/ 1624872 w 2216005"/>
                <a:gd name="connsiteY345" fmla="*/ 1631183 h 2897778"/>
                <a:gd name="connsiteX346" fmla="*/ 1608805 w 2216005"/>
                <a:gd name="connsiteY346" fmla="*/ 1648896 h 2897778"/>
                <a:gd name="connsiteX347" fmla="*/ 1659616 w 2216005"/>
                <a:gd name="connsiteY347" fmla="*/ 1672386 h 2897778"/>
                <a:gd name="connsiteX348" fmla="*/ 1698037 w 2216005"/>
                <a:gd name="connsiteY348" fmla="*/ 1705288 h 2897778"/>
                <a:gd name="connsiteX349" fmla="*/ 1707707 w 2216005"/>
                <a:gd name="connsiteY349" fmla="*/ 1728099 h 2897778"/>
                <a:gd name="connsiteX350" fmla="*/ 1714604 w 2216005"/>
                <a:gd name="connsiteY350" fmla="*/ 1757073 h 2897778"/>
                <a:gd name="connsiteX351" fmla="*/ 1682159 w 2216005"/>
                <a:gd name="connsiteY351" fmla="*/ 1819021 h 2897778"/>
                <a:gd name="connsiteX352" fmla="*/ 1673401 w 2216005"/>
                <a:gd name="connsiteY352" fmla="*/ 1849820 h 2897778"/>
                <a:gd name="connsiteX353" fmla="*/ 1681783 w 2216005"/>
                <a:gd name="connsiteY353" fmla="*/ 1871495 h 2897778"/>
                <a:gd name="connsiteX354" fmla="*/ 1630149 w 2216005"/>
                <a:gd name="connsiteY354" fmla="*/ 1879180 h 2897778"/>
                <a:gd name="connsiteX355" fmla="*/ 1583016 w 2216005"/>
                <a:gd name="connsiteY355" fmla="*/ 1880244 h 2897778"/>
                <a:gd name="connsiteX356" fmla="*/ 1566493 w 2216005"/>
                <a:gd name="connsiteY356" fmla="*/ 1923800 h 2897778"/>
                <a:gd name="connsiteX357" fmla="*/ 1587712 w 2216005"/>
                <a:gd name="connsiteY357" fmla="*/ 1943712 h 2897778"/>
                <a:gd name="connsiteX358" fmla="*/ 1660233 w 2216005"/>
                <a:gd name="connsiteY358" fmla="*/ 1934490 h 2897778"/>
                <a:gd name="connsiteX359" fmla="*/ 1659831 w 2216005"/>
                <a:gd name="connsiteY359" fmla="*/ 1917591 h 2897778"/>
                <a:gd name="connsiteX360" fmla="*/ 1696355 w 2216005"/>
                <a:gd name="connsiteY360" fmla="*/ 1945752 h 2897778"/>
                <a:gd name="connsiteX361" fmla="*/ 1733774 w 2216005"/>
                <a:gd name="connsiteY361" fmla="*/ 1975057 h 2897778"/>
                <a:gd name="connsiteX362" fmla="*/ 1725016 w 2216005"/>
                <a:gd name="connsiteY362" fmla="*/ 1990918 h 2897778"/>
                <a:gd name="connsiteX363" fmla="*/ 1755413 w 2216005"/>
                <a:gd name="connsiteY363" fmla="*/ 2017942 h 2897778"/>
                <a:gd name="connsiteX364" fmla="*/ 1809238 w 2216005"/>
                <a:gd name="connsiteY364" fmla="*/ 2049564 h 2897778"/>
                <a:gd name="connsiteX365" fmla="*/ 1877260 w 2216005"/>
                <a:gd name="connsiteY365" fmla="*/ 2070953 h 2897778"/>
                <a:gd name="connsiteX366" fmla="*/ 1873181 w 2216005"/>
                <a:gd name="connsiteY366" fmla="*/ 2052266 h 2897778"/>
                <a:gd name="connsiteX367" fmla="*/ 1847060 w 2216005"/>
                <a:gd name="connsiteY367" fmla="*/ 2019418 h 2897778"/>
                <a:gd name="connsiteX368" fmla="*/ 1811609 w 2216005"/>
                <a:gd name="connsiteY368" fmla="*/ 1971354 h 2897778"/>
                <a:gd name="connsiteX369" fmla="*/ 1874523 w 2216005"/>
                <a:gd name="connsiteY369" fmla="*/ 2016055 h 2897778"/>
                <a:gd name="connsiteX370" fmla="*/ 1906154 w 2216005"/>
                <a:gd name="connsiteY370" fmla="*/ 2030904 h 2897778"/>
                <a:gd name="connsiteX371" fmla="*/ 1914795 w 2216005"/>
                <a:gd name="connsiteY371" fmla="*/ 1991204 h 2897778"/>
                <a:gd name="connsiteX372" fmla="*/ 1898470 w 2216005"/>
                <a:gd name="connsiteY372" fmla="*/ 1934865 h 2897778"/>
                <a:gd name="connsiteX373" fmla="*/ 1888138 w 2216005"/>
                <a:gd name="connsiteY373" fmla="*/ 1919399 h 2897778"/>
                <a:gd name="connsiteX374" fmla="*/ 1854091 w 2216005"/>
                <a:gd name="connsiteY374" fmla="*/ 1892249 h 2897778"/>
                <a:gd name="connsiteX375" fmla="*/ 1827711 w 2216005"/>
                <a:gd name="connsiteY375" fmla="*/ 1857263 h 2897778"/>
                <a:gd name="connsiteX376" fmla="*/ 1830877 w 2216005"/>
                <a:gd name="connsiteY376" fmla="*/ 1822000 h 2897778"/>
                <a:gd name="connsiteX377" fmla="*/ 1863341 w 2216005"/>
                <a:gd name="connsiteY377" fmla="*/ 1814173 h 2897778"/>
                <a:gd name="connsiteX378" fmla="*/ 1274449 w 2216005"/>
                <a:gd name="connsiteY378" fmla="*/ 368884 h 2897778"/>
                <a:gd name="connsiteX379" fmla="*/ 1295346 w 2216005"/>
                <a:gd name="connsiteY379" fmla="*/ 434124 h 2897778"/>
                <a:gd name="connsiteX380" fmla="*/ 1339689 w 2216005"/>
                <a:gd name="connsiteY380" fmla="*/ 486723 h 2897778"/>
                <a:gd name="connsiteX381" fmla="*/ 1427453 w 2216005"/>
                <a:gd name="connsiteY381" fmla="*/ 476990 h 2897778"/>
                <a:gd name="connsiteX382" fmla="*/ 1483926 w 2216005"/>
                <a:gd name="connsiteY382" fmla="*/ 494595 h 2897778"/>
                <a:gd name="connsiteX383" fmla="*/ 1444790 w 2216005"/>
                <a:gd name="connsiteY383" fmla="*/ 548742 h 2897778"/>
                <a:gd name="connsiteX384" fmla="*/ 1424984 w 2216005"/>
                <a:gd name="connsiteY384" fmla="*/ 532855 h 2897778"/>
                <a:gd name="connsiteX385" fmla="*/ 1356426 w 2216005"/>
                <a:gd name="connsiteY385" fmla="*/ 526486 h 2897778"/>
                <a:gd name="connsiteX386" fmla="*/ 1367071 w 2216005"/>
                <a:gd name="connsiteY386" fmla="*/ 600859 h 2897778"/>
                <a:gd name="connsiteX387" fmla="*/ 1402495 w 2216005"/>
                <a:gd name="connsiteY387" fmla="*/ 654854 h 2897778"/>
                <a:gd name="connsiteX388" fmla="*/ 1395384 w 2216005"/>
                <a:gd name="connsiteY388" fmla="*/ 701379 h 2897778"/>
                <a:gd name="connsiteX389" fmla="*/ 1350907 w 2216005"/>
                <a:gd name="connsiteY389" fmla="*/ 732349 h 2897778"/>
                <a:gd name="connsiteX390" fmla="*/ 1330591 w 2216005"/>
                <a:gd name="connsiteY390" fmla="*/ 781290 h 2897778"/>
                <a:gd name="connsiteX391" fmla="*/ 1371276 w 2216005"/>
                <a:gd name="connsiteY391" fmla="*/ 804959 h 2897778"/>
                <a:gd name="connsiteX392" fmla="*/ 1405474 w 2216005"/>
                <a:gd name="connsiteY392" fmla="*/ 881434 h 2897778"/>
                <a:gd name="connsiteX393" fmla="*/ 1338410 w 2216005"/>
                <a:gd name="connsiteY393" fmla="*/ 830418 h 2897778"/>
                <a:gd name="connsiteX394" fmla="*/ 1323113 w 2216005"/>
                <a:gd name="connsiteY394" fmla="*/ 838836 h 2897778"/>
                <a:gd name="connsiteX395" fmla="*/ 1335467 w 2216005"/>
                <a:gd name="connsiteY395" fmla="*/ 922718 h 2897778"/>
                <a:gd name="connsiteX396" fmla="*/ 1289093 w 2216005"/>
                <a:gd name="connsiteY396" fmla="*/ 948060 h 2897778"/>
                <a:gd name="connsiteX397" fmla="*/ 1292242 w 2216005"/>
                <a:gd name="connsiteY397" fmla="*/ 1000401 h 2897778"/>
                <a:gd name="connsiteX398" fmla="*/ 1339662 w 2216005"/>
                <a:gd name="connsiteY398" fmla="*/ 1006000 h 2897778"/>
                <a:gd name="connsiteX399" fmla="*/ 1376992 w 2216005"/>
                <a:gd name="connsiteY399" fmla="*/ 1018864 h 2897778"/>
                <a:gd name="connsiteX400" fmla="*/ 1450667 w 2216005"/>
                <a:gd name="connsiteY400" fmla="*/ 1002360 h 2897778"/>
                <a:gd name="connsiteX401" fmla="*/ 1516211 w 2216005"/>
                <a:gd name="connsiteY401" fmla="*/ 1031602 h 2897778"/>
                <a:gd name="connsiteX402" fmla="*/ 1583230 w 2216005"/>
                <a:gd name="connsiteY402" fmla="*/ 967275 h 2897778"/>
                <a:gd name="connsiteX403" fmla="*/ 1582685 w 2216005"/>
                <a:gd name="connsiteY403" fmla="*/ 940269 h 2897778"/>
                <a:gd name="connsiteX404" fmla="*/ 1539827 w 2216005"/>
                <a:gd name="connsiteY404" fmla="*/ 944581 h 2897778"/>
                <a:gd name="connsiteX405" fmla="*/ 1536320 w 2216005"/>
                <a:gd name="connsiteY405" fmla="*/ 919166 h 2897778"/>
                <a:gd name="connsiteX406" fmla="*/ 1571360 w 2216005"/>
                <a:gd name="connsiteY406" fmla="*/ 884914 h 2897778"/>
                <a:gd name="connsiteX407" fmla="*/ 1583257 w 2216005"/>
                <a:gd name="connsiteY407" fmla="*/ 838836 h 2897778"/>
                <a:gd name="connsiteX408" fmla="*/ 1622009 w 2216005"/>
                <a:gd name="connsiteY408" fmla="*/ 804584 h 2897778"/>
                <a:gd name="connsiteX409" fmla="*/ 1645840 w 2216005"/>
                <a:gd name="connsiteY409" fmla="*/ 761985 h 2897778"/>
                <a:gd name="connsiteX410" fmla="*/ 1625095 w 2216005"/>
                <a:gd name="connsiteY410" fmla="*/ 698445 h 2897778"/>
                <a:gd name="connsiteX411" fmla="*/ 1642432 w 2216005"/>
                <a:gd name="connsiteY411" fmla="*/ 674749 h 2897778"/>
                <a:gd name="connsiteX412" fmla="*/ 1607857 w 2216005"/>
                <a:gd name="connsiteY412" fmla="*/ 657868 h 2897778"/>
                <a:gd name="connsiteX413" fmla="*/ 1683795 w 2216005"/>
                <a:gd name="connsiteY413" fmla="*/ 643305 h 2897778"/>
                <a:gd name="connsiteX414" fmla="*/ 1699781 w 2216005"/>
                <a:gd name="connsiteY414" fmla="*/ 615154 h 2897778"/>
                <a:gd name="connsiteX415" fmla="*/ 1751522 w 2216005"/>
                <a:gd name="connsiteY415" fmla="*/ 591860 h 2897778"/>
                <a:gd name="connsiteX416" fmla="*/ 1794415 w 2216005"/>
                <a:gd name="connsiteY416" fmla="*/ 471337 h 2897778"/>
                <a:gd name="connsiteX417" fmla="*/ 1835287 w 2216005"/>
                <a:gd name="connsiteY417" fmla="*/ 427119 h 2897778"/>
                <a:gd name="connsiteX418" fmla="*/ 1894471 w 2216005"/>
                <a:gd name="connsiteY418" fmla="*/ 327610 h 2897778"/>
                <a:gd name="connsiteX419" fmla="*/ 1839868 w 2216005"/>
                <a:gd name="connsiteY419" fmla="*/ 328486 h 2897778"/>
                <a:gd name="connsiteX420" fmla="*/ 1862545 w 2216005"/>
                <a:gd name="connsiteY420" fmla="*/ 289994 h 2897778"/>
                <a:gd name="connsiteX421" fmla="*/ 1923231 w 2216005"/>
                <a:gd name="connsiteY421" fmla="*/ 254274 h 2897778"/>
                <a:gd name="connsiteX422" fmla="*/ 1984427 w 2216005"/>
                <a:gd name="connsiteY422" fmla="*/ 174633 h 2897778"/>
                <a:gd name="connsiteX423" fmla="*/ 1985527 w 2216005"/>
                <a:gd name="connsiteY423" fmla="*/ 123366 h 2897778"/>
                <a:gd name="connsiteX424" fmla="*/ 1939628 w 2216005"/>
                <a:gd name="connsiteY424" fmla="*/ 69317 h 2897778"/>
                <a:gd name="connsiteX425" fmla="*/ 1885767 w 2216005"/>
                <a:gd name="connsiteY425" fmla="*/ 43107 h 2897778"/>
                <a:gd name="connsiteX426" fmla="*/ 1818729 w 2216005"/>
                <a:gd name="connsiteY426" fmla="*/ 26835 h 2897778"/>
                <a:gd name="connsiteX427" fmla="*/ 1764413 w 2216005"/>
                <a:gd name="connsiteY427" fmla="*/ 13515 h 2897778"/>
                <a:gd name="connsiteX428" fmla="*/ 1710087 w 2216005"/>
                <a:gd name="connsiteY428" fmla="*/ 70 h 2897778"/>
                <a:gd name="connsiteX429" fmla="*/ 1637673 w 2216005"/>
                <a:gd name="connsiteY429" fmla="*/ 35646 h 2897778"/>
                <a:gd name="connsiteX430" fmla="*/ 1624344 w 2216005"/>
                <a:gd name="connsiteY430" fmla="*/ 13041 h 2897778"/>
                <a:gd name="connsiteX431" fmla="*/ 1547681 w 2216005"/>
                <a:gd name="connsiteY431" fmla="*/ 21772 h 2897778"/>
                <a:gd name="connsiteX432" fmla="*/ 1502703 w 2216005"/>
                <a:gd name="connsiteY432" fmla="*/ 44771 h 2897778"/>
                <a:gd name="connsiteX433" fmla="*/ 1469596 w 2216005"/>
                <a:gd name="connsiteY433" fmla="*/ 77422 h 2897778"/>
                <a:gd name="connsiteX434" fmla="*/ 1450515 w 2216005"/>
                <a:gd name="connsiteY434" fmla="*/ 182478 h 2897778"/>
                <a:gd name="connsiteX435" fmla="*/ 1423428 w 2216005"/>
                <a:gd name="connsiteY435" fmla="*/ 128957 h 2897778"/>
                <a:gd name="connsiteX436" fmla="*/ 1392324 w 2216005"/>
                <a:gd name="connsiteY436" fmla="*/ 118741 h 2897778"/>
                <a:gd name="connsiteX437" fmla="*/ 1355451 w 2216005"/>
                <a:gd name="connsiteY437" fmla="*/ 190037 h 2897778"/>
                <a:gd name="connsiteX438" fmla="*/ 1306242 w 2216005"/>
                <a:gd name="connsiteY438" fmla="*/ 219986 h 2897778"/>
                <a:gd name="connsiteX439" fmla="*/ 1276954 w 2216005"/>
                <a:gd name="connsiteY439" fmla="*/ 225926 h 2897778"/>
                <a:gd name="connsiteX440" fmla="*/ 1239660 w 2216005"/>
                <a:gd name="connsiteY440" fmla="*/ 260250 h 2897778"/>
                <a:gd name="connsiteX441" fmla="*/ 1245153 w 2216005"/>
                <a:gd name="connsiteY441" fmla="*/ 319702 h 2897778"/>
                <a:gd name="connsiteX442" fmla="*/ 1274449 w 2216005"/>
                <a:gd name="connsiteY442" fmla="*/ 368884 h 2897778"/>
                <a:gd name="connsiteX443" fmla="*/ 1940004 w 2216005"/>
                <a:gd name="connsiteY443" fmla="*/ 2739495 h 2897778"/>
                <a:gd name="connsiteX444" fmla="*/ 1931219 w 2216005"/>
                <a:gd name="connsiteY444" fmla="*/ 2721747 h 2897778"/>
                <a:gd name="connsiteX445" fmla="*/ 1921746 w 2216005"/>
                <a:gd name="connsiteY445" fmla="*/ 2733037 h 2897778"/>
                <a:gd name="connsiteX446" fmla="*/ 1928017 w 2216005"/>
                <a:gd name="connsiteY446" fmla="*/ 2745211 h 2897778"/>
                <a:gd name="connsiteX447" fmla="*/ 1959827 w 2216005"/>
                <a:gd name="connsiteY447" fmla="*/ 2760535 h 2897778"/>
                <a:gd name="connsiteX448" fmla="*/ 1969121 w 2216005"/>
                <a:gd name="connsiteY448" fmla="*/ 2758191 h 2897778"/>
                <a:gd name="connsiteX449" fmla="*/ 1981457 w 2216005"/>
                <a:gd name="connsiteY449" fmla="*/ 2743378 h 2897778"/>
                <a:gd name="connsiteX450" fmla="*/ 1958199 w 2216005"/>
                <a:gd name="connsiteY450" fmla="*/ 2744370 h 2897778"/>
                <a:gd name="connsiteX451" fmla="*/ 1940004 w 2216005"/>
                <a:gd name="connsiteY451" fmla="*/ 2739495 h 2897778"/>
                <a:gd name="connsiteX452" fmla="*/ 1430110 w 2216005"/>
                <a:gd name="connsiteY452" fmla="*/ 2042936 h 2897778"/>
                <a:gd name="connsiteX453" fmla="*/ 1435603 w 2216005"/>
                <a:gd name="connsiteY453" fmla="*/ 2057517 h 2897778"/>
                <a:gd name="connsiteX454" fmla="*/ 1453306 w 2216005"/>
                <a:gd name="connsiteY454" fmla="*/ 2058751 h 2897778"/>
                <a:gd name="connsiteX455" fmla="*/ 1482665 w 2216005"/>
                <a:gd name="connsiteY455" fmla="*/ 2028900 h 2897778"/>
                <a:gd name="connsiteX456" fmla="*/ 1483202 w 2216005"/>
                <a:gd name="connsiteY456" fmla="*/ 2018273 h 2897778"/>
                <a:gd name="connsiteX457" fmla="*/ 1448753 w 2216005"/>
                <a:gd name="connsiteY457" fmla="*/ 2017745 h 2897778"/>
                <a:gd name="connsiteX458" fmla="*/ 1430110 w 2216005"/>
                <a:gd name="connsiteY458" fmla="*/ 2042936 h 2897778"/>
                <a:gd name="connsiteX459" fmla="*/ 1985876 w 2216005"/>
                <a:gd name="connsiteY459" fmla="*/ 2637275 h 2897778"/>
                <a:gd name="connsiteX460" fmla="*/ 1960229 w 2216005"/>
                <a:gd name="connsiteY460" fmla="*/ 2621182 h 2897778"/>
                <a:gd name="connsiteX461" fmla="*/ 1927247 w 2216005"/>
                <a:gd name="connsiteY461" fmla="*/ 2611458 h 2897778"/>
                <a:gd name="connsiteX462" fmla="*/ 1918570 w 2216005"/>
                <a:gd name="connsiteY462" fmla="*/ 2614723 h 2897778"/>
                <a:gd name="connsiteX463" fmla="*/ 1941891 w 2216005"/>
                <a:gd name="connsiteY463" fmla="*/ 2632963 h 2897778"/>
                <a:gd name="connsiteX464" fmla="*/ 1974399 w 2216005"/>
                <a:gd name="connsiteY464" fmla="*/ 2644977 h 2897778"/>
                <a:gd name="connsiteX465" fmla="*/ 1986610 w 2216005"/>
                <a:gd name="connsiteY465" fmla="*/ 2644297 h 2897778"/>
                <a:gd name="connsiteX466" fmla="*/ 1985876 w 2216005"/>
                <a:gd name="connsiteY466" fmla="*/ 2637275 h 2897778"/>
                <a:gd name="connsiteX467" fmla="*/ 2208530 w 2216005"/>
                <a:gd name="connsiteY467" fmla="*/ 2680169 h 2897778"/>
                <a:gd name="connsiteX468" fmla="*/ 2205336 w 2216005"/>
                <a:gd name="connsiteY468" fmla="*/ 2660175 h 2897778"/>
                <a:gd name="connsiteX469" fmla="*/ 2187785 w 2216005"/>
                <a:gd name="connsiteY469" fmla="*/ 2666643 h 2897778"/>
                <a:gd name="connsiteX470" fmla="*/ 2195550 w 2216005"/>
                <a:gd name="connsiteY470" fmla="*/ 2638796 h 2897778"/>
                <a:gd name="connsiteX471" fmla="*/ 2170538 w 2216005"/>
                <a:gd name="connsiteY471" fmla="*/ 2626979 h 2897778"/>
                <a:gd name="connsiteX472" fmla="*/ 2158972 w 2216005"/>
                <a:gd name="connsiteY472" fmla="*/ 2636344 h 2897778"/>
                <a:gd name="connsiteX473" fmla="*/ 2136715 w 2216005"/>
                <a:gd name="connsiteY473" fmla="*/ 2625798 h 2897778"/>
                <a:gd name="connsiteX474" fmla="*/ 2145518 w 2216005"/>
                <a:gd name="connsiteY474" fmla="*/ 2612299 h 2897778"/>
                <a:gd name="connsiteX475" fmla="*/ 2128673 w 2216005"/>
                <a:gd name="connsiteY475" fmla="*/ 2603953 h 2897778"/>
                <a:gd name="connsiteX476" fmla="*/ 2112303 w 2216005"/>
                <a:gd name="connsiteY476" fmla="*/ 2617094 h 2897778"/>
                <a:gd name="connsiteX477" fmla="*/ 2128897 w 2216005"/>
                <a:gd name="connsiteY477" fmla="*/ 2582877 h 2897778"/>
                <a:gd name="connsiteX478" fmla="*/ 2142288 w 2216005"/>
                <a:gd name="connsiteY478" fmla="*/ 2557830 h 2897778"/>
                <a:gd name="connsiteX479" fmla="*/ 2147137 w 2216005"/>
                <a:gd name="connsiteY479" fmla="*/ 2546943 h 2897778"/>
                <a:gd name="connsiteX480" fmla="*/ 2135499 w 2216005"/>
                <a:gd name="connsiteY480" fmla="*/ 2545181 h 2897778"/>
                <a:gd name="connsiteX481" fmla="*/ 2113734 w 2216005"/>
                <a:gd name="connsiteY481" fmla="*/ 2559020 h 2897778"/>
                <a:gd name="connsiteX482" fmla="*/ 2098187 w 2216005"/>
                <a:gd name="connsiteY482" fmla="*/ 2581643 h 2897778"/>
                <a:gd name="connsiteX483" fmla="*/ 2072272 w 2216005"/>
                <a:gd name="connsiteY483" fmla="*/ 2643519 h 2897778"/>
                <a:gd name="connsiteX484" fmla="*/ 2051214 w 2216005"/>
                <a:gd name="connsiteY484" fmla="*/ 2666401 h 2897778"/>
                <a:gd name="connsiteX485" fmla="*/ 2062127 w 2216005"/>
                <a:gd name="connsiteY485" fmla="*/ 2676635 h 2897778"/>
                <a:gd name="connsiteX486" fmla="*/ 2046500 w 2216005"/>
                <a:gd name="connsiteY486" fmla="*/ 2689812 h 2897778"/>
                <a:gd name="connsiteX487" fmla="*/ 2050346 w 2216005"/>
                <a:gd name="connsiteY487" fmla="*/ 2700824 h 2897778"/>
                <a:gd name="connsiteX488" fmla="*/ 2099028 w 2216005"/>
                <a:gd name="connsiteY488" fmla="*/ 2701951 h 2897778"/>
                <a:gd name="connsiteX489" fmla="*/ 2125980 w 2216005"/>
                <a:gd name="connsiteY489" fmla="*/ 2699732 h 2897778"/>
                <a:gd name="connsiteX490" fmla="*/ 2150044 w 2216005"/>
                <a:gd name="connsiteY490" fmla="*/ 2708722 h 2897778"/>
                <a:gd name="connsiteX491" fmla="*/ 2132332 w 2216005"/>
                <a:gd name="connsiteY491" fmla="*/ 2726005 h 2897778"/>
                <a:gd name="connsiteX492" fmla="*/ 2147298 w 2216005"/>
                <a:gd name="connsiteY492" fmla="*/ 2727276 h 2897778"/>
                <a:gd name="connsiteX493" fmla="*/ 2176397 w 2216005"/>
                <a:gd name="connsiteY493" fmla="*/ 2695287 h 2897778"/>
                <a:gd name="connsiteX494" fmla="*/ 2183384 w 2216005"/>
                <a:gd name="connsiteY494" fmla="*/ 2700010 h 2897778"/>
                <a:gd name="connsiteX495" fmla="*/ 2177945 w 2216005"/>
                <a:gd name="connsiteY495" fmla="*/ 2730129 h 2897778"/>
                <a:gd name="connsiteX496" fmla="*/ 2194432 w 2216005"/>
                <a:gd name="connsiteY496" fmla="*/ 2737017 h 2897778"/>
                <a:gd name="connsiteX497" fmla="*/ 2205783 w 2216005"/>
                <a:gd name="connsiteY497" fmla="*/ 2735666 h 2897778"/>
                <a:gd name="connsiteX498" fmla="*/ 2216339 w 2216005"/>
                <a:gd name="connsiteY498" fmla="*/ 2703337 h 2897778"/>
                <a:gd name="connsiteX499" fmla="*/ 2208530 w 2216005"/>
                <a:gd name="connsiteY499" fmla="*/ 2680169 h 2897778"/>
                <a:gd name="connsiteX500" fmla="*/ 2018921 w 2216005"/>
                <a:gd name="connsiteY500" fmla="*/ 2722776 h 2897778"/>
                <a:gd name="connsiteX501" fmla="*/ 1993775 w 2216005"/>
                <a:gd name="connsiteY501" fmla="*/ 2763567 h 2897778"/>
                <a:gd name="connsiteX502" fmla="*/ 1952330 w 2216005"/>
                <a:gd name="connsiteY502" fmla="*/ 2768765 h 2897778"/>
                <a:gd name="connsiteX503" fmla="*/ 1919751 w 2216005"/>
                <a:gd name="connsiteY503" fmla="*/ 2750793 h 2897778"/>
                <a:gd name="connsiteX504" fmla="*/ 1911566 w 2216005"/>
                <a:gd name="connsiteY504" fmla="*/ 2723330 h 2897778"/>
                <a:gd name="connsiteX505" fmla="*/ 1903613 w 2216005"/>
                <a:gd name="connsiteY505" fmla="*/ 2683416 h 2897778"/>
                <a:gd name="connsiteX506" fmla="*/ 1927301 w 2216005"/>
                <a:gd name="connsiteY506" fmla="*/ 2658109 h 2897778"/>
                <a:gd name="connsiteX507" fmla="*/ 1905098 w 2216005"/>
                <a:gd name="connsiteY507" fmla="*/ 2639422 h 2897778"/>
                <a:gd name="connsiteX508" fmla="*/ 1867572 w 2216005"/>
                <a:gd name="connsiteY508" fmla="*/ 2643233 h 2897778"/>
                <a:gd name="connsiteX509" fmla="*/ 1814964 w 2216005"/>
                <a:gd name="connsiteY509" fmla="*/ 2674810 h 2897778"/>
                <a:gd name="connsiteX510" fmla="*/ 1774700 w 2216005"/>
                <a:gd name="connsiteY510" fmla="*/ 2723581 h 2897778"/>
                <a:gd name="connsiteX511" fmla="*/ 1753400 w 2216005"/>
                <a:gd name="connsiteY511" fmla="*/ 2729592 h 2897778"/>
                <a:gd name="connsiteX512" fmla="*/ 1782268 w 2216005"/>
                <a:gd name="connsiteY512" fmla="*/ 2695564 h 2897778"/>
                <a:gd name="connsiteX513" fmla="*/ 1818443 w 2216005"/>
                <a:gd name="connsiteY513" fmla="*/ 2645702 h 2897778"/>
                <a:gd name="connsiteX514" fmla="*/ 1850423 w 2216005"/>
                <a:gd name="connsiteY514" fmla="*/ 2628714 h 2897778"/>
                <a:gd name="connsiteX515" fmla="*/ 1871427 w 2216005"/>
                <a:gd name="connsiteY515" fmla="*/ 2600876 h 2897778"/>
                <a:gd name="connsiteX516" fmla="*/ 1897405 w 2216005"/>
                <a:gd name="connsiteY516" fmla="*/ 2598165 h 2897778"/>
                <a:gd name="connsiteX517" fmla="*/ 1935048 w 2216005"/>
                <a:gd name="connsiteY517" fmla="*/ 2598442 h 2897778"/>
                <a:gd name="connsiteX518" fmla="*/ 1988694 w 2216005"/>
                <a:gd name="connsiteY518" fmla="*/ 2606663 h 2897778"/>
                <a:gd name="connsiteX519" fmla="*/ 2031096 w 2216005"/>
                <a:gd name="connsiteY519" fmla="*/ 2600330 h 2897778"/>
                <a:gd name="connsiteX520" fmla="*/ 2062655 w 2216005"/>
                <a:gd name="connsiteY520" fmla="*/ 2567911 h 2897778"/>
                <a:gd name="connsiteX521" fmla="*/ 2103993 w 2216005"/>
                <a:gd name="connsiteY521" fmla="*/ 2553715 h 2897778"/>
                <a:gd name="connsiteX522" fmla="*/ 2121991 w 2216005"/>
                <a:gd name="connsiteY522" fmla="*/ 2539581 h 2897778"/>
                <a:gd name="connsiteX523" fmla="*/ 2140195 w 2216005"/>
                <a:gd name="connsiteY523" fmla="*/ 2524320 h 2897778"/>
                <a:gd name="connsiteX524" fmla="*/ 2138361 w 2216005"/>
                <a:gd name="connsiteY524" fmla="*/ 2477911 h 2897778"/>
                <a:gd name="connsiteX525" fmla="*/ 2128289 w 2216005"/>
                <a:gd name="connsiteY525" fmla="*/ 2462059 h 2897778"/>
                <a:gd name="connsiteX526" fmla="*/ 2108751 w 2216005"/>
                <a:gd name="connsiteY526" fmla="*/ 2456442 h 2897778"/>
                <a:gd name="connsiteX527" fmla="*/ 2098813 w 2216005"/>
                <a:gd name="connsiteY527" fmla="*/ 2420239 h 2897778"/>
                <a:gd name="connsiteX528" fmla="*/ 2082711 w 2216005"/>
                <a:gd name="connsiteY528" fmla="*/ 2406391 h 2897778"/>
                <a:gd name="connsiteX529" fmla="*/ 2042716 w 2216005"/>
                <a:gd name="connsiteY529" fmla="*/ 2395084 h 2897778"/>
                <a:gd name="connsiteX530" fmla="*/ 2020164 w 2216005"/>
                <a:gd name="connsiteY530" fmla="*/ 2369840 h 2897778"/>
                <a:gd name="connsiteX531" fmla="*/ 1986806 w 2216005"/>
                <a:gd name="connsiteY531" fmla="*/ 2344560 h 2897778"/>
                <a:gd name="connsiteX532" fmla="*/ 1996888 w 2216005"/>
                <a:gd name="connsiteY532" fmla="*/ 2315961 h 2897778"/>
                <a:gd name="connsiteX533" fmla="*/ 1969148 w 2216005"/>
                <a:gd name="connsiteY533" fmla="*/ 2259963 h 2897778"/>
                <a:gd name="connsiteX534" fmla="*/ 1936488 w 2216005"/>
                <a:gd name="connsiteY534" fmla="*/ 2198301 h 2897778"/>
                <a:gd name="connsiteX535" fmla="*/ 1916951 w 2216005"/>
                <a:gd name="connsiteY535" fmla="*/ 2153726 h 2897778"/>
                <a:gd name="connsiteX536" fmla="*/ 1900357 w 2216005"/>
                <a:gd name="connsiteY536" fmla="*/ 2177083 h 2897778"/>
                <a:gd name="connsiteX537" fmla="*/ 1876365 w 2216005"/>
                <a:gd name="connsiteY537" fmla="*/ 2231230 h 2897778"/>
                <a:gd name="connsiteX538" fmla="*/ 1840047 w 2216005"/>
                <a:gd name="connsiteY538" fmla="*/ 2257825 h 2897778"/>
                <a:gd name="connsiteX539" fmla="*/ 1821869 w 2216005"/>
                <a:gd name="connsiteY539" fmla="*/ 2229602 h 2897778"/>
                <a:gd name="connsiteX540" fmla="*/ 1798960 w 2216005"/>
                <a:gd name="connsiteY540" fmla="*/ 2222025 h 2897778"/>
                <a:gd name="connsiteX541" fmla="*/ 1790623 w 2216005"/>
                <a:gd name="connsiteY541" fmla="*/ 2159496 h 2897778"/>
                <a:gd name="connsiteX542" fmla="*/ 1791374 w 2216005"/>
                <a:gd name="connsiteY542" fmla="*/ 2116584 h 2897778"/>
                <a:gd name="connsiteX543" fmla="*/ 1746647 w 2216005"/>
                <a:gd name="connsiteY543" fmla="*/ 2112666 h 2897778"/>
                <a:gd name="connsiteX544" fmla="*/ 1739034 w 2216005"/>
                <a:gd name="connsiteY544" fmla="*/ 2092395 h 2897778"/>
                <a:gd name="connsiteX545" fmla="*/ 1708145 w 2216005"/>
                <a:gd name="connsiteY545" fmla="*/ 2061659 h 2897778"/>
                <a:gd name="connsiteX546" fmla="*/ 1684789 w 2216005"/>
                <a:gd name="connsiteY546" fmla="*/ 2043419 h 2897778"/>
                <a:gd name="connsiteX547" fmla="*/ 1664017 w 2216005"/>
                <a:gd name="connsiteY547" fmla="*/ 2057580 h 2897778"/>
                <a:gd name="connsiteX548" fmla="*/ 1638227 w 2216005"/>
                <a:gd name="connsiteY548" fmla="*/ 2052347 h 2897778"/>
                <a:gd name="connsiteX549" fmla="*/ 1595226 w 2216005"/>
                <a:gd name="connsiteY549" fmla="*/ 2037622 h 2897778"/>
                <a:gd name="connsiteX550" fmla="*/ 1577764 w 2216005"/>
                <a:gd name="connsiteY550" fmla="*/ 2050119 h 2897778"/>
                <a:gd name="connsiteX551" fmla="*/ 1586147 w 2216005"/>
                <a:gd name="connsiteY551" fmla="*/ 2132212 h 2897778"/>
                <a:gd name="connsiteX552" fmla="*/ 1597078 w 2216005"/>
                <a:gd name="connsiteY552" fmla="*/ 2177977 h 2897778"/>
                <a:gd name="connsiteX553" fmla="*/ 1567477 w 2216005"/>
                <a:gd name="connsiteY553" fmla="*/ 2229423 h 2897778"/>
                <a:gd name="connsiteX554" fmla="*/ 1597946 w 2216005"/>
                <a:gd name="connsiteY554" fmla="*/ 2265402 h 2897778"/>
                <a:gd name="connsiteX555" fmla="*/ 1614978 w 2216005"/>
                <a:gd name="connsiteY555" fmla="*/ 2305120 h 2897778"/>
                <a:gd name="connsiteX556" fmla="*/ 1617026 w 2216005"/>
                <a:gd name="connsiteY556" fmla="*/ 2335731 h 2897778"/>
                <a:gd name="connsiteX557" fmla="*/ 1603125 w 2216005"/>
                <a:gd name="connsiteY557" fmla="*/ 2367076 h 2897778"/>
                <a:gd name="connsiteX558" fmla="*/ 1574705 w 2216005"/>
                <a:gd name="connsiteY558" fmla="*/ 2398036 h 2897778"/>
                <a:gd name="connsiteX559" fmla="*/ 1534549 w 2216005"/>
                <a:gd name="connsiteY559" fmla="*/ 2418441 h 2897778"/>
                <a:gd name="connsiteX560" fmla="*/ 1552243 w 2216005"/>
                <a:gd name="connsiteY560" fmla="*/ 2441064 h 2897778"/>
                <a:gd name="connsiteX561" fmla="*/ 1565339 w 2216005"/>
                <a:gd name="connsiteY561" fmla="*/ 2507279 h 2897778"/>
                <a:gd name="connsiteX562" fmla="*/ 1551769 w 2216005"/>
                <a:gd name="connsiteY562" fmla="*/ 2549108 h 2897778"/>
                <a:gd name="connsiteX563" fmla="*/ 1532456 w 2216005"/>
                <a:gd name="connsiteY563" fmla="*/ 2562151 h 2897778"/>
                <a:gd name="connsiteX564" fmla="*/ 1495135 w 2216005"/>
                <a:gd name="connsiteY564" fmla="*/ 2523837 h 2897778"/>
                <a:gd name="connsiteX565" fmla="*/ 1476967 w 2216005"/>
                <a:gd name="connsiteY565" fmla="*/ 2477607 h 2897778"/>
                <a:gd name="connsiteX566" fmla="*/ 1469166 w 2216005"/>
                <a:gd name="connsiteY566" fmla="*/ 2435035 h 2897778"/>
                <a:gd name="connsiteX567" fmla="*/ 1473263 w 2216005"/>
                <a:gd name="connsiteY567" fmla="*/ 2397518 h 2897778"/>
                <a:gd name="connsiteX568" fmla="*/ 1445979 w 2216005"/>
                <a:gd name="connsiteY568" fmla="*/ 2393277 h 2897778"/>
                <a:gd name="connsiteX569" fmla="*/ 1404562 w 2216005"/>
                <a:gd name="connsiteY569" fmla="*/ 2390746 h 2897778"/>
                <a:gd name="connsiteX570" fmla="*/ 1377985 w 2216005"/>
                <a:gd name="connsiteY570" fmla="*/ 2372121 h 2897778"/>
                <a:gd name="connsiteX571" fmla="*/ 1346559 w 2216005"/>
                <a:gd name="connsiteY571" fmla="*/ 2359839 h 2897778"/>
                <a:gd name="connsiteX572" fmla="*/ 1328615 w 2216005"/>
                <a:gd name="connsiteY572" fmla="*/ 2338558 h 2897778"/>
                <a:gd name="connsiteX573" fmla="*/ 1303540 w 2216005"/>
                <a:gd name="connsiteY573" fmla="*/ 2321248 h 2897778"/>
                <a:gd name="connsiteX574" fmla="*/ 1256934 w 2216005"/>
                <a:gd name="connsiteY574" fmla="*/ 2301309 h 2897778"/>
                <a:gd name="connsiteX575" fmla="*/ 1221841 w 2216005"/>
                <a:gd name="connsiteY575" fmla="*/ 2310433 h 2897778"/>
                <a:gd name="connsiteX576" fmla="*/ 1210114 w 2216005"/>
                <a:gd name="connsiteY576" fmla="*/ 2275125 h 2897778"/>
                <a:gd name="connsiteX577" fmla="*/ 1198815 w 2216005"/>
                <a:gd name="connsiteY577" fmla="*/ 2230487 h 2897778"/>
                <a:gd name="connsiteX578" fmla="*/ 1161960 w 2216005"/>
                <a:gd name="connsiteY578" fmla="*/ 2222418 h 2897778"/>
                <a:gd name="connsiteX579" fmla="*/ 1163346 w 2216005"/>
                <a:gd name="connsiteY579" fmla="*/ 2165069 h 2897778"/>
                <a:gd name="connsiteX580" fmla="*/ 1173070 w 2216005"/>
                <a:gd name="connsiteY580" fmla="*/ 2124966 h 2897778"/>
                <a:gd name="connsiteX581" fmla="*/ 1200273 w 2216005"/>
                <a:gd name="connsiteY581" fmla="*/ 2065926 h 2897778"/>
                <a:gd name="connsiteX582" fmla="*/ 1230965 w 2216005"/>
                <a:gd name="connsiteY582" fmla="*/ 2022075 h 2897778"/>
                <a:gd name="connsiteX583" fmla="*/ 1260146 w 2216005"/>
                <a:gd name="connsiteY583" fmla="*/ 2015196 h 2897778"/>
                <a:gd name="connsiteX584" fmla="*/ 1261810 w 2216005"/>
                <a:gd name="connsiteY584" fmla="*/ 1978985 h 2897778"/>
                <a:gd name="connsiteX585" fmla="*/ 1281606 w 2216005"/>
                <a:gd name="connsiteY585" fmla="*/ 1954993 h 2897778"/>
                <a:gd name="connsiteX586" fmla="*/ 1317513 w 2216005"/>
                <a:gd name="connsiteY586" fmla="*/ 1951200 h 2897778"/>
                <a:gd name="connsiteX587" fmla="*/ 1346604 w 2216005"/>
                <a:gd name="connsiteY587" fmla="*/ 1911911 h 2897778"/>
                <a:gd name="connsiteX588" fmla="*/ 1353921 w 2216005"/>
                <a:gd name="connsiteY588" fmla="*/ 1885996 h 2897778"/>
                <a:gd name="connsiteX589" fmla="*/ 1378101 w 2216005"/>
                <a:gd name="connsiteY589" fmla="*/ 1834783 h 2897778"/>
                <a:gd name="connsiteX590" fmla="*/ 1385579 w 2216005"/>
                <a:gd name="connsiteY590" fmla="*/ 1803474 h 2897778"/>
                <a:gd name="connsiteX591" fmla="*/ 1411512 w 2216005"/>
                <a:gd name="connsiteY591" fmla="*/ 1822322 h 2897778"/>
                <a:gd name="connsiteX592" fmla="*/ 1446391 w 2216005"/>
                <a:gd name="connsiteY592" fmla="*/ 1812697 h 2897778"/>
                <a:gd name="connsiteX593" fmla="*/ 1495502 w 2216005"/>
                <a:gd name="connsiteY593" fmla="*/ 1768291 h 2897778"/>
                <a:gd name="connsiteX594" fmla="*/ 1498695 w 2216005"/>
                <a:gd name="connsiteY594" fmla="*/ 1736633 h 2897778"/>
                <a:gd name="connsiteX595" fmla="*/ 1481010 w 2216005"/>
                <a:gd name="connsiteY595" fmla="*/ 1701030 h 2897778"/>
                <a:gd name="connsiteX596" fmla="*/ 1499670 w 2216005"/>
                <a:gd name="connsiteY596" fmla="*/ 1664738 h 2897778"/>
                <a:gd name="connsiteX597" fmla="*/ 1498159 w 2216005"/>
                <a:gd name="connsiteY597" fmla="*/ 1630164 h 2897778"/>
                <a:gd name="connsiteX598" fmla="*/ 1464497 w 2216005"/>
                <a:gd name="connsiteY598" fmla="*/ 1594802 h 2897778"/>
                <a:gd name="connsiteX599" fmla="*/ 1427418 w 2216005"/>
                <a:gd name="connsiteY599" fmla="*/ 1584157 h 2897778"/>
                <a:gd name="connsiteX600" fmla="*/ 1391770 w 2216005"/>
                <a:gd name="connsiteY600" fmla="*/ 1578575 h 2897778"/>
                <a:gd name="connsiteX601" fmla="*/ 1390401 w 2216005"/>
                <a:gd name="connsiteY601" fmla="*/ 1656526 h 2897778"/>
                <a:gd name="connsiteX602" fmla="*/ 1372108 w 2216005"/>
                <a:gd name="connsiteY602" fmla="*/ 1715164 h 2897778"/>
                <a:gd name="connsiteX603" fmla="*/ 1345915 w 2216005"/>
                <a:gd name="connsiteY603" fmla="*/ 1762611 h 2897778"/>
                <a:gd name="connsiteX604" fmla="*/ 1321655 w 2216005"/>
                <a:gd name="connsiteY604" fmla="*/ 1718366 h 2897778"/>
                <a:gd name="connsiteX605" fmla="*/ 1329124 w 2216005"/>
                <a:gd name="connsiteY605" fmla="*/ 1668218 h 2897778"/>
                <a:gd name="connsiteX606" fmla="*/ 1299139 w 2216005"/>
                <a:gd name="connsiteY606" fmla="*/ 1623329 h 2897778"/>
                <a:gd name="connsiteX607" fmla="*/ 1265620 w 2216005"/>
                <a:gd name="connsiteY607" fmla="*/ 1677807 h 2897778"/>
                <a:gd name="connsiteX608" fmla="*/ 1265728 w 2216005"/>
                <a:gd name="connsiteY608" fmla="*/ 1606324 h 2897778"/>
                <a:gd name="connsiteX609" fmla="*/ 1219086 w 2216005"/>
                <a:gd name="connsiteY609" fmla="*/ 1591779 h 2897778"/>
                <a:gd name="connsiteX610" fmla="*/ 1241342 w 2216005"/>
                <a:gd name="connsiteY610" fmla="*/ 1555871 h 2897778"/>
                <a:gd name="connsiteX611" fmla="*/ 1207269 w 2216005"/>
                <a:gd name="connsiteY611" fmla="*/ 1470120 h 2897778"/>
                <a:gd name="connsiteX612" fmla="*/ 1181899 w 2216005"/>
                <a:gd name="connsiteY612" fmla="*/ 1435197 h 2897778"/>
                <a:gd name="connsiteX613" fmla="*/ 1148819 w 2216005"/>
                <a:gd name="connsiteY613" fmla="*/ 1422297 h 2897778"/>
                <a:gd name="connsiteX614" fmla="*/ 1119165 w 2216005"/>
                <a:gd name="connsiteY614" fmla="*/ 1479799 h 2897778"/>
                <a:gd name="connsiteX615" fmla="*/ 1117152 w 2216005"/>
                <a:gd name="connsiteY615" fmla="*/ 1563377 h 2897778"/>
                <a:gd name="connsiteX616" fmla="*/ 1146422 w 2216005"/>
                <a:gd name="connsiteY616" fmla="*/ 1592825 h 2897778"/>
                <a:gd name="connsiteX617" fmla="*/ 1173294 w 2216005"/>
                <a:gd name="connsiteY617" fmla="*/ 1636712 h 2897778"/>
                <a:gd name="connsiteX618" fmla="*/ 1161951 w 2216005"/>
                <a:gd name="connsiteY618" fmla="*/ 1705664 h 2897778"/>
                <a:gd name="connsiteX619" fmla="*/ 1141779 w 2216005"/>
                <a:gd name="connsiteY619" fmla="*/ 1703857 h 2897778"/>
                <a:gd name="connsiteX620" fmla="*/ 1125811 w 2216005"/>
                <a:gd name="connsiteY620" fmla="*/ 1756492 h 2897778"/>
                <a:gd name="connsiteX621" fmla="*/ 1125963 w 2216005"/>
                <a:gd name="connsiteY621" fmla="*/ 1693838 h 2897778"/>
                <a:gd name="connsiteX622" fmla="*/ 1087095 w 2216005"/>
                <a:gd name="connsiteY622" fmla="*/ 1670732 h 2897778"/>
                <a:gd name="connsiteX623" fmla="*/ 1064794 w 2216005"/>
                <a:gd name="connsiteY623" fmla="*/ 1682674 h 2897778"/>
                <a:gd name="connsiteX624" fmla="*/ 1067692 w 2216005"/>
                <a:gd name="connsiteY624" fmla="*/ 1724467 h 2897778"/>
                <a:gd name="connsiteX625" fmla="*/ 1031105 w 2216005"/>
                <a:gd name="connsiteY625" fmla="*/ 1722875 h 2897778"/>
                <a:gd name="connsiteX626" fmla="*/ 992165 w 2216005"/>
                <a:gd name="connsiteY626" fmla="*/ 1733368 h 2897778"/>
                <a:gd name="connsiteX627" fmla="*/ 947849 w 2216005"/>
                <a:gd name="connsiteY627" fmla="*/ 1703374 h 2897778"/>
                <a:gd name="connsiteX628" fmla="*/ 919841 w 2216005"/>
                <a:gd name="connsiteY628" fmla="*/ 1708723 h 2897778"/>
                <a:gd name="connsiteX629" fmla="*/ 894632 w 2216005"/>
                <a:gd name="connsiteY629" fmla="*/ 1671921 h 2897778"/>
                <a:gd name="connsiteX630" fmla="*/ 874389 w 2216005"/>
                <a:gd name="connsiteY630" fmla="*/ 1655462 h 2897778"/>
                <a:gd name="connsiteX631" fmla="*/ 854324 w 2216005"/>
                <a:gd name="connsiteY631" fmla="*/ 1662376 h 2897778"/>
                <a:gd name="connsiteX632" fmla="*/ 823793 w 2216005"/>
                <a:gd name="connsiteY632" fmla="*/ 1665552 h 2897778"/>
                <a:gd name="connsiteX633" fmla="*/ 807593 w 2216005"/>
                <a:gd name="connsiteY633" fmla="*/ 1688936 h 2897778"/>
                <a:gd name="connsiteX634" fmla="*/ 833195 w 2216005"/>
                <a:gd name="connsiteY634" fmla="*/ 1717445 h 2897778"/>
                <a:gd name="connsiteX635" fmla="*/ 805911 w 2216005"/>
                <a:gd name="connsiteY635" fmla="*/ 1750767 h 2897778"/>
                <a:gd name="connsiteX636" fmla="*/ 779173 w 2216005"/>
                <a:gd name="connsiteY636" fmla="*/ 1711201 h 2897778"/>
                <a:gd name="connsiteX637" fmla="*/ 757811 w 2216005"/>
                <a:gd name="connsiteY637" fmla="*/ 1722848 h 2897778"/>
                <a:gd name="connsiteX638" fmla="*/ 690112 w 2216005"/>
                <a:gd name="connsiteY638" fmla="*/ 1730657 h 2897778"/>
                <a:gd name="connsiteX639" fmla="*/ 644776 w 2216005"/>
                <a:gd name="connsiteY639" fmla="*/ 1716443 h 2897778"/>
                <a:gd name="connsiteX640" fmla="*/ 680066 w 2216005"/>
                <a:gd name="connsiteY640" fmla="*/ 1683023 h 2897778"/>
                <a:gd name="connsiteX641" fmla="*/ 646234 w 2216005"/>
                <a:gd name="connsiteY641" fmla="*/ 1648117 h 2897778"/>
                <a:gd name="connsiteX642" fmla="*/ 621661 w 2216005"/>
                <a:gd name="connsiteY642" fmla="*/ 1652590 h 2897778"/>
                <a:gd name="connsiteX643" fmla="*/ 587140 w 2216005"/>
                <a:gd name="connsiteY643" fmla="*/ 1640755 h 2897778"/>
                <a:gd name="connsiteX644" fmla="*/ 528440 w 2216005"/>
                <a:gd name="connsiteY644" fmla="*/ 1614894 h 2897778"/>
                <a:gd name="connsiteX645" fmla="*/ 490081 w 2216005"/>
                <a:gd name="connsiteY645" fmla="*/ 1584721 h 2897778"/>
                <a:gd name="connsiteX646" fmla="*/ 459702 w 2216005"/>
                <a:gd name="connsiteY646" fmla="*/ 1580525 h 2897778"/>
                <a:gd name="connsiteX647" fmla="*/ 450229 w 2216005"/>
                <a:gd name="connsiteY647" fmla="*/ 1601610 h 2897778"/>
                <a:gd name="connsiteX648" fmla="*/ 419412 w 2216005"/>
                <a:gd name="connsiteY648" fmla="*/ 1613337 h 2897778"/>
                <a:gd name="connsiteX649" fmla="*/ 416022 w 2216005"/>
                <a:gd name="connsiteY649" fmla="*/ 1558322 h 2897778"/>
                <a:gd name="connsiteX650" fmla="*/ 382628 w 2216005"/>
                <a:gd name="connsiteY650" fmla="*/ 1607567 h 2897778"/>
                <a:gd name="connsiteX651" fmla="*/ 340217 w 2216005"/>
                <a:gd name="connsiteY651" fmla="*/ 1542077 h 2897778"/>
                <a:gd name="connsiteX652" fmla="*/ 322881 w 2216005"/>
                <a:gd name="connsiteY652" fmla="*/ 1534098 h 2897778"/>
                <a:gd name="connsiteX653" fmla="*/ 317281 w 2216005"/>
                <a:gd name="connsiteY653" fmla="*/ 1569030 h 2897778"/>
                <a:gd name="connsiteX654" fmla="*/ 298567 w 2216005"/>
                <a:gd name="connsiteY654" fmla="*/ 1586062 h 2897778"/>
                <a:gd name="connsiteX655" fmla="*/ 281338 w 2216005"/>
                <a:gd name="connsiteY655" fmla="*/ 1555710 h 2897778"/>
                <a:gd name="connsiteX656" fmla="*/ 240287 w 2216005"/>
                <a:gd name="connsiteY656" fmla="*/ 1574031 h 2897778"/>
                <a:gd name="connsiteX657" fmla="*/ 202716 w 2216005"/>
                <a:gd name="connsiteY657" fmla="*/ 1605796 h 2897778"/>
                <a:gd name="connsiteX658" fmla="*/ 165458 w 2216005"/>
                <a:gd name="connsiteY658" fmla="*/ 1597030 h 2897778"/>
                <a:gd name="connsiteX659" fmla="*/ 135079 w 2216005"/>
                <a:gd name="connsiteY659" fmla="*/ 1619349 h 2897778"/>
                <a:gd name="connsiteX660" fmla="*/ 113064 w 2216005"/>
                <a:gd name="connsiteY660" fmla="*/ 1648654 h 2897778"/>
                <a:gd name="connsiteX661" fmla="*/ 86908 w 2216005"/>
                <a:gd name="connsiteY661" fmla="*/ 1642240 h 2897778"/>
                <a:gd name="connsiteX662" fmla="*/ 47422 w 2216005"/>
                <a:gd name="connsiteY662" fmla="*/ 1608247 h 2897778"/>
                <a:gd name="connsiteX663" fmla="*/ 637 w 2216005"/>
                <a:gd name="connsiteY663" fmla="*/ 1590929 h 2897778"/>
                <a:gd name="connsiteX664" fmla="*/ 467 w 2216005"/>
                <a:gd name="connsiteY664" fmla="*/ 1838254 h 2897778"/>
                <a:gd name="connsiteX665" fmla="*/ 333 w 2216005"/>
                <a:gd name="connsiteY665" fmla="*/ 2155193 h 2897778"/>
                <a:gd name="connsiteX666" fmla="*/ 25032 w 2216005"/>
                <a:gd name="connsiteY666" fmla="*/ 2156687 h 2897778"/>
                <a:gd name="connsiteX667" fmla="*/ 49462 w 2216005"/>
                <a:gd name="connsiteY667" fmla="*/ 2170606 h 2897778"/>
                <a:gd name="connsiteX668" fmla="*/ 66977 w 2216005"/>
                <a:gd name="connsiteY668" fmla="*/ 2192397 h 2897778"/>
                <a:gd name="connsiteX669" fmla="*/ 89260 w 2216005"/>
                <a:gd name="connsiteY669" fmla="*/ 2224565 h 2897778"/>
                <a:gd name="connsiteX670" fmla="*/ 113664 w 2216005"/>
                <a:gd name="connsiteY670" fmla="*/ 2197246 h 2897778"/>
                <a:gd name="connsiteX671" fmla="*/ 138845 w 2216005"/>
                <a:gd name="connsiteY671" fmla="*/ 2181207 h 2897778"/>
                <a:gd name="connsiteX672" fmla="*/ 152156 w 2216005"/>
                <a:gd name="connsiteY672" fmla="*/ 2206746 h 2897778"/>
                <a:gd name="connsiteX673" fmla="*/ 169054 w 2216005"/>
                <a:gd name="connsiteY673" fmla="*/ 2226685 h 2897778"/>
                <a:gd name="connsiteX674" fmla="*/ 192017 w 2216005"/>
                <a:gd name="connsiteY674" fmla="*/ 2248369 h 2897778"/>
                <a:gd name="connsiteX675" fmla="*/ 207699 w 2216005"/>
                <a:gd name="connsiteY675" fmla="*/ 2282308 h 2897778"/>
                <a:gd name="connsiteX676" fmla="*/ 233345 w 2216005"/>
                <a:gd name="connsiteY676" fmla="*/ 2334917 h 2897778"/>
                <a:gd name="connsiteX677" fmla="*/ 275989 w 2216005"/>
                <a:gd name="connsiteY677" fmla="*/ 2363579 h 2897778"/>
                <a:gd name="connsiteX678" fmla="*/ 276686 w 2216005"/>
                <a:gd name="connsiteY678" fmla="*/ 2391524 h 2897778"/>
                <a:gd name="connsiteX679" fmla="*/ 262740 w 2216005"/>
                <a:gd name="connsiteY679" fmla="*/ 2412591 h 2897778"/>
                <a:gd name="connsiteX680" fmla="*/ 263268 w 2216005"/>
                <a:gd name="connsiteY680" fmla="*/ 2434811 h 2897778"/>
                <a:gd name="connsiteX681" fmla="*/ 293611 w 2216005"/>
                <a:gd name="connsiteY681" fmla="*/ 2465664 h 2897778"/>
                <a:gd name="connsiteX682" fmla="*/ 298012 w 2216005"/>
                <a:gd name="connsiteY682" fmla="*/ 2499308 h 2897778"/>
                <a:gd name="connsiteX683" fmla="*/ 330100 w 2216005"/>
                <a:gd name="connsiteY683" fmla="*/ 2516824 h 2897778"/>
                <a:gd name="connsiteX684" fmla="*/ 326531 w 2216005"/>
                <a:gd name="connsiteY684" fmla="*/ 2541782 h 2897778"/>
                <a:gd name="connsiteX685" fmla="*/ 340504 w 2216005"/>
                <a:gd name="connsiteY685" fmla="*/ 2577188 h 2897778"/>
                <a:gd name="connsiteX686" fmla="*/ 385929 w 2216005"/>
                <a:gd name="connsiteY686" fmla="*/ 2593513 h 2897778"/>
                <a:gd name="connsiteX687" fmla="*/ 403847 w 2216005"/>
                <a:gd name="connsiteY687" fmla="*/ 2610394 h 2897778"/>
                <a:gd name="connsiteX688" fmla="*/ 452403 w 2216005"/>
                <a:gd name="connsiteY688" fmla="*/ 2648206 h 2897778"/>
                <a:gd name="connsiteX689" fmla="*/ 455766 w 2216005"/>
                <a:gd name="connsiteY689" fmla="*/ 2648305 h 2897778"/>
                <a:gd name="connsiteX690" fmla="*/ 526999 w 2216005"/>
                <a:gd name="connsiteY690" fmla="*/ 2648305 h 2897778"/>
                <a:gd name="connsiteX691" fmla="*/ 601462 w 2216005"/>
                <a:gd name="connsiteY691" fmla="*/ 2648305 h 2897778"/>
                <a:gd name="connsiteX692" fmla="*/ 626115 w 2216005"/>
                <a:gd name="connsiteY692" fmla="*/ 2648305 h 2897778"/>
                <a:gd name="connsiteX693" fmla="*/ 702564 w 2216005"/>
                <a:gd name="connsiteY693" fmla="*/ 2648305 h 2897778"/>
                <a:gd name="connsiteX694" fmla="*/ 776552 w 2216005"/>
                <a:gd name="connsiteY694" fmla="*/ 2648305 h 2897778"/>
                <a:gd name="connsiteX695" fmla="*/ 851801 w 2216005"/>
                <a:gd name="connsiteY695" fmla="*/ 2648305 h 2897778"/>
                <a:gd name="connsiteX696" fmla="*/ 927096 w 2216005"/>
                <a:gd name="connsiteY696" fmla="*/ 2648305 h 2897778"/>
                <a:gd name="connsiteX697" fmla="*/ 1012329 w 2216005"/>
                <a:gd name="connsiteY697" fmla="*/ 2648305 h 2897778"/>
                <a:gd name="connsiteX698" fmla="*/ 1098143 w 2216005"/>
                <a:gd name="connsiteY698" fmla="*/ 2648278 h 2897778"/>
                <a:gd name="connsiteX699" fmla="*/ 1150053 w 2216005"/>
                <a:gd name="connsiteY699" fmla="*/ 2648305 h 2897778"/>
                <a:gd name="connsiteX700" fmla="*/ 1150125 w 2216005"/>
                <a:gd name="connsiteY700" fmla="*/ 2633598 h 2897778"/>
                <a:gd name="connsiteX701" fmla="*/ 1158614 w 2216005"/>
                <a:gd name="connsiteY701" fmla="*/ 2633410 h 2897778"/>
                <a:gd name="connsiteX702" fmla="*/ 1163069 w 2216005"/>
                <a:gd name="connsiteY702" fmla="*/ 2654387 h 2897778"/>
                <a:gd name="connsiteX703" fmla="*/ 1170870 w 2216005"/>
                <a:gd name="connsiteY703" fmla="*/ 2660811 h 2897778"/>
                <a:gd name="connsiteX704" fmla="*/ 1188385 w 2216005"/>
                <a:gd name="connsiteY704" fmla="*/ 2663136 h 2897778"/>
                <a:gd name="connsiteX705" fmla="*/ 1213996 w 2216005"/>
                <a:gd name="connsiteY705" fmla="*/ 2669148 h 2897778"/>
                <a:gd name="connsiteX706" fmla="*/ 1238328 w 2216005"/>
                <a:gd name="connsiteY706" fmla="*/ 2680804 h 2897778"/>
                <a:gd name="connsiteX707" fmla="*/ 1258643 w 2216005"/>
                <a:gd name="connsiteY707" fmla="*/ 2675928 h 2897778"/>
                <a:gd name="connsiteX708" fmla="*/ 1289496 w 2216005"/>
                <a:gd name="connsiteY708" fmla="*/ 2685670 h 2897778"/>
                <a:gd name="connsiteX709" fmla="*/ 1299676 w 2216005"/>
                <a:gd name="connsiteY709" fmla="*/ 2670829 h 2897778"/>
                <a:gd name="connsiteX710" fmla="*/ 1313908 w 2216005"/>
                <a:gd name="connsiteY710" fmla="*/ 2664899 h 2897778"/>
                <a:gd name="connsiteX711" fmla="*/ 1319481 w 2216005"/>
                <a:gd name="connsiteY711" fmla="*/ 2655667 h 2897778"/>
                <a:gd name="connsiteX712" fmla="*/ 1325135 w 2216005"/>
                <a:gd name="connsiteY712" fmla="*/ 2650711 h 2897778"/>
                <a:gd name="connsiteX713" fmla="*/ 1348456 w 2216005"/>
                <a:gd name="connsiteY713" fmla="*/ 2658368 h 2897778"/>
                <a:gd name="connsiteX714" fmla="*/ 1365738 w 2216005"/>
                <a:gd name="connsiteY714" fmla="*/ 2659281 h 2897778"/>
                <a:gd name="connsiteX715" fmla="*/ 1371732 w 2216005"/>
                <a:gd name="connsiteY715" fmla="*/ 2664344 h 2897778"/>
                <a:gd name="connsiteX716" fmla="*/ 1380123 w 2216005"/>
                <a:gd name="connsiteY716" fmla="*/ 2685652 h 2897778"/>
                <a:gd name="connsiteX717" fmla="*/ 1408274 w 2216005"/>
                <a:gd name="connsiteY717" fmla="*/ 2691261 h 2897778"/>
                <a:gd name="connsiteX718" fmla="*/ 1403846 w 2216005"/>
                <a:gd name="connsiteY718" fmla="*/ 2701835 h 2897778"/>
                <a:gd name="connsiteX719" fmla="*/ 1413767 w 2216005"/>
                <a:gd name="connsiteY719" fmla="*/ 2712677 h 2897778"/>
                <a:gd name="connsiteX720" fmla="*/ 1409491 w 2216005"/>
                <a:gd name="connsiteY720" fmla="*/ 2726632 h 2897778"/>
                <a:gd name="connsiteX721" fmla="*/ 1420020 w 2216005"/>
                <a:gd name="connsiteY721" fmla="*/ 2731221 h 2897778"/>
                <a:gd name="connsiteX722" fmla="*/ 1414769 w 2216005"/>
                <a:gd name="connsiteY722" fmla="*/ 2743494 h 2897778"/>
                <a:gd name="connsiteX723" fmla="*/ 1421496 w 2216005"/>
                <a:gd name="connsiteY723" fmla="*/ 2744612 h 2897778"/>
                <a:gd name="connsiteX724" fmla="*/ 1426210 w 2216005"/>
                <a:gd name="connsiteY724" fmla="*/ 2739271 h 2897778"/>
                <a:gd name="connsiteX725" fmla="*/ 1431130 w 2216005"/>
                <a:gd name="connsiteY725" fmla="*/ 2747305 h 2897778"/>
                <a:gd name="connsiteX726" fmla="*/ 1449942 w 2216005"/>
                <a:gd name="connsiteY726" fmla="*/ 2751786 h 2897778"/>
                <a:gd name="connsiteX727" fmla="*/ 1469014 w 2216005"/>
                <a:gd name="connsiteY727" fmla="*/ 2752162 h 2897778"/>
                <a:gd name="connsiteX728" fmla="*/ 1489347 w 2216005"/>
                <a:gd name="connsiteY728" fmla="*/ 2755847 h 2897778"/>
                <a:gd name="connsiteX729" fmla="*/ 1511783 w 2216005"/>
                <a:gd name="connsiteY729" fmla="*/ 2762816 h 2897778"/>
                <a:gd name="connsiteX730" fmla="*/ 1519968 w 2216005"/>
                <a:gd name="connsiteY730" fmla="*/ 2774052 h 2897778"/>
                <a:gd name="connsiteX731" fmla="*/ 1536213 w 2216005"/>
                <a:gd name="connsiteY731" fmla="*/ 2801219 h 2897778"/>
                <a:gd name="connsiteX732" fmla="*/ 1528135 w 2216005"/>
                <a:gd name="connsiteY732" fmla="*/ 2812839 h 2897778"/>
                <a:gd name="connsiteX733" fmla="*/ 1507748 w 2216005"/>
                <a:gd name="connsiteY733" fmla="*/ 2808009 h 2897778"/>
                <a:gd name="connsiteX734" fmla="*/ 1495090 w 2216005"/>
                <a:gd name="connsiteY734" fmla="*/ 2786173 h 2897778"/>
                <a:gd name="connsiteX735" fmla="*/ 1498266 w 2216005"/>
                <a:gd name="connsiteY735" fmla="*/ 2808411 h 2897778"/>
                <a:gd name="connsiteX736" fmla="*/ 1486306 w 2216005"/>
                <a:gd name="connsiteY736" fmla="*/ 2827823 h 2897778"/>
                <a:gd name="connsiteX737" fmla="*/ 1487621 w 2216005"/>
                <a:gd name="connsiteY737" fmla="*/ 2844265 h 2897778"/>
                <a:gd name="connsiteX738" fmla="*/ 1485554 w 2216005"/>
                <a:gd name="connsiteY738" fmla="*/ 2853872 h 2897778"/>
                <a:gd name="connsiteX739" fmla="*/ 1469318 w 2216005"/>
                <a:gd name="connsiteY739" fmla="*/ 2865206 h 2897778"/>
                <a:gd name="connsiteX740" fmla="*/ 1457528 w 2216005"/>
                <a:gd name="connsiteY740" fmla="*/ 2883911 h 2897778"/>
                <a:gd name="connsiteX741" fmla="*/ 1452009 w 2216005"/>
                <a:gd name="connsiteY741" fmla="*/ 2895728 h 2897778"/>
                <a:gd name="connsiteX742" fmla="*/ 1465776 w 2216005"/>
                <a:gd name="connsiteY742" fmla="*/ 2897848 h 2897778"/>
                <a:gd name="connsiteX743" fmla="*/ 1484391 w 2216005"/>
                <a:gd name="connsiteY743" fmla="*/ 2887105 h 2897778"/>
                <a:gd name="connsiteX744" fmla="*/ 1495350 w 2216005"/>
                <a:gd name="connsiteY744" fmla="*/ 2877632 h 2897778"/>
                <a:gd name="connsiteX745" fmla="*/ 1502801 w 2216005"/>
                <a:gd name="connsiteY745" fmla="*/ 2876084 h 2897778"/>
                <a:gd name="connsiteX746" fmla="*/ 1516595 w 2216005"/>
                <a:gd name="connsiteY746" fmla="*/ 2879501 h 2897778"/>
                <a:gd name="connsiteX747" fmla="*/ 1523269 w 2216005"/>
                <a:gd name="connsiteY747" fmla="*/ 2874214 h 2897778"/>
                <a:gd name="connsiteX748" fmla="*/ 1535506 w 2216005"/>
                <a:gd name="connsiteY748" fmla="*/ 2869912 h 2897778"/>
                <a:gd name="connsiteX749" fmla="*/ 1557360 w 2216005"/>
                <a:gd name="connsiteY749" fmla="*/ 2865716 h 2897778"/>
                <a:gd name="connsiteX750" fmla="*/ 1557360 w 2216005"/>
                <a:gd name="connsiteY750" fmla="*/ 2865734 h 2897778"/>
                <a:gd name="connsiteX751" fmla="*/ 1557360 w 2216005"/>
                <a:gd name="connsiteY751" fmla="*/ 2865716 h 2897778"/>
                <a:gd name="connsiteX752" fmla="*/ 1555133 w 2216005"/>
                <a:gd name="connsiteY752" fmla="*/ 2855429 h 2897778"/>
                <a:gd name="connsiteX753" fmla="*/ 1553934 w 2216005"/>
                <a:gd name="connsiteY753" fmla="*/ 2855822 h 2897778"/>
                <a:gd name="connsiteX754" fmla="*/ 1546276 w 2216005"/>
                <a:gd name="connsiteY754" fmla="*/ 2857593 h 2897778"/>
                <a:gd name="connsiteX755" fmla="*/ 1536275 w 2216005"/>
                <a:gd name="connsiteY755" fmla="*/ 2854346 h 2897778"/>
                <a:gd name="connsiteX756" fmla="*/ 1543781 w 2216005"/>
                <a:gd name="connsiteY756" fmla="*/ 2842565 h 2897778"/>
                <a:gd name="connsiteX757" fmla="*/ 1551429 w 2216005"/>
                <a:gd name="connsiteY757" fmla="*/ 2838477 h 2897778"/>
                <a:gd name="connsiteX758" fmla="*/ 1569132 w 2216005"/>
                <a:gd name="connsiteY758" fmla="*/ 2833423 h 2897778"/>
                <a:gd name="connsiteX759" fmla="*/ 1590333 w 2216005"/>
                <a:gd name="connsiteY759" fmla="*/ 2828700 h 2897778"/>
                <a:gd name="connsiteX760" fmla="*/ 1601461 w 2216005"/>
                <a:gd name="connsiteY760" fmla="*/ 2835265 h 2897778"/>
                <a:gd name="connsiteX761" fmla="*/ 1608456 w 2216005"/>
                <a:gd name="connsiteY761" fmla="*/ 2827653 h 2897778"/>
                <a:gd name="connsiteX762" fmla="*/ 1616409 w 2216005"/>
                <a:gd name="connsiteY762" fmla="*/ 2822822 h 2897778"/>
                <a:gd name="connsiteX763" fmla="*/ 1621741 w 2216005"/>
                <a:gd name="connsiteY763" fmla="*/ 2825381 h 2897778"/>
                <a:gd name="connsiteX764" fmla="*/ 1622027 w 2216005"/>
                <a:gd name="connsiteY764" fmla="*/ 2825927 h 2897778"/>
                <a:gd name="connsiteX765" fmla="*/ 1647701 w 2216005"/>
                <a:gd name="connsiteY765" fmla="*/ 2801505 h 2897778"/>
                <a:gd name="connsiteX766" fmla="*/ 1659017 w 2216005"/>
                <a:gd name="connsiteY766" fmla="*/ 2795011 h 2897778"/>
                <a:gd name="connsiteX767" fmla="*/ 1697124 w 2216005"/>
                <a:gd name="connsiteY767" fmla="*/ 2794769 h 2897778"/>
                <a:gd name="connsiteX768" fmla="*/ 1743346 w 2216005"/>
                <a:gd name="connsiteY768" fmla="*/ 2794742 h 2897778"/>
                <a:gd name="connsiteX769" fmla="*/ 1745859 w 2216005"/>
                <a:gd name="connsiteY769" fmla="*/ 2785994 h 2897778"/>
                <a:gd name="connsiteX770" fmla="*/ 1753884 w 2216005"/>
                <a:gd name="connsiteY770" fmla="*/ 2784205 h 2897778"/>
                <a:gd name="connsiteX771" fmla="*/ 1764538 w 2216005"/>
                <a:gd name="connsiteY771" fmla="*/ 2778694 h 2897778"/>
                <a:gd name="connsiteX772" fmla="*/ 1773439 w 2216005"/>
                <a:gd name="connsiteY772" fmla="*/ 2762414 h 2897778"/>
                <a:gd name="connsiteX773" fmla="*/ 1781087 w 2216005"/>
                <a:gd name="connsiteY773" fmla="*/ 2734253 h 2897778"/>
                <a:gd name="connsiteX774" fmla="*/ 1800221 w 2216005"/>
                <a:gd name="connsiteY774" fmla="*/ 2706549 h 2897778"/>
                <a:gd name="connsiteX775" fmla="*/ 1808559 w 2216005"/>
                <a:gd name="connsiteY775" fmla="*/ 2716237 h 2897778"/>
                <a:gd name="connsiteX776" fmla="*/ 1825376 w 2216005"/>
                <a:gd name="connsiteY776" fmla="*/ 2709975 h 2897778"/>
                <a:gd name="connsiteX777" fmla="*/ 1836513 w 2216005"/>
                <a:gd name="connsiteY777" fmla="*/ 2720593 h 2897778"/>
                <a:gd name="connsiteX778" fmla="*/ 1836495 w 2216005"/>
                <a:gd name="connsiteY778" fmla="*/ 2770017 h 2897778"/>
                <a:gd name="connsiteX779" fmla="*/ 1852892 w 2216005"/>
                <a:gd name="connsiteY779" fmla="*/ 2790153 h 2897778"/>
                <a:gd name="connsiteX780" fmla="*/ 1880767 w 2216005"/>
                <a:gd name="connsiteY780" fmla="*/ 2785833 h 2897778"/>
                <a:gd name="connsiteX781" fmla="*/ 1920914 w 2216005"/>
                <a:gd name="connsiteY781" fmla="*/ 2784670 h 2897778"/>
                <a:gd name="connsiteX782" fmla="*/ 1877367 w 2216005"/>
                <a:gd name="connsiteY782" fmla="*/ 2813841 h 2897778"/>
                <a:gd name="connsiteX783" fmla="*/ 1878324 w 2216005"/>
                <a:gd name="connsiteY783" fmla="*/ 2843281 h 2897778"/>
                <a:gd name="connsiteX784" fmla="*/ 1897369 w 2216005"/>
                <a:gd name="connsiteY784" fmla="*/ 2845812 h 2897778"/>
                <a:gd name="connsiteX785" fmla="*/ 1925396 w 2216005"/>
                <a:gd name="connsiteY785" fmla="*/ 2820828 h 2897778"/>
                <a:gd name="connsiteX786" fmla="*/ 1950273 w 2216005"/>
                <a:gd name="connsiteY786" fmla="*/ 2806658 h 2897778"/>
                <a:gd name="connsiteX787" fmla="*/ 2005825 w 2216005"/>
                <a:gd name="connsiteY787" fmla="*/ 2785627 h 2897778"/>
                <a:gd name="connsiteX788" fmla="*/ 2036857 w 2216005"/>
                <a:gd name="connsiteY788" fmla="*/ 2762226 h 2897778"/>
                <a:gd name="connsiteX789" fmla="*/ 2020656 w 2216005"/>
                <a:gd name="connsiteY789" fmla="*/ 2749165 h 2897778"/>
                <a:gd name="connsiteX790" fmla="*/ 2018921 w 2216005"/>
                <a:gd name="connsiteY790" fmla="*/ 2722776 h 2897778"/>
                <a:gd name="connsiteX791" fmla="*/ 1538870 w 2216005"/>
                <a:gd name="connsiteY791" fmla="*/ 2086724 h 2897778"/>
                <a:gd name="connsiteX792" fmla="*/ 1548692 w 2216005"/>
                <a:gd name="connsiteY792" fmla="*/ 2058778 h 2897778"/>
                <a:gd name="connsiteX793" fmla="*/ 1542313 w 2216005"/>
                <a:gd name="connsiteY793" fmla="*/ 2047749 h 2897778"/>
                <a:gd name="connsiteX794" fmla="*/ 1532044 w 2216005"/>
                <a:gd name="connsiteY794" fmla="*/ 2046568 h 2897778"/>
                <a:gd name="connsiteX795" fmla="*/ 1522365 w 2216005"/>
                <a:gd name="connsiteY795" fmla="*/ 2062705 h 2897778"/>
                <a:gd name="connsiteX796" fmla="*/ 1521193 w 2216005"/>
                <a:gd name="connsiteY796" fmla="*/ 2066400 h 2897778"/>
                <a:gd name="connsiteX797" fmla="*/ 1527777 w 2216005"/>
                <a:gd name="connsiteY797" fmla="*/ 2082242 h 2897778"/>
                <a:gd name="connsiteX798" fmla="*/ 1538870 w 2216005"/>
                <a:gd name="connsiteY798" fmla="*/ 2086724 h 2897778"/>
                <a:gd name="connsiteX799" fmla="*/ 262740 w 2216005"/>
                <a:gd name="connsiteY799" fmla="*/ 2412591 h 2897778"/>
                <a:gd name="connsiteX800" fmla="*/ 262740 w 2216005"/>
                <a:gd name="connsiteY800" fmla="*/ 2412591 h 2897778"/>
                <a:gd name="connsiteX801" fmla="*/ 276686 w 2216005"/>
                <a:gd name="connsiteY801" fmla="*/ 2391533 h 2897778"/>
                <a:gd name="connsiteX802" fmla="*/ 262740 w 2216005"/>
                <a:gd name="connsiteY802" fmla="*/ 2412591 h 289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</a:cxnLst>
              <a:rect l="l" t="t" r="r" b="b"/>
              <a:pathLst>
                <a:path w="2216005" h="2897778">
                  <a:moveTo>
                    <a:pt x="1064937" y="770492"/>
                  </a:moveTo>
                  <a:lnTo>
                    <a:pt x="1062951" y="717696"/>
                  </a:lnTo>
                  <a:lnTo>
                    <a:pt x="1095423" y="722875"/>
                  </a:lnTo>
                  <a:lnTo>
                    <a:pt x="1110040" y="731418"/>
                  </a:lnTo>
                  <a:lnTo>
                    <a:pt x="1140017" y="775475"/>
                  </a:lnTo>
                  <a:lnTo>
                    <a:pt x="1133218" y="819934"/>
                  </a:lnTo>
                  <a:lnTo>
                    <a:pt x="1096112" y="844722"/>
                  </a:lnTo>
                  <a:lnTo>
                    <a:pt x="1075681" y="816785"/>
                  </a:lnTo>
                  <a:lnTo>
                    <a:pt x="1064937" y="770492"/>
                  </a:lnTo>
                  <a:close/>
                  <a:moveTo>
                    <a:pt x="1183152" y="883590"/>
                  </a:moveTo>
                  <a:lnTo>
                    <a:pt x="1186140" y="870261"/>
                  </a:lnTo>
                  <a:lnTo>
                    <a:pt x="1168535" y="848363"/>
                  </a:lnTo>
                  <a:lnTo>
                    <a:pt x="1118029" y="846627"/>
                  </a:lnTo>
                  <a:lnTo>
                    <a:pt x="1124720" y="879511"/>
                  </a:lnTo>
                  <a:lnTo>
                    <a:pt x="1171719" y="886909"/>
                  </a:lnTo>
                  <a:lnTo>
                    <a:pt x="1183152" y="883590"/>
                  </a:lnTo>
                  <a:close/>
                  <a:moveTo>
                    <a:pt x="1508303" y="1303635"/>
                  </a:moveTo>
                  <a:lnTo>
                    <a:pt x="1535900" y="1349284"/>
                  </a:lnTo>
                  <a:lnTo>
                    <a:pt x="1543163" y="1354419"/>
                  </a:lnTo>
                  <a:lnTo>
                    <a:pt x="1570617" y="1343013"/>
                  </a:lnTo>
                  <a:lnTo>
                    <a:pt x="1597642" y="1344811"/>
                  </a:lnTo>
                  <a:lnTo>
                    <a:pt x="1624299" y="1347280"/>
                  </a:lnTo>
                  <a:lnTo>
                    <a:pt x="1622081" y="1323637"/>
                  </a:lnTo>
                  <a:lnTo>
                    <a:pt x="1578829" y="1275501"/>
                  </a:lnTo>
                  <a:lnTo>
                    <a:pt x="1521426" y="1265867"/>
                  </a:lnTo>
                  <a:lnTo>
                    <a:pt x="1509358" y="1271825"/>
                  </a:lnTo>
                  <a:lnTo>
                    <a:pt x="1508303" y="1303635"/>
                  </a:lnTo>
                  <a:close/>
                  <a:moveTo>
                    <a:pt x="923043" y="742752"/>
                  </a:moveTo>
                  <a:lnTo>
                    <a:pt x="898819" y="780216"/>
                  </a:lnTo>
                  <a:lnTo>
                    <a:pt x="954657" y="784832"/>
                  </a:lnTo>
                  <a:lnTo>
                    <a:pt x="995940" y="824532"/>
                  </a:lnTo>
                  <a:lnTo>
                    <a:pt x="1036902" y="837932"/>
                  </a:lnTo>
                  <a:lnTo>
                    <a:pt x="1027133" y="787122"/>
                  </a:lnTo>
                  <a:lnTo>
                    <a:pt x="1007945" y="726954"/>
                  </a:lnTo>
                  <a:lnTo>
                    <a:pt x="940120" y="679069"/>
                  </a:lnTo>
                  <a:lnTo>
                    <a:pt x="890884" y="660785"/>
                  </a:lnTo>
                  <a:lnTo>
                    <a:pt x="892709" y="711658"/>
                  </a:lnTo>
                  <a:lnTo>
                    <a:pt x="923043" y="742752"/>
                  </a:lnTo>
                  <a:close/>
                  <a:moveTo>
                    <a:pt x="1154705" y="651177"/>
                  </a:moveTo>
                  <a:lnTo>
                    <a:pt x="1200569" y="650140"/>
                  </a:lnTo>
                  <a:lnTo>
                    <a:pt x="1180745" y="685939"/>
                  </a:lnTo>
                  <a:lnTo>
                    <a:pt x="1180361" y="733324"/>
                  </a:lnTo>
                  <a:lnTo>
                    <a:pt x="1207314" y="784814"/>
                  </a:lnTo>
                  <a:lnTo>
                    <a:pt x="1259296" y="800612"/>
                  </a:lnTo>
                  <a:lnTo>
                    <a:pt x="1303666" y="791756"/>
                  </a:lnTo>
                  <a:lnTo>
                    <a:pt x="1350012" y="695779"/>
                  </a:lnTo>
                  <a:lnTo>
                    <a:pt x="1384452" y="655999"/>
                  </a:lnTo>
                  <a:lnTo>
                    <a:pt x="1354217" y="611540"/>
                  </a:lnTo>
                  <a:lnTo>
                    <a:pt x="1334402" y="516288"/>
                  </a:lnTo>
                  <a:lnTo>
                    <a:pt x="1293262" y="487770"/>
                  </a:lnTo>
                  <a:lnTo>
                    <a:pt x="1251057" y="454832"/>
                  </a:lnTo>
                  <a:lnTo>
                    <a:pt x="1219023" y="369304"/>
                  </a:lnTo>
                  <a:lnTo>
                    <a:pt x="1160690" y="377686"/>
                  </a:lnTo>
                  <a:lnTo>
                    <a:pt x="1171648" y="414801"/>
                  </a:lnTo>
                  <a:lnTo>
                    <a:pt x="1145938" y="425947"/>
                  </a:lnTo>
                  <a:lnTo>
                    <a:pt x="1128557" y="473555"/>
                  </a:lnTo>
                  <a:lnTo>
                    <a:pt x="1111167" y="540271"/>
                  </a:lnTo>
                  <a:lnTo>
                    <a:pt x="1127055" y="605224"/>
                  </a:lnTo>
                  <a:lnTo>
                    <a:pt x="1154705" y="651177"/>
                  </a:lnTo>
                  <a:close/>
                  <a:moveTo>
                    <a:pt x="584430" y="1128661"/>
                  </a:moveTo>
                  <a:lnTo>
                    <a:pt x="619496" y="1146132"/>
                  </a:lnTo>
                  <a:lnTo>
                    <a:pt x="732808" y="1134520"/>
                  </a:lnTo>
                  <a:lnTo>
                    <a:pt x="680710" y="1177199"/>
                  </a:lnTo>
                  <a:lnTo>
                    <a:pt x="683903" y="1207891"/>
                  </a:lnTo>
                  <a:lnTo>
                    <a:pt x="722047" y="1205780"/>
                  </a:lnTo>
                  <a:lnTo>
                    <a:pt x="785327" y="1164810"/>
                  </a:lnTo>
                  <a:lnTo>
                    <a:pt x="870265" y="1149844"/>
                  </a:lnTo>
                  <a:lnTo>
                    <a:pt x="885526" y="1103166"/>
                  </a:lnTo>
                  <a:lnTo>
                    <a:pt x="881116" y="1053349"/>
                  </a:lnTo>
                  <a:lnTo>
                    <a:pt x="854834" y="1048858"/>
                  </a:lnTo>
                  <a:lnTo>
                    <a:pt x="832497" y="1066114"/>
                  </a:lnTo>
                  <a:lnTo>
                    <a:pt x="822666" y="1029142"/>
                  </a:lnTo>
                  <a:lnTo>
                    <a:pt x="814213" y="978162"/>
                  </a:lnTo>
                  <a:lnTo>
                    <a:pt x="788315" y="965504"/>
                  </a:lnTo>
                  <a:lnTo>
                    <a:pt x="765334" y="1004963"/>
                  </a:lnTo>
                  <a:lnTo>
                    <a:pt x="801206" y="1103802"/>
                  </a:lnTo>
                  <a:lnTo>
                    <a:pt x="757391" y="1096189"/>
                  </a:lnTo>
                  <a:lnTo>
                    <a:pt x="712833" y="1035467"/>
                  </a:lnTo>
                  <a:lnTo>
                    <a:pt x="642244" y="999703"/>
                  </a:lnTo>
                  <a:lnTo>
                    <a:pt x="618637" y="1029411"/>
                  </a:lnTo>
                  <a:lnTo>
                    <a:pt x="584430" y="1128661"/>
                  </a:lnTo>
                  <a:close/>
                  <a:moveTo>
                    <a:pt x="786267" y="752360"/>
                  </a:moveTo>
                  <a:lnTo>
                    <a:pt x="753651" y="726445"/>
                  </a:lnTo>
                  <a:lnTo>
                    <a:pt x="740197" y="720550"/>
                  </a:lnTo>
                  <a:lnTo>
                    <a:pt x="714470" y="758872"/>
                  </a:lnTo>
                  <a:lnTo>
                    <a:pt x="714068" y="776781"/>
                  </a:lnTo>
                  <a:lnTo>
                    <a:pt x="755718" y="776906"/>
                  </a:lnTo>
                  <a:lnTo>
                    <a:pt x="786267" y="752360"/>
                  </a:lnTo>
                  <a:close/>
                  <a:moveTo>
                    <a:pt x="773135" y="862908"/>
                  </a:moveTo>
                  <a:lnTo>
                    <a:pt x="781472" y="827260"/>
                  </a:lnTo>
                  <a:lnTo>
                    <a:pt x="746102" y="808251"/>
                  </a:lnTo>
                  <a:lnTo>
                    <a:pt x="709479" y="820641"/>
                  </a:lnTo>
                  <a:lnTo>
                    <a:pt x="689163" y="858757"/>
                  </a:lnTo>
                  <a:lnTo>
                    <a:pt x="726368" y="896391"/>
                  </a:lnTo>
                  <a:lnTo>
                    <a:pt x="773135" y="862908"/>
                  </a:lnTo>
                  <a:close/>
                  <a:moveTo>
                    <a:pt x="1033440" y="1160248"/>
                  </a:moveTo>
                  <a:lnTo>
                    <a:pt x="1074795" y="1150354"/>
                  </a:lnTo>
                  <a:lnTo>
                    <a:pt x="1086218" y="1076536"/>
                  </a:lnTo>
                  <a:lnTo>
                    <a:pt x="1085440" y="1023355"/>
                  </a:lnTo>
                  <a:lnTo>
                    <a:pt x="1066261" y="973618"/>
                  </a:lnTo>
                  <a:lnTo>
                    <a:pt x="1064329" y="987895"/>
                  </a:lnTo>
                  <a:lnTo>
                    <a:pt x="1029057" y="981642"/>
                  </a:lnTo>
                  <a:lnTo>
                    <a:pt x="991280" y="1018202"/>
                  </a:lnTo>
                  <a:lnTo>
                    <a:pt x="964291" y="1014892"/>
                  </a:lnTo>
                  <a:lnTo>
                    <a:pt x="965883" y="1094722"/>
                  </a:lnTo>
                  <a:lnTo>
                    <a:pt x="1006997" y="1086957"/>
                  </a:lnTo>
                  <a:lnTo>
                    <a:pt x="1006478" y="1144790"/>
                  </a:lnTo>
                  <a:lnTo>
                    <a:pt x="1033440" y="1160248"/>
                  </a:lnTo>
                  <a:close/>
                  <a:moveTo>
                    <a:pt x="1004045" y="1568189"/>
                  </a:moveTo>
                  <a:lnTo>
                    <a:pt x="958781" y="1533060"/>
                  </a:lnTo>
                  <a:lnTo>
                    <a:pt x="916656" y="1495418"/>
                  </a:lnTo>
                  <a:lnTo>
                    <a:pt x="908883" y="1440134"/>
                  </a:lnTo>
                  <a:lnTo>
                    <a:pt x="893139" y="1360296"/>
                  </a:lnTo>
                  <a:lnTo>
                    <a:pt x="865041" y="1325954"/>
                  </a:lnTo>
                  <a:lnTo>
                    <a:pt x="840110" y="1312115"/>
                  </a:lnTo>
                  <a:lnTo>
                    <a:pt x="818041" y="1324791"/>
                  </a:lnTo>
                  <a:lnTo>
                    <a:pt x="835861" y="1410543"/>
                  </a:lnTo>
                  <a:lnTo>
                    <a:pt x="823256" y="1443918"/>
                  </a:lnTo>
                  <a:lnTo>
                    <a:pt x="802735" y="1363597"/>
                  </a:lnTo>
                  <a:lnTo>
                    <a:pt x="779817" y="1335821"/>
                  </a:lnTo>
                  <a:lnTo>
                    <a:pt x="751478" y="1378885"/>
                  </a:lnTo>
                  <a:lnTo>
                    <a:pt x="716599" y="1336304"/>
                  </a:lnTo>
                  <a:lnTo>
                    <a:pt x="660788" y="1361960"/>
                  </a:lnTo>
                  <a:lnTo>
                    <a:pt x="673303" y="1322036"/>
                  </a:lnTo>
                  <a:lnTo>
                    <a:pt x="647674" y="1305263"/>
                  </a:lnTo>
                  <a:lnTo>
                    <a:pt x="580520" y="1357487"/>
                  </a:lnTo>
                  <a:lnTo>
                    <a:pt x="563059" y="1390684"/>
                  </a:lnTo>
                  <a:lnTo>
                    <a:pt x="542001" y="1451254"/>
                  </a:lnTo>
                  <a:lnTo>
                    <a:pt x="585798" y="1471980"/>
                  </a:lnTo>
                  <a:lnTo>
                    <a:pt x="624487" y="1470889"/>
                  </a:lnTo>
                  <a:lnTo>
                    <a:pt x="566315" y="1501850"/>
                  </a:lnTo>
                  <a:lnTo>
                    <a:pt x="579545" y="1529840"/>
                  </a:lnTo>
                  <a:lnTo>
                    <a:pt x="615113" y="1531352"/>
                  </a:lnTo>
                  <a:lnTo>
                    <a:pt x="668705" y="1525367"/>
                  </a:lnTo>
                  <a:lnTo>
                    <a:pt x="717207" y="1542891"/>
                  </a:lnTo>
                  <a:lnTo>
                    <a:pt x="684467" y="1555818"/>
                  </a:lnTo>
                  <a:lnTo>
                    <a:pt x="649105" y="1552490"/>
                  </a:lnTo>
                  <a:lnTo>
                    <a:pt x="610389" y="1565094"/>
                  </a:lnTo>
                  <a:lnTo>
                    <a:pt x="593706" y="1572913"/>
                  </a:lnTo>
                  <a:lnTo>
                    <a:pt x="624613" y="1629752"/>
                  </a:lnTo>
                  <a:lnTo>
                    <a:pt x="646878" y="1621853"/>
                  </a:lnTo>
                  <a:lnTo>
                    <a:pt x="681121" y="1641041"/>
                  </a:lnTo>
                  <a:lnTo>
                    <a:pt x="694710" y="1673701"/>
                  </a:lnTo>
                  <a:lnTo>
                    <a:pt x="739330" y="1667216"/>
                  </a:lnTo>
                  <a:lnTo>
                    <a:pt x="802887" y="1656866"/>
                  </a:lnTo>
                  <a:lnTo>
                    <a:pt x="849977" y="1633196"/>
                  </a:lnTo>
                  <a:lnTo>
                    <a:pt x="879139" y="1628911"/>
                  </a:lnTo>
                  <a:lnTo>
                    <a:pt x="922283" y="1647831"/>
                  </a:lnTo>
                  <a:lnTo>
                    <a:pt x="967673" y="1658736"/>
                  </a:lnTo>
                  <a:lnTo>
                    <a:pt x="976126" y="1633160"/>
                  </a:lnTo>
                  <a:lnTo>
                    <a:pt x="960122" y="1605886"/>
                  </a:lnTo>
                  <a:lnTo>
                    <a:pt x="1001308" y="1600116"/>
                  </a:lnTo>
                  <a:lnTo>
                    <a:pt x="1004045" y="1568189"/>
                  </a:lnTo>
                  <a:close/>
                  <a:moveTo>
                    <a:pt x="1073328" y="1559414"/>
                  </a:moveTo>
                  <a:lnTo>
                    <a:pt x="1055795" y="1591072"/>
                  </a:lnTo>
                  <a:lnTo>
                    <a:pt x="1033717" y="1613310"/>
                  </a:lnTo>
                  <a:lnTo>
                    <a:pt x="1067970" y="1644986"/>
                  </a:lnTo>
                  <a:lnTo>
                    <a:pt x="1088401" y="1637347"/>
                  </a:lnTo>
                  <a:lnTo>
                    <a:pt x="1122206" y="1658440"/>
                  </a:lnTo>
                  <a:lnTo>
                    <a:pt x="1137798" y="1634001"/>
                  </a:lnTo>
                  <a:lnTo>
                    <a:pt x="1122510" y="1606896"/>
                  </a:lnTo>
                  <a:lnTo>
                    <a:pt x="1114987" y="1593246"/>
                  </a:lnTo>
                  <a:lnTo>
                    <a:pt x="1099941" y="1580203"/>
                  </a:lnTo>
                  <a:lnTo>
                    <a:pt x="1073328" y="1559414"/>
                  </a:lnTo>
                  <a:close/>
                  <a:moveTo>
                    <a:pt x="915771" y="1296031"/>
                  </a:moveTo>
                  <a:lnTo>
                    <a:pt x="896708" y="1276575"/>
                  </a:lnTo>
                  <a:lnTo>
                    <a:pt x="863100" y="1280126"/>
                  </a:lnTo>
                  <a:lnTo>
                    <a:pt x="854575" y="1292507"/>
                  </a:lnTo>
                  <a:lnTo>
                    <a:pt x="893702" y="1352907"/>
                  </a:lnTo>
                  <a:lnTo>
                    <a:pt x="915771" y="1296031"/>
                  </a:lnTo>
                  <a:close/>
                  <a:moveTo>
                    <a:pt x="1172390" y="1413862"/>
                  </a:moveTo>
                  <a:lnTo>
                    <a:pt x="1199298" y="1351896"/>
                  </a:lnTo>
                  <a:lnTo>
                    <a:pt x="1229203" y="1335365"/>
                  </a:lnTo>
                  <a:lnTo>
                    <a:pt x="1266676" y="1257154"/>
                  </a:lnTo>
                  <a:lnTo>
                    <a:pt x="1218764" y="1235059"/>
                  </a:lnTo>
                  <a:lnTo>
                    <a:pt x="1166504" y="1231865"/>
                  </a:lnTo>
                  <a:lnTo>
                    <a:pt x="1141618" y="1256644"/>
                  </a:lnTo>
                  <a:lnTo>
                    <a:pt x="1128513" y="1294493"/>
                  </a:lnTo>
                  <a:lnTo>
                    <a:pt x="1128128" y="1337583"/>
                  </a:lnTo>
                  <a:lnTo>
                    <a:pt x="1143783" y="1410829"/>
                  </a:lnTo>
                  <a:lnTo>
                    <a:pt x="1172390" y="1413862"/>
                  </a:lnTo>
                  <a:close/>
                  <a:moveTo>
                    <a:pt x="1325850" y="1208070"/>
                  </a:moveTo>
                  <a:lnTo>
                    <a:pt x="1377341" y="1206415"/>
                  </a:lnTo>
                  <a:lnTo>
                    <a:pt x="1449289" y="1191977"/>
                  </a:lnTo>
                  <a:lnTo>
                    <a:pt x="1481395" y="1203383"/>
                  </a:lnTo>
                  <a:lnTo>
                    <a:pt x="1518796" y="1183166"/>
                  </a:lnTo>
                  <a:lnTo>
                    <a:pt x="1534442" y="1157761"/>
                  </a:lnTo>
                  <a:lnTo>
                    <a:pt x="1528842" y="1117336"/>
                  </a:lnTo>
                  <a:lnTo>
                    <a:pt x="1501978" y="1079506"/>
                  </a:lnTo>
                  <a:lnTo>
                    <a:pt x="1461223" y="1072340"/>
                  </a:lnTo>
                  <a:lnTo>
                    <a:pt x="1410153" y="1081009"/>
                  </a:lnTo>
                  <a:lnTo>
                    <a:pt x="1370283" y="1102844"/>
                  </a:lnTo>
                  <a:lnTo>
                    <a:pt x="1333687" y="1094445"/>
                  </a:lnTo>
                  <a:lnTo>
                    <a:pt x="1299855" y="1090017"/>
                  </a:lnTo>
                  <a:lnTo>
                    <a:pt x="1283923" y="1065846"/>
                  </a:lnTo>
                  <a:lnTo>
                    <a:pt x="1255145" y="1042462"/>
                  </a:lnTo>
                  <a:lnTo>
                    <a:pt x="1260861" y="1002807"/>
                  </a:lnTo>
                  <a:lnTo>
                    <a:pt x="1239213" y="967186"/>
                  </a:lnTo>
                  <a:lnTo>
                    <a:pt x="1189834" y="967427"/>
                  </a:lnTo>
                  <a:lnTo>
                    <a:pt x="1161987" y="931753"/>
                  </a:lnTo>
                  <a:lnTo>
                    <a:pt x="1110291" y="924605"/>
                  </a:lnTo>
                  <a:lnTo>
                    <a:pt x="1100853" y="970192"/>
                  </a:lnTo>
                  <a:lnTo>
                    <a:pt x="1129926" y="1003692"/>
                  </a:lnTo>
                  <a:lnTo>
                    <a:pt x="1181810" y="1016699"/>
                  </a:lnTo>
                  <a:lnTo>
                    <a:pt x="1206991" y="1062277"/>
                  </a:lnTo>
                  <a:lnTo>
                    <a:pt x="1210042" y="1112389"/>
                  </a:lnTo>
                  <a:lnTo>
                    <a:pt x="1218719" y="1165973"/>
                  </a:lnTo>
                  <a:lnTo>
                    <a:pt x="1285381" y="1196540"/>
                  </a:lnTo>
                  <a:lnTo>
                    <a:pt x="1325850" y="1208070"/>
                  </a:lnTo>
                  <a:close/>
                  <a:moveTo>
                    <a:pt x="529531" y="1044645"/>
                  </a:moveTo>
                  <a:lnTo>
                    <a:pt x="576155" y="999443"/>
                  </a:lnTo>
                  <a:lnTo>
                    <a:pt x="599592" y="994192"/>
                  </a:lnTo>
                  <a:lnTo>
                    <a:pt x="618914" y="956371"/>
                  </a:lnTo>
                  <a:lnTo>
                    <a:pt x="622358" y="868982"/>
                  </a:lnTo>
                  <a:lnTo>
                    <a:pt x="587954" y="886104"/>
                  </a:lnTo>
                  <a:lnTo>
                    <a:pt x="549488" y="884494"/>
                  </a:lnTo>
                  <a:lnTo>
                    <a:pt x="497980" y="957748"/>
                  </a:lnTo>
                  <a:lnTo>
                    <a:pt x="455409" y="1038052"/>
                  </a:lnTo>
                  <a:lnTo>
                    <a:pt x="489392" y="1060505"/>
                  </a:lnTo>
                  <a:lnTo>
                    <a:pt x="529531" y="1044645"/>
                  </a:lnTo>
                  <a:close/>
                  <a:moveTo>
                    <a:pt x="1175199" y="1189321"/>
                  </a:moveTo>
                  <a:lnTo>
                    <a:pt x="1188841" y="1152286"/>
                  </a:lnTo>
                  <a:lnTo>
                    <a:pt x="1179690" y="1121353"/>
                  </a:lnTo>
                  <a:lnTo>
                    <a:pt x="1157791" y="1086304"/>
                  </a:lnTo>
                  <a:lnTo>
                    <a:pt x="1121732" y="1113302"/>
                  </a:lnTo>
                  <a:lnTo>
                    <a:pt x="1108376" y="1157349"/>
                  </a:lnTo>
                  <a:lnTo>
                    <a:pt x="1138782" y="1182281"/>
                  </a:lnTo>
                  <a:lnTo>
                    <a:pt x="1175199" y="1189321"/>
                  </a:lnTo>
                  <a:close/>
                  <a:moveTo>
                    <a:pt x="1100880" y="1291630"/>
                  </a:moveTo>
                  <a:lnTo>
                    <a:pt x="1094359" y="1265858"/>
                  </a:lnTo>
                  <a:lnTo>
                    <a:pt x="1049613" y="1277165"/>
                  </a:lnTo>
                  <a:lnTo>
                    <a:pt x="1019700" y="1258317"/>
                  </a:lnTo>
                  <a:lnTo>
                    <a:pt x="990018" y="1301291"/>
                  </a:lnTo>
                  <a:lnTo>
                    <a:pt x="1017651" y="1357487"/>
                  </a:lnTo>
                  <a:lnTo>
                    <a:pt x="966438" y="1346985"/>
                  </a:lnTo>
                  <a:lnTo>
                    <a:pt x="965937" y="1373920"/>
                  </a:lnTo>
                  <a:lnTo>
                    <a:pt x="1028269" y="1436950"/>
                  </a:lnTo>
                  <a:lnTo>
                    <a:pt x="1045624" y="1467186"/>
                  </a:lnTo>
                  <a:lnTo>
                    <a:pt x="1069785" y="1473725"/>
                  </a:lnTo>
                  <a:lnTo>
                    <a:pt x="1110917" y="1443194"/>
                  </a:lnTo>
                  <a:lnTo>
                    <a:pt x="1115425" y="1369742"/>
                  </a:lnTo>
                  <a:lnTo>
                    <a:pt x="1077461" y="1333298"/>
                  </a:lnTo>
                  <a:lnTo>
                    <a:pt x="1100880" y="1291630"/>
                  </a:lnTo>
                  <a:close/>
                  <a:moveTo>
                    <a:pt x="438967" y="2666893"/>
                  </a:moveTo>
                  <a:lnTo>
                    <a:pt x="428617" y="2645925"/>
                  </a:lnTo>
                  <a:lnTo>
                    <a:pt x="403578" y="2630100"/>
                  </a:lnTo>
                  <a:lnTo>
                    <a:pt x="391180" y="2611736"/>
                  </a:lnTo>
                  <a:lnTo>
                    <a:pt x="382646" y="2598273"/>
                  </a:lnTo>
                  <a:lnTo>
                    <a:pt x="359074" y="2594122"/>
                  </a:lnTo>
                  <a:lnTo>
                    <a:pt x="343679" y="2588155"/>
                  </a:lnTo>
                  <a:lnTo>
                    <a:pt x="317353" y="2579549"/>
                  </a:lnTo>
                  <a:lnTo>
                    <a:pt x="315188" y="2588683"/>
                  </a:lnTo>
                  <a:lnTo>
                    <a:pt x="324849" y="2609973"/>
                  </a:lnTo>
                  <a:lnTo>
                    <a:pt x="350666" y="2616960"/>
                  </a:lnTo>
                  <a:lnTo>
                    <a:pt x="355183" y="2627972"/>
                  </a:lnTo>
                  <a:lnTo>
                    <a:pt x="377627" y="2641408"/>
                  </a:lnTo>
                  <a:lnTo>
                    <a:pt x="385151" y="2654942"/>
                  </a:lnTo>
                  <a:lnTo>
                    <a:pt x="426336" y="2672118"/>
                  </a:lnTo>
                  <a:lnTo>
                    <a:pt x="438967" y="2666893"/>
                  </a:lnTo>
                  <a:close/>
                  <a:moveTo>
                    <a:pt x="1527688" y="1972463"/>
                  </a:moveTo>
                  <a:lnTo>
                    <a:pt x="1509779" y="1953597"/>
                  </a:lnTo>
                  <a:lnTo>
                    <a:pt x="1491324" y="1958052"/>
                  </a:lnTo>
                  <a:lnTo>
                    <a:pt x="1489097" y="1930661"/>
                  </a:lnTo>
                  <a:lnTo>
                    <a:pt x="1460364" y="1912457"/>
                  </a:lnTo>
                  <a:lnTo>
                    <a:pt x="1432901" y="1892177"/>
                  </a:lnTo>
                  <a:lnTo>
                    <a:pt x="1418320" y="1876496"/>
                  </a:lnTo>
                  <a:lnTo>
                    <a:pt x="1405483" y="1885746"/>
                  </a:lnTo>
                  <a:lnTo>
                    <a:pt x="1400823" y="1859240"/>
                  </a:lnTo>
                  <a:lnTo>
                    <a:pt x="1382699" y="1854275"/>
                  </a:lnTo>
                  <a:lnTo>
                    <a:pt x="1374147" y="1909147"/>
                  </a:lnTo>
                  <a:lnTo>
                    <a:pt x="1370945" y="1954832"/>
                  </a:lnTo>
                  <a:lnTo>
                    <a:pt x="1349136" y="1982885"/>
                  </a:lnTo>
                  <a:lnTo>
                    <a:pt x="1383128" y="1977482"/>
                  </a:lnTo>
                  <a:lnTo>
                    <a:pt x="1391743" y="2010133"/>
                  </a:lnTo>
                  <a:lnTo>
                    <a:pt x="1427435" y="1981284"/>
                  </a:lnTo>
                  <a:lnTo>
                    <a:pt x="1452304" y="1951057"/>
                  </a:lnTo>
                  <a:lnTo>
                    <a:pt x="1466393" y="1976668"/>
                  </a:lnTo>
                  <a:lnTo>
                    <a:pt x="1505422" y="1990184"/>
                  </a:lnTo>
                  <a:lnTo>
                    <a:pt x="1527688" y="1972463"/>
                  </a:lnTo>
                  <a:close/>
                  <a:moveTo>
                    <a:pt x="449451" y="1502431"/>
                  </a:moveTo>
                  <a:lnTo>
                    <a:pt x="515469" y="1465048"/>
                  </a:lnTo>
                  <a:lnTo>
                    <a:pt x="515469" y="1430393"/>
                  </a:lnTo>
                  <a:lnTo>
                    <a:pt x="546572" y="1373079"/>
                  </a:lnTo>
                  <a:lnTo>
                    <a:pt x="608072" y="1313243"/>
                  </a:lnTo>
                  <a:lnTo>
                    <a:pt x="639605" y="1291174"/>
                  </a:lnTo>
                  <a:lnTo>
                    <a:pt x="612679" y="1253612"/>
                  </a:lnTo>
                  <a:lnTo>
                    <a:pt x="588321" y="1227196"/>
                  </a:lnTo>
                  <a:lnTo>
                    <a:pt x="524253" y="1222079"/>
                  </a:lnTo>
                  <a:lnTo>
                    <a:pt x="488435" y="1202793"/>
                  </a:lnTo>
                  <a:lnTo>
                    <a:pt x="403659" y="1217329"/>
                  </a:lnTo>
                  <a:lnTo>
                    <a:pt x="428187" y="1273015"/>
                  </a:lnTo>
                  <a:lnTo>
                    <a:pt x="406432" y="1330543"/>
                  </a:lnTo>
                  <a:lnTo>
                    <a:pt x="389060" y="1391963"/>
                  </a:lnTo>
                  <a:lnTo>
                    <a:pt x="378298" y="1426475"/>
                  </a:lnTo>
                  <a:lnTo>
                    <a:pt x="436212" y="1468465"/>
                  </a:lnTo>
                  <a:lnTo>
                    <a:pt x="449451" y="1502431"/>
                  </a:lnTo>
                  <a:close/>
                  <a:moveTo>
                    <a:pt x="1650268" y="1746670"/>
                  </a:moveTo>
                  <a:lnTo>
                    <a:pt x="1653095" y="1737644"/>
                  </a:lnTo>
                  <a:lnTo>
                    <a:pt x="1652817" y="1709242"/>
                  </a:lnTo>
                  <a:lnTo>
                    <a:pt x="1633236" y="1690599"/>
                  </a:lnTo>
                  <a:lnTo>
                    <a:pt x="1610246" y="1699965"/>
                  </a:lnTo>
                  <a:lnTo>
                    <a:pt x="1599592" y="1737241"/>
                  </a:lnTo>
                  <a:lnTo>
                    <a:pt x="1605853" y="1769078"/>
                  </a:lnTo>
                  <a:lnTo>
                    <a:pt x="1633969" y="1765849"/>
                  </a:lnTo>
                  <a:lnTo>
                    <a:pt x="1650268" y="1746670"/>
                  </a:lnTo>
                  <a:close/>
                  <a:moveTo>
                    <a:pt x="1863341" y="1814173"/>
                  </a:moveTo>
                  <a:lnTo>
                    <a:pt x="1902772" y="1873222"/>
                  </a:lnTo>
                  <a:lnTo>
                    <a:pt x="1933634" y="1898761"/>
                  </a:lnTo>
                  <a:lnTo>
                    <a:pt x="1977655" y="1828360"/>
                  </a:lnTo>
                  <a:lnTo>
                    <a:pt x="1985465" y="1784232"/>
                  </a:lnTo>
                  <a:lnTo>
                    <a:pt x="1946015" y="1779992"/>
                  </a:lnTo>
                  <a:lnTo>
                    <a:pt x="1909965" y="1720093"/>
                  </a:lnTo>
                  <a:lnTo>
                    <a:pt x="1870148" y="1705422"/>
                  </a:lnTo>
                  <a:lnTo>
                    <a:pt x="1811072" y="1660981"/>
                  </a:lnTo>
                  <a:lnTo>
                    <a:pt x="1857124" y="1628473"/>
                  </a:lnTo>
                  <a:lnTo>
                    <a:pt x="1833400" y="1561006"/>
                  </a:lnTo>
                  <a:lnTo>
                    <a:pt x="1811555" y="1531003"/>
                  </a:lnTo>
                  <a:lnTo>
                    <a:pt x="1751003" y="1501018"/>
                  </a:lnTo>
                  <a:lnTo>
                    <a:pt x="1724864" y="1451379"/>
                  </a:lnTo>
                  <a:lnTo>
                    <a:pt x="1678285" y="1469189"/>
                  </a:lnTo>
                  <a:lnTo>
                    <a:pt x="1675038" y="1434633"/>
                  </a:lnTo>
                  <a:lnTo>
                    <a:pt x="1640491" y="1395971"/>
                  </a:lnTo>
                  <a:lnTo>
                    <a:pt x="1584841" y="1353801"/>
                  </a:lnTo>
                  <a:lnTo>
                    <a:pt x="1561117" y="1387025"/>
                  </a:lnTo>
                  <a:lnTo>
                    <a:pt x="1511496" y="1410838"/>
                  </a:lnTo>
                  <a:lnTo>
                    <a:pt x="1515227" y="1356592"/>
                  </a:lnTo>
                  <a:lnTo>
                    <a:pt x="1472199" y="1266672"/>
                  </a:lnTo>
                  <a:lnTo>
                    <a:pt x="1408632" y="1303018"/>
                  </a:lnTo>
                  <a:lnTo>
                    <a:pt x="1385454" y="1371907"/>
                  </a:lnTo>
                  <a:lnTo>
                    <a:pt x="1365694" y="1318923"/>
                  </a:lnTo>
                  <a:lnTo>
                    <a:pt x="1384148" y="1261931"/>
                  </a:lnTo>
                  <a:lnTo>
                    <a:pt x="1319383" y="1285646"/>
                  </a:lnTo>
                  <a:lnTo>
                    <a:pt x="1293593" y="1321347"/>
                  </a:lnTo>
                  <a:lnTo>
                    <a:pt x="1274315" y="1396677"/>
                  </a:lnTo>
                  <a:lnTo>
                    <a:pt x="1282268" y="1477643"/>
                  </a:lnTo>
                  <a:lnTo>
                    <a:pt x="1317898" y="1477983"/>
                  </a:lnTo>
                  <a:lnTo>
                    <a:pt x="1291670" y="1513085"/>
                  </a:lnTo>
                  <a:lnTo>
                    <a:pt x="1312530" y="1539573"/>
                  </a:lnTo>
                  <a:lnTo>
                    <a:pt x="1353206" y="1550799"/>
                  </a:lnTo>
                  <a:lnTo>
                    <a:pt x="1406261" y="1572420"/>
                  </a:lnTo>
                  <a:lnTo>
                    <a:pt x="1497541" y="1588683"/>
                  </a:lnTo>
                  <a:lnTo>
                    <a:pt x="1543011" y="1579344"/>
                  </a:lnTo>
                  <a:lnTo>
                    <a:pt x="1556439" y="1557696"/>
                  </a:lnTo>
                  <a:lnTo>
                    <a:pt x="1576217" y="1582636"/>
                  </a:lnTo>
                  <a:lnTo>
                    <a:pt x="1598321" y="1586769"/>
                  </a:lnTo>
                  <a:lnTo>
                    <a:pt x="1624872" y="1631183"/>
                  </a:lnTo>
                  <a:lnTo>
                    <a:pt x="1608805" y="1648896"/>
                  </a:lnTo>
                  <a:lnTo>
                    <a:pt x="1659616" y="1672386"/>
                  </a:lnTo>
                  <a:lnTo>
                    <a:pt x="1698037" y="1705288"/>
                  </a:lnTo>
                  <a:lnTo>
                    <a:pt x="1707707" y="1728099"/>
                  </a:lnTo>
                  <a:lnTo>
                    <a:pt x="1714604" y="1757073"/>
                  </a:lnTo>
                  <a:lnTo>
                    <a:pt x="1682159" y="1819021"/>
                  </a:lnTo>
                  <a:lnTo>
                    <a:pt x="1673401" y="1849820"/>
                  </a:lnTo>
                  <a:lnTo>
                    <a:pt x="1681783" y="1871495"/>
                  </a:lnTo>
                  <a:lnTo>
                    <a:pt x="1630149" y="1879180"/>
                  </a:lnTo>
                  <a:lnTo>
                    <a:pt x="1583016" y="1880244"/>
                  </a:lnTo>
                  <a:lnTo>
                    <a:pt x="1566493" y="1923800"/>
                  </a:lnTo>
                  <a:lnTo>
                    <a:pt x="1587712" y="1943712"/>
                  </a:lnTo>
                  <a:lnTo>
                    <a:pt x="1660233" y="1934490"/>
                  </a:lnTo>
                  <a:lnTo>
                    <a:pt x="1659831" y="1917591"/>
                  </a:lnTo>
                  <a:lnTo>
                    <a:pt x="1696355" y="1945752"/>
                  </a:lnTo>
                  <a:lnTo>
                    <a:pt x="1733774" y="1975057"/>
                  </a:lnTo>
                  <a:lnTo>
                    <a:pt x="1725016" y="1990918"/>
                  </a:lnTo>
                  <a:lnTo>
                    <a:pt x="1755413" y="2017942"/>
                  </a:lnTo>
                  <a:lnTo>
                    <a:pt x="1809238" y="2049564"/>
                  </a:lnTo>
                  <a:lnTo>
                    <a:pt x="1877260" y="2070953"/>
                  </a:lnTo>
                  <a:lnTo>
                    <a:pt x="1873181" y="2052266"/>
                  </a:lnTo>
                  <a:lnTo>
                    <a:pt x="1847060" y="2019418"/>
                  </a:lnTo>
                  <a:lnTo>
                    <a:pt x="1811609" y="1971354"/>
                  </a:lnTo>
                  <a:lnTo>
                    <a:pt x="1874523" y="2016055"/>
                  </a:lnTo>
                  <a:lnTo>
                    <a:pt x="1906154" y="2030904"/>
                  </a:lnTo>
                  <a:lnTo>
                    <a:pt x="1914795" y="1991204"/>
                  </a:lnTo>
                  <a:lnTo>
                    <a:pt x="1898470" y="1934865"/>
                  </a:lnTo>
                  <a:lnTo>
                    <a:pt x="1888138" y="1919399"/>
                  </a:lnTo>
                  <a:lnTo>
                    <a:pt x="1854091" y="1892249"/>
                  </a:lnTo>
                  <a:lnTo>
                    <a:pt x="1827711" y="1857263"/>
                  </a:lnTo>
                  <a:lnTo>
                    <a:pt x="1830877" y="1822000"/>
                  </a:lnTo>
                  <a:lnTo>
                    <a:pt x="1863341" y="1814173"/>
                  </a:lnTo>
                  <a:close/>
                  <a:moveTo>
                    <a:pt x="1274449" y="368884"/>
                  </a:moveTo>
                  <a:lnTo>
                    <a:pt x="1295346" y="434124"/>
                  </a:lnTo>
                  <a:lnTo>
                    <a:pt x="1339689" y="486723"/>
                  </a:lnTo>
                  <a:lnTo>
                    <a:pt x="1427453" y="476990"/>
                  </a:lnTo>
                  <a:lnTo>
                    <a:pt x="1483926" y="494595"/>
                  </a:lnTo>
                  <a:lnTo>
                    <a:pt x="1444790" y="548742"/>
                  </a:lnTo>
                  <a:lnTo>
                    <a:pt x="1424984" y="532855"/>
                  </a:lnTo>
                  <a:lnTo>
                    <a:pt x="1356426" y="526486"/>
                  </a:lnTo>
                  <a:lnTo>
                    <a:pt x="1367071" y="600859"/>
                  </a:lnTo>
                  <a:lnTo>
                    <a:pt x="1402495" y="654854"/>
                  </a:lnTo>
                  <a:lnTo>
                    <a:pt x="1395384" y="701379"/>
                  </a:lnTo>
                  <a:lnTo>
                    <a:pt x="1350907" y="732349"/>
                  </a:lnTo>
                  <a:lnTo>
                    <a:pt x="1330591" y="781290"/>
                  </a:lnTo>
                  <a:lnTo>
                    <a:pt x="1371276" y="804959"/>
                  </a:lnTo>
                  <a:lnTo>
                    <a:pt x="1405474" y="881434"/>
                  </a:lnTo>
                  <a:lnTo>
                    <a:pt x="1338410" y="830418"/>
                  </a:lnTo>
                  <a:lnTo>
                    <a:pt x="1323113" y="838836"/>
                  </a:lnTo>
                  <a:lnTo>
                    <a:pt x="1335467" y="922718"/>
                  </a:lnTo>
                  <a:lnTo>
                    <a:pt x="1289093" y="948060"/>
                  </a:lnTo>
                  <a:lnTo>
                    <a:pt x="1292242" y="1000401"/>
                  </a:lnTo>
                  <a:lnTo>
                    <a:pt x="1339662" y="1006000"/>
                  </a:lnTo>
                  <a:lnTo>
                    <a:pt x="1376992" y="1018864"/>
                  </a:lnTo>
                  <a:lnTo>
                    <a:pt x="1450667" y="1002360"/>
                  </a:lnTo>
                  <a:lnTo>
                    <a:pt x="1516211" y="1031602"/>
                  </a:lnTo>
                  <a:lnTo>
                    <a:pt x="1583230" y="967275"/>
                  </a:lnTo>
                  <a:lnTo>
                    <a:pt x="1582685" y="940269"/>
                  </a:lnTo>
                  <a:lnTo>
                    <a:pt x="1539827" y="944581"/>
                  </a:lnTo>
                  <a:lnTo>
                    <a:pt x="1536320" y="919166"/>
                  </a:lnTo>
                  <a:lnTo>
                    <a:pt x="1571360" y="884914"/>
                  </a:lnTo>
                  <a:lnTo>
                    <a:pt x="1583257" y="838836"/>
                  </a:lnTo>
                  <a:lnTo>
                    <a:pt x="1622009" y="804584"/>
                  </a:lnTo>
                  <a:lnTo>
                    <a:pt x="1645840" y="761985"/>
                  </a:lnTo>
                  <a:lnTo>
                    <a:pt x="1625095" y="698445"/>
                  </a:lnTo>
                  <a:lnTo>
                    <a:pt x="1642432" y="674749"/>
                  </a:lnTo>
                  <a:lnTo>
                    <a:pt x="1607857" y="657868"/>
                  </a:lnTo>
                  <a:lnTo>
                    <a:pt x="1683795" y="643305"/>
                  </a:lnTo>
                  <a:lnTo>
                    <a:pt x="1699781" y="615154"/>
                  </a:lnTo>
                  <a:lnTo>
                    <a:pt x="1751522" y="591860"/>
                  </a:lnTo>
                  <a:lnTo>
                    <a:pt x="1794415" y="471337"/>
                  </a:lnTo>
                  <a:lnTo>
                    <a:pt x="1835287" y="427119"/>
                  </a:lnTo>
                  <a:lnTo>
                    <a:pt x="1894471" y="327610"/>
                  </a:lnTo>
                  <a:lnTo>
                    <a:pt x="1839868" y="328486"/>
                  </a:lnTo>
                  <a:lnTo>
                    <a:pt x="1862545" y="289994"/>
                  </a:lnTo>
                  <a:lnTo>
                    <a:pt x="1923231" y="254274"/>
                  </a:lnTo>
                  <a:lnTo>
                    <a:pt x="1984427" y="174633"/>
                  </a:lnTo>
                  <a:lnTo>
                    <a:pt x="1985527" y="123366"/>
                  </a:lnTo>
                  <a:lnTo>
                    <a:pt x="1939628" y="69317"/>
                  </a:lnTo>
                  <a:lnTo>
                    <a:pt x="1885767" y="43107"/>
                  </a:lnTo>
                  <a:lnTo>
                    <a:pt x="1818729" y="26835"/>
                  </a:lnTo>
                  <a:lnTo>
                    <a:pt x="1764413" y="13515"/>
                  </a:lnTo>
                  <a:lnTo>
                    <a:pt x="1710087" y="70"/>
                  </a:lnTo>
                  <a:lnTo>
                    <a:pt x="1637673" y="35646"/>
                  </a:lnTo>
                  <a:lnTo>
                    <a:pt x="1624344" y="13041"/>
                  </a:lnTo>
                  <a:lnTo>
                    <a:pt x="1547681" y="21772"/>
                  </a:lnTo>
                  <a:lnTo>
                    <a:pt x="1502703" y="44771"/>
                  </a:lnTo>
                  <a:lnTo>
                    <a:pt x="1469596" y="77422"/>
                  </a:lnTo>
                  <a:lnTo>
                    <a:pt x="1450515" y="182478"/>
                  </a:lnTo>
                  <a:lnTo>
                    <a:pt x="1423428" y="128957"/>
                  </a:lnTo>
                  <a:lnTo>
                    <a:pt x="1392324" y="118741"/>
                  </a:lnTo>
                  <a:lnTo>
                    <a:pt x="1355451" y="190037"/>
                  </a:lnTo>
                  <a:lnTo>
                    <a:pt x="1306242" y="219986"/>
                  </a:lnTo>
                  <a:lnTo>
                    <a:pt x="1276954" y="225926"/>
                  </a:lnTo>
                  <a:lnTo>
                    <a:pt x="1239660" y="260250"/>
                  </a:lnTo>
                  <a:lnTo>
                    <a:pt x="1245153" y="319702"/>
                  </a:lnTo>
                  <a:lnTo>
                    <a:pt x="1274449" y="368884"/>
                  </a:lnTo>
                  <a:close/>
                  <a:moveTo>
                    <a:pt x="1940004" y="2739495"/>
                  </a:moveTo>
                  <a:lnTo>
                    <a:pt x="1931219" y="2721747"/>
                  </a:lnTo>
                  <a:lnTo>
                    <a:pt x="1921746" y="2733037"/>
                  </a:lnTo>
                  <a:lnTo>
                    <a:pt x="1928017" y="2745211"/>
                  </a:lnTo>
                  <a:lnTo>
                    <a:pt x="1959827" y="2760535"/>
                  </a:lnTo>
                  <a:lnTo>
                    <a:pt x="1969121" y="2758191"/>
                  </a:lnTo>
                  <a:lnTo>
                    <a:pt x="1981457" y="2743378"/>
                  </a:lnTo>
                  <a:lnTo>
                    <a:pt x="1958199" y="2744370"/>
                  </a:lnTo>
                  <a:lnTo>
                    <a:pt x="1940004" y="2739495"/>
                  </a:lnTo>
                  <a:close/>
                  <a:moveTo>
                    <a:pt x="1430110" y="2042936"/>
                  </a:moveTo>
                  <a:lnTo>
                    <a:pt x="1435603" y="2057517"/>
                  </a:lnTo>
                  <a:lnTo>
                    <a:pt x="1453306" y="2058751"/>
                  </a:lnTo>
                  <a:lnTo>
                    <a:pt x="1482665" y="2028900"/>
                  </a:lnTo>
                  <a:lnTo>
                    <a:pt x="1483202" y="2018273"/>
                  </a:lnTo>
                  <a:lnTo>
                    <a:pt x="1448753" y="2017745"/>
                  </a:lnTo>
                  <a:lnTo>
                    <a:pt x="1430110" y="2042936"/>
                  </a:lnTo>
                  <a:close/>
                  <a:moveTo>
                    <a:pt x="1985876" y="2637275"/>
                  </a:moveTo>
                  <a:lnTo>
                    <a:pt x="1960229" y="2621182"/>
                  </a:lnTo>
                  <a:lnTo>
                    <a:pt x="1927247" y="2611458"/>
                  </a:lnTo>
                  <a:lnTo>
                    <a:pt x="1918570" y="2614723"/>
                  </a:lnTo>
                  <a:lnTo>
                    <a:pt x="1941891" y="2632963"/>
                  </a:lnTo>
                  <a:lnTo>
                    <a:pt x="1974399" y="2644977"/>
                  </a:lnTo>
                  <a:lnTo>
                    <a:pt x="1986610" y="2644297"/>
                  </a:lnTo>
                  <a:lnTo>
                    <a:pt x="1985876" y="2637275"/>
                  </a:lnTo>
                  <a:close/>
                  <a:moveTo>
                    <a:pt x="2208530" y="2680169"/>
                  </a:moveTo>
                  <a:lnTo>
                    <a:pt x="2205336" y="2660175"/>
                  </a:lnTo>
                  <a:lnTo>
                    <a:pt x="2187785" y="2666643"/>
                  </a:lnTo>
                  <a:lnTo>
                    <a:pt x="2195550" y="2638796"/>
                  </a:lnTo>
                  <a:lnTo>
                    <a:pt x="2170538" y="2626979"/>
                  </a:lnTo>
                  <a:lnTo>
                    <a:pt x="2158972" y="2636344"/>
                  </a:lnTo>
                  <a:lnTo>
                    <a:pt x="2136715" y="2625798"/>
                  </a:lnTo>
                  <a:lnTo>
                    <a:pt x="2145518" y="2612299"/>
                  </a:lnTo>
                  <a:lnTo>
                    <a:pt x="2128673" y="2603953"/>
                  </a:lnTo>
                  <a:lnTo>
                    <a:pt x="2112303" y="2617094"/>
                  </a:lnTo>
                  <a:lnTo>
                    <a:pt x="2128897" y="2582877"/>
                  </a:lnTo>
                  <a:lnTo>
                    <a:pt x="2142288" y="2557830"/>
                  </a:lnTo>
                  <a:lnTo>
                    <a:pt x="2147137" y="2546943"/>
                  </a:lnTo>
                  <a:lnTo>
                    <a:pt x="2135499" y="2545181"/>
                  </a:lnTo>
                  <a:lnTo>
                    <a:pt x="2113734" y="2559020"/>
                  </a:lnTo>
                  <a:lnTo>
                    <a:pt x="2098187" y="2581643"/>
                  </a:lnTo>
                  <a:lnTo>
                    <a:pt x="2072272" y="2643519"/>
                  </a:lnTo>
                  <a:lnTo>
                    <a:pt x="2051214" y="2666401"/>
                  </a:lnTo>
                  <a:lnTo>
                    <a:pt x="2062127" y="2676635"/>
                  </a:lnTo>
                  <a:lnTo>
                    <a:pt x="2046500" y="2689812"/>
                  </a:lnTo>
                  <a:lnTo>
                    <a:pt x="2050346" y="2700824"/>
                  </a:lnTo>
                  <a:lnTo>
                    <a:pt x="2099028" y="2701951"/>
                  </a:lnTo>
                  <a:lnTo>
                    <a:pt x="2125980" y="2699732"/>
                  </a:lnTo>
                  <a:lnTo>
                    <a:pt x="2150044" y="2708722"/>
                  </a:lnTo>
                  <a:lnTo>
                    <a:pt x="2132332" y="2726005"/>
                  </a:lnTo>
                  <a:lnTo>
                    <a:pt x="2147298" y="2727276"/>
                  </a:lnTo>
                  <a:lnTo>
                    <a:pt x="2176397" y="2695287"/>
                  </a:lnTo>
                  <a:lnTo>
                    <a:pt x="2183384" y="2700010"/>
                  </a:lnTo>
                  <a:lnTo>
                    <a:pt x="2177945" y="2730129"/>
                  </a:lnTo>
                  <a:lnTo>
                    <a:pt x="2194432" y="2737017"/>
                  </a:lnTo>
                  <a:lnTo>
                    <a:pt x="2205783" y="2735666"/>
                  </a:lnTo>
                  <a:lnTo>
                    <a:pt x="2216339" y="2703337"/>
                  </a:lnTo>
                  <a:lnTo>
                    <a:pt x="2208530" y="2680169"/>
                  </a:lnTo>
                  <a:close/>
                  <a:moveTo>
                    <a:pt x="2018921" y="2722776"/>
                  </a:moveTo>
                  <a:lnTo>
                    <a:pt x="1993775" y="2763567"/>
                  </a:lnTo>
                  <a:lnTo>
                    <a:pt x="1952330" y="2768765"/>
                  </a:lnTo>
                  <a:lnTo>
                    <a:pt x="1919751" y="2750793"/>
                  </a:lnTo>
                  <a:lnTo>
                    <a:pt x="1911566" y="2723330"/>
                  </a:lnTo>
                  <a:lnTo>
                    <a:pt x="1903613" y="2683416"/>
                  </a:lnTo>
                  <a:lnTo>
                    <a:pt x="1927301" y="2658109"/>
                  </a:lnTo>
                  <a:lnTo>
                    <a:pt x="1905098" y="2639422"/>
                  </a:lnTo>
                  <a:lnTo>
                    <a:pt x="1867572" y="2643233"/>
                  </a:lnTo>
                  <a:lnTo>
                    <a:pt x="1814964" y="2674810"/>
                  </a:lnTo>
                  <a:lnTo>
                    <a:pt x="1774700" y="2723581"/>
                  </a:lnTo>
                  <a:lnTo>
                    <a:pt x="1753400" y="2729592"/>
                  </a:lnTo>
                  <a:lnTo>
                    <a:pt x="1782268" y="2695564"/>
                  </a:lnTo>
                  <a:lnTo>
                    <a:pt x="1818443" y="2645702"/>
                  </a:lnTo>
                  <a:lnTo>
                    <a:pt x="1850423" y="2628714"/>
                  </a:lnTo>
                  <a:lnTo>
                    <a:pt x="1871427" y="2600876"/>
                  </a:lnTo>
                  <a:lnTo>
                    <a:pt x="1897405" y="2598165"/>
                  </a:lnTo>
                  <a:lnTo>
                    <a:pt x="1935048" y="2598442"/>
                  </a:lnTo>
                  <a:lnTo>
                    <a:pt x="1988694" y="2606663"/>
                  </a:lnTo>
                  <a:lnTo>
                    <a:pt x="2031096" y="2600330"/>
                  </a:lnTo>
                  <a:lnTo>
                    <a:pt x="2062655" y="2567911"/>
                  </a:lnTo>
                  <a:lnTo>
                    <a:pt x="2103993" y="2553715"/>
                  </a:lnTo>
                  <a:lnTo>
                    <a:pt x="2121991" y="2539581"/>
                  </a:lnTo>
                  <a:lnTo>
                    <a:pt x="2140195" y="2524320"/>
                  </a:lnTo>
                  <a:lnTo>
                    <a:pt x="2138361" y="2477911"/>
                  </a:lnTo>
                  <a:lnTo>
                    <a:pt x="2128289" y="2462059"/>
                  </a:lnTo>
                  <a:lnTo>
                    <a:pt x="2108751" y="2456442"/>
                  </a:lnTo>
                  <a:lnTo>
                    <a:pt x="2098813" y="2420239"/>
                  </a:lnTo>
                  <a:lnTo>
                    <a:pt x="2082711" y="2406391"/>
                  </a:lnTo>
                  <a:lnTo>
                    <a:pt x="2042716" y="2395084"/>
                  </a:lnTo>
                  <a:lnTo>
                    <a:pt x="2020164" y="2369840"/>
                  </a:lnTo>
                  <a:lnTo>
                    <a:pt x="1986806" y="2344560"/>
                  </a:lnTo>
                  <a:lnTo>
                    <a:pt x="1996888" y="2315961"/>
                  </a:lnTo>
                  <a:lnTo>
                    <a:pt x="1969148" y="2259963"/>
                  </a:lnTo>
                  <a:lnTo>
                    <a:pt x="1936488" y="2198301"/>
                  </a:lnTo>
                  <a:lnTo>
                    <a:pt x="1916951" y="2153726"/>
                  </a:lnTo>
                  <a:lnTo>
                    <a:pt x="1900357" y="2177083"/>
                  </a:lnTo>
                  <a:lnTo>
                    <a:pt x="1876365" y="2231230"/>
                  </a:lnTo>
                  <a:lnTo>
                    <a:pt x="1840047" y="2257825"/>
                  </a:lnTo>
                  <a:lnTo>
                    <a:pt x="1821869" y="2229602"/>
                  </a:lnTo>
                  <a:lnTo>
                    <a:pt x="1798960" y="2222025"/>
                  </a:lnTo>
                  <a:lnTo>
                    <a:pt x="1790623" y="2159496"/>
                  </a:lnTo>
                  <a:lnTo>
                    <a:pt x="1791374" y="2116584"/>
                  </a:lnTo>
                  <a:lnTo>
                    <a:pt x="1746647" y="2112666"/>
                  </a:lnTo>
                  <a:lnTo>
                    <a:pt x="1739034" y="2092395"/>
                  </a:lnTo>
                  <a:lnTo>
                    <a:pt x="1708145" y="2061659"/>
                  </a:lnTo>
                  <a:lnTo>
                    <a:pt x="1684789" y="2043419"/>
                  </a:lnTo>
                  <a:lnTo>
                    <a:pt x="1664017" y="2057580"/>
                  </a:lnTo>
                  <a:lnTo>
                    <a:pt x="1638227" y="2052347"/>
                  </a:lnTo>
                  <a:lnTo>
                    <a:pt x="1595226" y="2037622"/>
                  </a:lnTo>
                  <a:lnTo>
                    <a:pt x="1577764" y="2050119"/>
                  </a:lnTo>
                  <a:lnTo>
                    <a:pt x="1586147" y="2132212"/>
                  </a:lnTo>
                  <a:lnTo>
                    <a:pt x="1597078" y="2177977"/>
                  </a:lnTo>
                  <a:lnTo>
                    <a:pt x="1567477" y="2229423"/>
                  </a:lnTo>
                  <a:lnTo>
                    <a:pt x="1597946" y="2265402"/>
                  </a:lnTo>
                  <a:lnTo>
                    <a:pt x="1614978" y="2305120"/>
                  </a:lnTo>
                  <a:lnTo>
                    <a:pt x="1617026" y="2335731"/>
                  </a:lnTo>
                  <a:lnTo>
                    <a:pt x="1603125" y="2367076"/>
                  </a:lnTo>
                  <a:lnTo>
                    <a:pt x="1574705" y="2398036"/>
                  </a:lnTo>
                  <a:lnTo>
                    <a:pt x="1534549" y="2418441"/>
                  </a:lnTo>
                  <a:lnTo>
                    <a:pt x="1552243" y="2441064"/>
                  </a:lnTo>
                  <a:lnTo>
                    <a:pt x="1565339" y="2507279"/>
                  </a:lnTo>
                  <a:lnTo>
                    <a:pt x="1551769" y="2549108"/>
                  </a:lnTo>
                  <a:lnTo>
                    <a:pt x="1532456" y="2562151"/>
                  </a:lnTo>
                  <a:lnTo>
                    <a:pt x="1495135" y="2523837"/>
                  </a:lnTo>
                  <a:lnTo>
                    <a:pt x="1476967" y="2477607"/>
                  </a:lnTo>
                  <a:lnTo>
                    <a:pt x="1469166" y="2435035"/>
                  </a:lnTo>
                  <a:lnTo>
                    <a:pt x="1473263" y="2397518"/>
                  </a:lnTo>
                  <a:lnTo>
                    <a:pt x="1445979" y="2393277"/>
                  </a:lnTo>
                  <a:lnTo>
                    <a:pt x="1404562" y="2390746"/>
                  </a:lnTo>
                  <a:lnTo>
                    <a:pt x="1377985" y="2372121"/>
                  </a:lnTo>
                  <a:lnTo>
                    <a:pt x="1346559" y="2359839"/>
                  </a:lnTo>
                  <a:lnTo>
                    <a:pt x="1328615" y="2338558"/>
                  </a:lnTo>
                  <a:lnTo>
                    <a:pt x="1303540" y="2321248"/>
                  </a:lnTo>
                  <a:lnTo>
                    <a:pt x="1256934" y="2301309"/>
                  </a:lnTo>
                  <a:lnTo>
                    <a:pt x="1221841" y="2310433"/>
                  </a:lnTo>
                  <a:lnTo>
                    <a:pt x="1210114" y="2275125"/>
                  </a:lnTo>
                  <a:lnTo>
                    <a:pt x="1198815" y="2230487"/>
                  </a:lnTo>
                  <a:lnTo>
                    <a:pt x="1161960" y="2222418"/>
                  </a:lnTo>
                  <a:lnTo>
                    <a:pt x="1163346" y="2165069"/>
                  </a:lnTo>
                  <a:lnTo>
                    <a:pt x="1173070" y="2124966"/>
                  </a:lnTo>
                  <a:lnTo>
                    <a:pt x="1200273" y="2065926"/>
                  </a:lnTo>
                  <a:lnTo>
                    <a:pt x="1230965" y="2022075"/>
                  </a:lnTo>
                  <a:lnTo>
                    <a:pt x="1260146" y="2015196"/>
                  </a:lnTo>
                  <a:lnTo>
                    <a:pt x="1261810" y="1978985"/>
                  </a:lnTo>
                  <a:lnTo>
                    <a:pt x="1281606" y="1954993"/>
                  </a:lnTo>
                  <a:lnTo>
                    <a:pt x="1317513" y="1951200"/>
                  </a:lnTo>
                  <a:lnTo>
                    <a:pt x="1346604" y="1911911"/>
                  </a:lnTo>
                  <a:lnTo>
                    <a:pt x="1353921" y="1885996"/>
                  </a:lnTo>
                  <a:lnTo>
                    <a:pt x="1378101" y="1834783"/>
                  </a:lnTo>
                  <a:lnTo>
                    <a:pt x="1385579" y="1803474"/>
                  </a:lnTo>
                  <a:lnTo>
                    <a:pt x="1411512" y="1822322"/>
                  </a:lnTo>
                  <a:lnTo>
                    <a:pt x="1446391" y="1812697"/>
                  </a:lnTo>
                  <a:lnTo>
                    <a:pt x="1495502" y="1768291"/>
                  </a:lnTo>
                  <a:lnTo>
                    <a:pt x="1498695" y="1736633"/>
                  </a:lnTo>
                  <a:lnTo>
                    <a:pt x="1481010" y="1701030"/>
                  </a:lnTo>
                  <a:lnTo>
                    <a:pt x="1499670" y="1664738"/>
                  </a:lnTo>
                  <a:lnTo>
                    <a:pt x="1498159" y="1630164"/>
                  </a:lnTo>
                  <a:lnTo>
                    <a:pt x="1464497" y="1594802"/>
                  </a:lnTo>
                  <a:lnTo>
                    <a:pt x="1427418" y="1584157"/>
                  </a:lnTo>
                  <a:lnTo>
                    <a:pt x="1391770" y="1578575"/>
                  </a:lnTo>
                  <a:lnTo>
                    <a:pt x="1390401" y="1656526"/>
                  </a:lnTo>
                  <a:lnTo>
                    <a:pt x="1372108" y="1715164"/>
                  </a:lnTo>
                  <a:lnTo>
                    <a:pt x="1345915" y="1762611"/>
                  </a:lnTo>
                  <a:lnTo>
                    <a:pt x="1321655" y="1718366"/>
                  </a:lnTo>
                  <a:lnTo>
                    <a:pt x="1329124" y="1668218"/>
                  </a:lnTo>
                  <a:lnTo>
                    <a:pt x="1299139" y="1623329"/>
                  </a:lnTo>
                  <a:lnTo>
                    <a:pt x="1265620" y="1677807"/>
                  </a:lnTo>
                  <a:lnTo>
                    <a:pt x="1265728" y="1606324"/>
                  </a:lnTo>
                  <a:lnTo>
                    <a:pt x="1219086" y="1591779"/>
                  </a:lnTo>
                  <a:lnTo>
                    <a:pt x="1241342" y="1555871"/>
                  </a:lnTo>
                  <a:lnTo>
                    <a:pt x="1207269" y="1470120"/>
                  </a:lnTo>
                  <a:lnTo>
                    <a:pt x="1181899" y="1435197"/>
                  </a:lnTo>
                  <a:lnTo>
                    <a:pt x="1148819" y="1422297"/>
                  </a:lnTo>
                  <a:lnTo>
                    <a:pt x="1119165" y="1479799"/>
                  </a:lnTo>
                  <a:lnTo>
                    <a:pt x="1117152" y="1563377"/>
                  </a:lnTo>
                  <a:lnTo>
                    <a:pt x="1146422" y="1592825"/>
                  </a:lnTo>
                  <a:lnTo>
                    <a:pt x="1173294" y="1636712"/>
                  </a:lnTo>
                  <a:lnTo>
                    <a:pt x="1161951" y="1705664"/>
                  </a:lnTo>
                  <a:lnTo>
                    <a:pt x="1141779" y="1703857"/>
                  </a:lnTo>
                  <a:lnTo>
                    <a:pt x="1125811" y="1756492"/>
                  </a:lnTo>
                  <a:lnTo>
                    <a:pt x="1125963" y="1693838"/>
                  </a:lnTo>
                  <a:lnTo>
                    <a:pt x="1087095" y="1670732"/>
                  </a:lnTo>
                  <a:lnTo>
                    <a:pt x="1064794" y="1682674"/>
                  </a:lnTo>
                  <a:lnTo>
                    <a:pt x="1067692" y="1724467"/>
                  </a:lnTo>
                  <a:lnTo>
                    <a:pt x="1031105" y="1722875"/>
                  </a:lnTo>
                  <a:lnTo>
                    <a:pt x="992165" y="1733368"/>
                  </a:lnTo>
                  <a:lnTo>
                    <a:pt x="947849" y="1703374"/>
                  </a:lnTo>
                  <a:lnTo>
                    <a:pt x="919841" y="1708723"/>
                  </a:lnTo>
                  <a:lnTo>
                    <a:pt x="894632" y="1671921"/>
                  </a:lnTo>
                  <a:lnTo>
                    <a:pt x="874389" y="1655462"/>
                  </a:lnTo>
                  <a:lnTo>
                    <a:pt x="854324" y="1662376"/>
                  </a:lnTo>
                  <a:lnTo>
                    <a:pt x="823793" y="1665552"/>
                  </a:lnTo>
                  <a:lnTo>
                    <a:pt x="807593" y="1688936"/>
                  </a:lnTo>
                  <a:lnTo>
                    <a:pt x="833195" y="1717445"/>
                  </a:lnTo>
                  <a:lnTo>
                    <a:pt x="805911" y="1750767"/>
                  </a:lnTo>
                  <a:lnTo>
                    <a:pt x="779173" y="1711201"/>
                  </a:lnTo>
                  <a:lnTo>
                    <a:pt x="757811" y="1722848"/>
                  </a:lnTo>
                  <a:lnTo>
                    <a:pt x="690112" y="1730657"/>
                  </a:lnTo>
                  <a:lnTo>
                    <a:pt x="644776" y="1716443"/>
                  </a:lnTo>
                  <a:lnTo>
                    <a:pt x="680066" y="1683023"/>
                  </a:lnTo>
                  <a:lnTo>
                    <a:pt x="646234" y="1648117"/>
                  </a:lnTo>
                  <a:lnTo>
                    <a:pt x="621661" y="1652590"/>
                  </a:lnTo>
                  <a:lnTo>
                    <a:pt x="587140" y="1640755"/>
                  </a:lnTo>
                  <a:lnTo>
                    <a:pt x="528440" y="1614894"/>
                  </a:lnTo>
                  <a:lnTo>
                    <a:pt x="490081" y="1584721"/>
                  </a:lnTo>
                  <a:lnTo>
                    <a:pt x="459702" y="1580525"/>
                  </a:lnTo>
                  <a:lnTo>
                    <a:pt x="450229" y="1601610"/>
                  </a:lnTo>
                  <a:lnTo>
                    <a:pt x="419412" y="1613337"/>
                  </a:lnTo>
                  <a:lnTo>
                    <a:pt x="416022" y="1558322"/>
                  </a:lnTo>
                  <a:lnTo>
                    <a:pt x="382628" y="1607567"/>
                  </a:lnTo>
                  <a:lnTo>
                    <a:pt x="340217" y="1542077"/>
                  </a:lnTo>
                  <a:lnTo>
                    <a:pt x="322881" y="1534098"/>
                  </a:lnTo>
                  <a:lnTo>
                    <a:pt x="317281" y="1569030"/>
                  </a:lnTo>
                  <a:lnTo>
                    <a:pt x="298567" y="1586062"/>
                  </a:lnTo>
                  <a:lnTo>
                    <a:pt x="281338" y="1555710"/>
                  </a:lnTo>
                  <a:lnTo>
                    <a:pt x="240287" y="1574031"/>
                  </a:lnTo>
                  <a:lnTo>
                    <a:pt x="202716" y="1605796"/>
                  </a:lnTo>
                  <a:lnTo>
                    <a:pt x="165458" y="1597030"/>
                  </a:lnTo>
                  <a:lnTo>
                    <a:pt x="135079" y="1619349"/>
                  </a:lnTo>
                  <a:lnTo>
                    <a:pt x="113064" y="1648654"/>
                  </a:lnTo>
                  <a:lnTo>
                    <a:pt x="86908" y="1642240"/>
                  </a:lnTo>
                  <a:lnTo>
                    <a:pt x="47422" y="1608247"/>
                  </a:lnTo>
                  <a:lnTo>
                    <a:pt x="637" y="1590929"/>
                  </a:lnTo>
                  <a:lnTo>
                    <a:pt x="467" y="1838254"/>
                  </a:lnTo>
                  <a:lnTo>
                    <a:pt x="333" y="2155193"/>
                  </a:lnTo>
                  <a:lnTo>
                    <a:pt x="25032" y="2156687"/>
                  </a:lnTo>
                  <a:lnTo>
                    <a:pt x="49462" y="2170606"/>
                  </a:lnTo>
                  <a:lnTo>
                    <a:pt x="66977" y="2192397"/>
                  </a:lnTo>
                  <a:lnTo>
                    <a:pt x="89260" y="2224565"/>
                  </a:lnTo>
                  <a:lnTo>
                    <a:pt x="113664" y="2197246"/>
                  </a:lnTo>
                  <a:lnTo>
                    <a:pt x="138845" y="2181207"/>
                  </a:lnTo>
                  <a:lnTo>
                    <a:pt x="152156" y="2206746"/>
                  </a:lnTo>
                  <a:lnTo>
                    <a:pt x="169054" y="2226685"/>
                  </a:lnTo>
                  <a:lnTo>
                    <a:pt x="192017" y="2248369"/>
                  </a:lnTo>
                  <a:lnTo>
                    <a:pt x="207699" y="2282308"/>
                  </a:lnTo>
                  <a:lnTo>
                    <a:pt x="233345" y="2334917"/>
                  </a:lnTo>
                  <a:lnTo>
                    <a:pt x="275989" y="2363579"/>
                  </a:lnTo>
                  <a:lnTo>
                    <a:pt x="276686" y="2391524"/>
                  </a:lnTo>
                  <a:lnTo>
                    <a:pt x="262740" y="2412591"/>
                  </a:lnTo>
                  <a:lnTo>
                    <a:pt x="263268" y="2434811"/>
                  </a:lnTo>
                  <a:lnTo>
                    <a:pt x="293611" y="2465664"/>
                  </a:lnTo>
                  <a:lnTo>
                    <a:pt x="298012" y="2499308"/>
                  </a:lnTo>
                  <a:lnTo>
                    <a:pt x="330100" y="2516824"/>
                  </a:lnTo>
                  <a:lnTo>
                    <a:pt x="326531" y="2541782"/>
                  </a:lnTo>
                  <a:lnTo>
                    <a:pt x="340504" y="2577188"/>
                  </a:lnTo>
                  <a:lnTo>
                    <a:pt x="385929" y="2593513"/>
                  </a:lnTo>
                  <a:lnTo>
                    <a:pt x="403847" y="2610394"/>
                  </a:lnTo>
                  <a:lnTo>
                    <a:pt x="452403" y="2648206"/>
                  </a:lnTo>
                  <a:lnTo>
                    <a:pt x="455766" y="2648305"/>
                  </a:lnTo>
                  <a:lnTo>
                    <a:pt x="526999" y="2648305"/>
                  </a:lnTo>
                  <a:lnTo>
                    <a:pt x="601462" y="2648305"/>
                  </a:lnTo>
                  <a:lnTo>
                    <a:pt x="626115" y="2648305"/>
                  </a:lnTo>
                  <a:lnTo>
                    <a:pt x="702564" y="2648305"/>
                  </a:lnTo>
                  <a:lnTo>
                    <a:pt x="776552" y="2648305"/>
                  </a:lnTo>
                  <a:lnTo>
                    <a:pt x="851801" y="2648305"/>
                  </a:lnTo>
                  <a:lnTo>
                    <a:pt x="927096" y="2648305"/>
                  </a:lnTo>
                  <a:lnTo>
                    <a:pt x="1012329" y="2648305"/>
                  </a:lnTo>
                  <a:lnTo>
                    <a:pt x="1098143" y="2648278"/>
                  </a:lnTo>
                  <a:lnTo>
                    <a:pt x="1150053" y="2648305"/>
                  </a:lnTo>
                  <a:lnTo>
                    <a:pt x="1150125" y="2633598"/>
                  </a:lnTo>
                  <a:lnTo>
                    <a:pt x="1158614" y="2633410"/>
                  </a:lnTo>
                  <a:lnTo>
                    <a:pt x="1163069" y="2654387"/>
                  </a:lnTo>
                  <a:lnTo>
                    <a:pt x="1170870" y="2660811"/>
                  </a:lnTo>
                  <a:lnTo>
                    <a:pt x="1188385" y="2663136"/>
                  </a:lnTo>
                  <a:lnTo>
                    <a:pt x="1213996" y="2669148"/>
                  </a:lnTo>
                  <a:lnTo>
                    <a:pt x="1238328" y="2680804"/>
                  </a:lnTo>
                  <a:lnTo>
                    <a:pt x="1258643" y="2675928"/>
                  </a:lnTo>
                  <a:lnTo>
                    <a:pt x="1289496" y="2685670"/>
                  </a:lnTo>
                  <a:lnTo>
                    <a:pt x="1299676" y="2670829"/>
                  </a:lnTo>
                  <a:lnTo>
                    <a:pt x="1313908" y="2664899"/>
                  </a:lnTo>
                  <a:lnTo>
                    <a:pt x="1319481" y="2655667"/>
                  </a:lnTo>
                  <a:lnTo>
                    <a:pt x="1325135" y="2650711"/>
                  </a:lnTo>
                  <a:lnTo>
                    <a:pt x="1348456" y="2658368"/>
                  </a:lnTo>
                  <a:lnTo>
                    <a:pt x="1365738" y="2659281"/>
                  </a:lnTo>
                  <a:lnTo>
                    <a:pt x="1371732" y="2664344"/>
                  </a:lnTo>
                  <a:lnTo>
                    <a:pt x="1380123" y="2685652"/>
                  </a:lnTo>
                  <a:lnTo>
                    <a:pt x="1408274" y="2691261"/>
                  </a:lnTo>
                  <a:lnTo>
                    <a:pt x="1403846" y="2701835"/>
                  </a:lnTo>
                  <a:lnTo>
                    <a:pt x="1413767" y="2712677"/>
                  </a:lnTo>
                  <a:lnTo>
                    <a:pt x="1409491" y="2726632"/>
                  </a:lnTo>
                  <a:lnTo>
                    <a:pt x="1420020" y="2731221"/>
                  </a:lnTo>
                  <a:lnTo>
                    <a:pt x="1414769" y="2743494"/>
                  </a:lnTo>
                  <a:lnTo>
                    <a:pt x="1421496" y="2744612"/>
                  </a:lnTo>
                  <a:lnTo>
                    <a:pt x="1426210" y="2739271"/>
                  </a:lnTo>
                  <a:lnTo>
                    <a:pt x="1431130" y="2747305"/>
                  </a:lnTo>
                  <a:lnTo>
                    <a:pt x="1449942" y="2751786"/>
                  </a:lnTo>
                  <a:lnTo>
                    <a:pt x="1469014" y="2752162"/>
                  </a:lnTo>
                  <a:lnTo>
                    <a:pt x="1489347" y="2755847"/>
                  </a:lnTo>
                  <a:lnTo>
                    <a:pt x="1511783" y="2762816"/>
                  </a:lnTo>
                  <a:lnTo>
                    <a:pt x="1519968" y="2774052"/>
                  </a:lnTo>
                  <a:lnTo>
                    <a:pt x="1536213" y="2801219"/>
                  </a:lnTo>
                  <a:lnTo>
                    <a:pt x="1528135" y="2812839"/>
                  </a:lnTo>
                  <a:lnTo>
                    <a:pt x="1507748" y="2808009"/>
                  </a:lnTo>
                  <a:lnTo>
                    <a:pt x="1495090" y="2786173"/>
                  </a:lnTo>
                  <a:lnTo>
                    <a:pt x="1498266" y="2808411"/>
                  </a:lnTo>
                  <a:lnTo>
                    <a:pt x="1486306" y="2827823"/>
                  </a:lnTo>
                  <a:lnTo>
                    <a:pt x="1487621" y="2844265"/>
                  </a:lnTo>
                  <a:lnTo>
                    <a:pt x="1485554" y="2853872"/>
                  </a:lnTo>
                  <a:lnTo>
                    <a:pt x="1469318" y="2865206"/>
                  </a:lnTo>
                  <a:lnTo>
                    <a:pt x="1457528" y="2883911"/>
                  </a:lnTo>
                  <a:lnTo>
                    <a:pt x="1452009" y="2895728"/>
                  </a:lnTo>
                  <a:lnTo>
                    <a:pt x="1465776" y="2897848"/>
                  </a:lnTo>
                  <a:lnTo>
                    <a:pt x="1484391" y="2887105"/>
                  </a:lnTo>
                  <a:lnTo>
                    <a:pt x="1495350" y="2877632"/>
                  </a:lnTo>
                  <a:lnTo>
                    <a:pt x="1502801" y="2876084"/>
                  </a:lnTo>
                  <a:lnTo>
                    <a:pt x="1516595" y="2879501"/>
                  </a:lnTo>
                  <a:lnTo>
                    <a:pt x="1523269" y="2874214"/>
                  </a:lnTo>
                  <a:lnTo>
                    <a:pt x="1535506" y="2869912"/>
                  </a:lnTo>
                  <a:lnTo>
                    <a:pt x="1557360" y="2865716"/>
                  </a:lnTo>
                  <a:lnTo>
                    <a:pt x="1557360" y="2865734"/>
                  </a:lnTo>
                  <a:lnTo>
                    <a:pt x="1557360" y="2865716"/>
                  </a:lnTo>
                  <a:lnTo>
                    <a:pt x="1555133" y="2855429"/>
                  </a:lnTo>
                  <a:lnTo>
                    <a:pt x="1553934" y="2855822"/>
                  </a:lnTo>
                  <a:lnTo>
                    <a:pt x="1546276" y="2857593"/>
                  </a:lnTo>
                  <a:lnTo>
                    <a:pt x="1536275" y="2854346"/>
                  </a:lnTo>
                  <a:lnTo>
                    <a:pt x="1543781" y="2842565"/>
                  </a:lnTo>
                  <a:lnTo>
                    <a:pt x="1551429" y="2838477"/>
                  </a:lnTo>
                  <a:lnTo>
                    <a:pt x="1569132" y="2833423"/>
                  </a:lnTo>
                  <a:lnTo>
                    <a:pt x="1590333" y="2828700"/>
                  </a:lnTo>
                  <a:lnTo>
                    <a:pt x="1601461" y="2835265"/>
                  </a:lnTo>
                  <a:lnTo>
                    <a:pt x="1608456" y="2827653"/>
                  </a:lnTo>
                  <a:lnTo>
                    <a:pt x="1616409" y="2822822"/>
                  </a:lnTo>
                  <a:lnTo>
                    <a:pt x="1621741" y="2825381"/>
                  </a:lnTo>
                  <a:lnTo>
                    <a:pt x="1622027" y="2825927"/>
                  </a:lnTo>
                  <a:lnTo>
                    <a:pt x="1647701" y="2801505"/>
                  </a:lnTo>
                  <a:lnTo>
                    <a:pt x="1659017" y="2795011"/>
                  </a:lnTo>
                  <a:lnTo>
                    <a:pt x="1697124" y="2794769"/>
                  </a:lnTo>
                  <a:lnTo>
                    <a:pt x="1743346" y="2794742"/>
                  </a:lnTo>
                  <a:lnTo>
                    <a:pt x="1745859" y="2785994"/>
                  </a:lnTo>
                  <a:lnTo>
                    <a:pt x="1753884" y="2784205"/>
                  </a:lnTo>
                  <a:lnTo>
                    <a:pt x="1764538" y="2778694"/>
                  </a:lnTo>
                  <a:lnTo>
                    <a:pt x="1773439" y="2762414"/>
                  </a:lnTo>
                  <a:lnTo>
                    <a:pt x="1781087" y="2734253"/>
                  </a:lnTo>
                  <a:lnTo>
                    <a:pt x="1800221" y="2706549"/>
                  </a:lnTo>
                  <a:lnTo>
                    <a:pt x="1808559" y="2716237"/>
                  </a:lnTo>
                  <a:lnTo>
                    <a:pt x="1825376" y="2709975"/>
                  </a:lnTo>
                  <a:lnTo>
                    <a:pt x="1836513" y="2720593"/>
                  </a:lnTo>
                  <a:lnTo>
                    <a:pt x="1836495" y="2770017"/>
                  </a:lnTo>
                  <a:lnTo>
                    <a:pt x="1852892" y="2790153"/>
                  </a:lnTo>
                  <a:lnTo>
                    <a:pt x="1880767" y="2785833"/>
                  </a:lnTo>
                  <a:lnTo>
                    <a:pt x="1920914" y="2784670"/>
                  </a:lnTo>
                  <a:lnTo>
                    <a:pt x="1877367" y="2813841"/>
                  </a:lnTo>
                  <a:lnTo>
                    <a:pt x="1878324" y="2843281"/>
                  </a:lnTo>
                  <a:lnTo>
                    <a:pt x="1897369" y="2845812"/>
                  </a:lnTo>
                  <a:lnTo>
                    <a:pt x="1925396" y="2820828"/>
                  </a:lnTo>
                  <a:lnTo>
                    <a:pt x="1950273" y="2806658"/>
                  </a:lnTo>
                  <a:lnTo>
                    <a:pt x="2005825" y="2785627"/>
                  </a:lnTo>
                  <a:lnTo>
                    <a:pt x="2036857" y="2762226"/>
                  </a:lnTo>
                  <a:lnTo>
                    <a:pt x="2020656" y="2749165"/>
                  </a:lnTo>
                  <a:lnTo>
                    <a:pt x="2018921" y="2722776"/>
                  </a:lnTo>
                  <a:close/>
                  <a:moveTo>
                    <a:pt x="1538870" y="2086724"/>
                  </a:moveTo>
                  <a:lnTo>
                    <a:pt x="1548692" y="2058778"/>
                  </a:lnTo>
                  <a:lnTo>
                    <a:pt x="1542313" y="2047749"/>
                  </a:lnTo>
                  <a:lnTo>
                    <a:pt x="1532044" y="2046568"/>
                  </a:lnTo>
                  <a:lnTo>
                    <a:pt x="1522365" y="2062705"/>
                  </a:lnTo>
                  <a:lnTo>
                    <a:pt x="1521193" y="2066400"/>
                  </a:lnTo>
                  <a:lnTo>
                    <a:pt x="1527777" y="2082242"/>
                  </a:lnTo>
                  <a:lnTo>
                    <a:pt x="1538870" y="2086724"/>
                  </a:lnTo>
                  <a:close/>
                  <a:moveTo>
                    <a:pt x="262740" y="2412591"/>
                  </a:moveTo>
                  <a:lnTo>
                    <a:pt x="262740" y="2412591"/>
                  </a:lnTo>
                  <a:lnTo>
                    <a:pt x="276686" y="2391533"/>
                  </a:lnTo>
                  <a:lnTo>
                    <a:pt x="262740" y="241259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6143248" y="4529976"/>
              <a:ext cx="476347" cy="464450"/>
            </a:xfrm>
            <a:custGeom>
              <a:avLst/>
              <a:gdLst>
                <a:gd name="connsiteX0" fmla="*/ 468282 w 476347"/>
                <a:gd name="connsiteY0" fmla="*/ 43839 h 464450"/>
                <a:gd name="connsiteX1" fmla="*/ 466762 w 476347"/>
                <a:gd name="connsiteY1" fmla="*/ 73019 h 464450"/>
                <a:gd name="connsiteX2" fmla="*/ 476817 w 476347"/>
                <a:gd name="connsiteY2" fmla="*/ 76391 h 464450"/>
                <a:gd name="connsiteX3" fmla="*/ 468748 w 476347"/>
                <a:gd name="connsiteY3" fmla="*/ 85239 h 464450"/>
                <a:gd name="connsiteX4" fmla="*/ 459114 w 476347"/>
                <a:gd name="connsiteY4" fmla="*/ 91867 h 464450"/>
                <a:gd name="connsiteX5" fmla="*/ 449524 w 476347"/>
                <a:gd name="connsiteY5" fmla="*/ 104856 h 464450"/>
                <a:gd name="connsiteX6" fmla="*/ 444255 w 476347"/>
                <a:gd name="connsiteY6" fmla="*/ 116440 h 464450"/>
                <a:gd name="connsiteX7" fmla="*/ 442833 w 476347"/>
                <a:gd name="connsiteY7" fmla="*/ 136443 h 464450"/>
                <a:gd name="connsiteX8" fmla="*/ 437027 w 476347"/>
                <a:gd name="connsiteY8" fmla="*/ 145961 h 464450"/>
                <a:gd name="connsiteX9" fmla="*/ 436813 w 476347"/>
                <a:gd name="connsiteY9" fmla="*/ 164746 h 464450"/>
                <a:gd name="connsiteX10" fmla="*/ 429602 w 476347"/>
                <a:gd name="connsiteY10" fmla="*/ 171697 h 464450"/>
                <a:gd name="connsiteX11" fmla="*/ 428672 w 476347"/>
                <a:gd name="connsiteY11" fmla="*/ 186528 h 464450"/>
                <a:gd name="connsiteX12" fmla="*/ 425228 w 476347"/>
                <a:gd name="connsiteY12" fmla="*/ 188452 h 464450"/>
                <a:gd name="connsiteX13" fmla="*/ 422911 w 476347"/>
                <a:gd name="connsiteY13" fmla="*/ 202093 h 464450"/>
                <a:gd name="connsiteX14" fmla="*/ 429218 w 476347"/>
                <a:gd name="connsiteY14" fmla="*/ 213436 h 464450"/>
                <a:gd name="connsiteX15" fmla="*/ 430810 w 476347"/>
                <a:gd name="connsiteY15" fmla="*/ 243556 h 464450"/>
                <a:gd name="connsiteX16" fmla="*/ 435318 w 476347"/>
                <a:gd name="connsiteY16" fmla="*/ 266564 h 464450"/>
                <a:gd name="connsiteX17" fmla="*/ 432814 w 476347"/>
                <a:gd name="connsiteY17" fmla="*/ 279580 h 464450"/>
                <a:gd name="connsiteX18" fmla="*/ 437832 w 476347"/>
                <a:gd name="connsiteY18" fmla="*/ 294125 h 464450"/>
                <a:gd name="connsiteX19" fmla="*/ 452378 w 476347"/>
                <a:gd name="connsiteY19" fmla="*/ 308169 h 464450"/>
                <a:gd name="connsiteX20" fmla="*/ 465921 w 476347"/>
                <a:gd name="connsiteY20" fmla="*/ 339854 h 464450"/>
                <a:gd name="connsiteX21" fmla="*/ 456045 w 476347"/>
                <a:gd name="connsiteY21" fmla="*/ 337296 h 464450"/>
                <a:gd name="connsiteX22" fmla="*/ 422356 w 476347"/>
                <a:gd name="connsiteY22" fmla="*/ 341545 h 464450"/>
                <a:gd name="connsiteX23" fmla="*/ 415629 w 476347"/>
                <a:gd name="connsiteY23" fmla="*/ 344559 h 464450"/>
                <a:gd name="connsiteX24" fmla="*/ 408482 w 476347"/>
                <a:gd name="connsiteY24" fmla="*/ 360653 h 464450"/>
                <a:gd name="connsiteX25" fmla="*/ 414100 w 476347"/>
                <a:gd name="connsiteY25" fmla="*/ 371799 h 464450"/>
                <a:gd name="connsiteX26" fmla="*/ 409645 w 476347"/>
                <a:gd name="connsiteY26" fmla="*/ 401775 h 464450"/>
                <a:gd name="connsiteX27" fmla="*/ 406541 w 476347"/>
                <a:gd name="connsiteY27" fmla="*/ 427279 h 464450"/>
                <a:gd name="connsiteX28" fmla="*/ 413313 w 476347"/>
                <a:gd name="connsiteY28" fmla="*/ 431814 h 464450"/>
                <a:gd name="connsiteX29" fmla="*/ 430845 w 476347"/>
                <a:gd name="connsiteY29" fmla="*/ 441726 h 464450"/>
                <a:gd name="connsiteX30" fmla="*/ 437734 w 476347"/>
                <a:gd name="connsiteY30" fmla="*/ 437092 h 464450"/>
                <a:gd name="connsiteX31" fmla="*/ 439827 w 476347"/>
                <a:gd name="connsiteY31" fmla="*/ 464644 h 464450"/>
                <a:gd name="connsiteX32" fmla="*/ 420630 w 476347"/>
                <a:gd name="connsiteY32" fmla="*/ 464429 h 464450"/>
                <a:gd name="connsiteX33" fmla="*/ 410334 w 476347"/>
                <a:gd name="connsiteY33" fmla="*/ 450358 h 464450"/>
                <a:gd name="connsiteX34" fmla="*/ 401093 w 476347"/>
                <a:gd name="connsiteY34" fmla="*/ 439480 h 464450"/>
                <a:gd name="connsiteX35" fmla="*/ 381869 w 476347"/>
                <a:gd name="connsiteY35" fmla="*/ 435920 h 464450"/>
                <a:gd name="connsiteX36" fmla="*/ 376243 w 476347"/>
                <a:gd name="connsiteY36" fmla="*/ 422573 h 464450"/>
                <a:gd name="connsiteX37" fmla="*/ 360910 w 476347"/>
                <a:gd name="connsiteY37" fmla="*/ 430606 h 464450"/>
                <a:gd name="connsiteX38" fmla="*/ 340818 w 476347"/>
                <a:gd name="connsiteY38" fmla="*/ 427055 h 464450"/>
                <a:gd name="connsiteX39" fmla="*/ 332436 w 476347"/>
                <a:gd name="connsiteY39" fmla="*/ 415506 h 464450"/>
                <a:gd name="connsiteX40" fmla="*/ 316514 w 476347"/>
                <a:gd name="connsiteY40" fmla="*/ 413163 h 464450"/>
                <a:gd name="connsiteX41" fmla="*/ 304759 w 476347"/>
                <a:gd name="connsiteY41" fmla="*/ 413780 h 464450"/>
                <a:gd name="connsiteX42" fmla="*/ 303328 w 476347"/>
                <a:gd name="connsiteY42" fmla="*/ 405881 h 464450"/>
                <a:gd name="connsiteX43" fmla="*/ 294669 w 476347"/>
                <a:gd name="connsiteY43" fmla="*/ 405246 h 464450"/>
                <a:gd name="connsiteX44" fmla="*/ 283245 w 476347"/>
                <a:gd name="connsiteY44" fmla="*/ 403752 h 464450"/>
                <a:gd name="connsiteX45" fmla="*/ 267716 w 476347"/>
                <a:gd name="connsiteY45" fmla="*/ 407554 h 464450"/>
                <a:gd name="connsiteX46" fmla="*/ 256811 w 476347"/>
                <a:gd name="connsiteY46" fmla="*/ 406928 h 464450"/>
                <a:gd name="connsiteX47" fmla="*/ 250603 w 476347"/>
                <a:gd name="connsiteY47" fmla="*/ 409254 h 464450"/>
                <a:gd name="connsiteX48" fmla="*/ 251945 w 476347"/>
                <a:gd name="connsiteY48" fmla="*/ 379098 h 464450"/>
                <a:gd name="connsiteX49" fmla="*/ 243581 w 476347"/>
                <a:gd name="connsiteY49" fmla="*/ 369714 h 464450"/>
                <a:gd name="connsiteX50" fmla="*/ 241738 w 476347"/>
                <a:gd name="connsiteY50" fmla="*/ 354194 h 464450"/>
                <a:gd name="connsiteX51" fmla="*/ 245432 w 476347"/>
                <a:gd name="connsiteY51" fmla="*/ 339005 h 464450"/>
                <a:gd name="connsiteX52" fmla="*/ 240351 w 476347"/>
                <a:gd name="connsiteY52" fmla="*/ 329290 h 464450"/>
                <a:gd name="connsiteX53" fmla="*/ 239886 w 476347"/>
                <a:gd name="connsiteY53" fmla="*/ 313474 h 464450"/>
                <a:gd name="connsiteX54" fmla="*/ 209454 w 476347"/>
                <a:gd name="connsiteY54" fmla="*/ 313689 h 464450"/>
                <a:gd name="connsiteX55" fmla="*/ 211645 w 476347"/>
                <a:gd name="connsiteY55" fmla="*/ 304645 h 464450"/>
                <a:gd name="connsiteX56" fmla="*/ 198844 w 476347"/>
                <a:gd name="connsiteY56" fmla="*/ 304743 h 464450"/>
                <a:gd name="connsiteX57" fmla="*/ 197493 w 476347"/>
                <a:gd name="connsiteY57" fmla="*/ 309091 h 464450"/>
                <a:gd name="connsiteX58" fmla="*/ 181937 w 476347"/>
                <a:gd name="connsiteY58" fmla="*/ 310066 h 464450"/>
                <a:gd name="connsiteX59" fmla="*/ 175639 w 476347"/>
                <a:gd name="connsiteY59" fmla="*/ 324709 h 464450"/>
                <a:gd name="connsiteX60" fmla="*/ 171882 w 476347"/>
                <a:gd name="connsiteY60" fmla="*/ 331007 h 464450"/>
                <a:gd name="connsiteX61" fmla="*/ 158026 w 476347"/>
                <a:gd name="connsiteY61" fmla="*/ 327456 h 464450"/>
                <a:gd name="connsiteX62" fmla="*/ 149751 w 476347"/>
                <a:gd name="connsiteY62" fmla="*/ 330989 h 464450"/>
                <a:gd name="connsiteX63" fmla="*/ 133166 w 476347"/>
                <a:gd name="connsiteY63" fmla="*/ 333029 h 464450"/>
                <a:gd name="connsiteX64" fmla="*/ 123559 w 476347"/>
                <a:gd name="connsiteY64" fmla="*/ 319870 h 464450"/>
                <a:gd name="connsiteX65" fmla="*/ 117789 w 476347"/>
                <a:gd name="connsiteY65" fmla="*/ 311747 h 464450"/>
                <a:gd name="connsiteX66" fmla="*/ 110597 w 476347"/>
                <a:gd name="connsiteY66" fmla="*/ 296701 h 464450"/>
                <a:gd name="connsiteX67" fmla="*/ 104407 w 476347"/>
                <a:gd name="connsiteY67" fmla="*/ 278023 h 464450"/>
                <a:gd name="connsiteX68" fmla="*/ 30391 w 476347"/>
                <a:gd name="connsiteY68" fmla="*/ 277692 h 464450"/>
                <a:gd name="connsiteX69" fmla="*/ 21598 w 476347"/>
                <a:gd name="connsiteY69" fmla="*/ 280698 h 464450"/>
                <a:gd name="connsiteX70" fmla="*/ 14325 w 476347"/>
                <a:gd name="connsiteY70" fmla="*/ 280233 h 464450"/>
                <a:gd name="connsiteX71" fmla="*/ 3976 w 476347"/>
                <a:gd name="connsiteY71" fmla="*/ 283596 h 464450"/>
                <a:gd name="connsiteX72" fmla="*/ 469 w 476347"/>
                <a:gd name="connsiteY72" fmla="*/ 275831 h 464450"/>
                <a:gd name="connsiteX73" fmla="*/ 6847 w 476347"/>
                <a:gd name="connsiteY73" fmla="*/ 273184 h 464450"/>
                <a:gd name="connsiteX74" fmla="*/ 7625 w 476347"/>
                <a:gd name="connsiteY74" fmla="*/ 262270 h 464450"/>
                <a:gd name="connsiteX75" fmla="*/ 11731 w 476347"/>
                <a:gd name="connsiteY75" fmla="*/ 255838 h 464450"/>
                <a:gd name="connsiteX76" fmla="*/ 20856 w 476347"/>
                <a:gd name="connsiteY76" fmla="*/ 250587 h 464450"/>
                <a:gd name="connsiteX77" fmla="*/ 27448 w 476347"/>
                <a:gd name="connsiteY77" fmla="*/ 253128 h 464450"/>
                <a:gd name="connsiteX78" fmla="*/ 36027 w 476347"/>
                <a:gd name="connsiteY78" fmla="*/ 243565 h 464450"/>
                <a:gd name="connsiteX79" fmla="*/ 49687 w 476347"/>
                <a:gd name="connsiteY79" fmla="*/ 243807 h 464450"/>
                <a:gd name="connsiteX80" fmla="*/ 51297 w 476347"/>
                <a:gd name="connsiteY80" fmla="*/ 250882 h 464450"/>
                <a:gd name="connsiteX81" fmla="*/ 60672 w 476347"/>
                <a:gd name="connsiteY81" fmla="*/ 255310 h 464450"/>
                <a:gd name="connsiteX82" fmla="*/ 75423 w 476347"/>
                <a:gd name="connsiteY82" fmla="*/ 239647 h 464450"/>
                <a:gd name="connsiteX83" fmla="*/ 90040 w 476347"/>
                <a:gd name="connsiteY83" fmla="*/ 227445 h 464450"/>
                <a:gd name="connsiteX84" fmla="*/ 96374 w 476347"/>
                <a:gd name="connsiteY84" fmla="*/ 219457 h 464450"/>
                <a:gd name="connsiteX85" fmla="*/ 95533 w 476347"/>
                <a:gd name="connsiteY85" fmla="*/ 198927 h 464450"/>
                <a:gd name="connsiteX86" fmla="*/ 106428 w 476347"/>
                <a:gd name="connsiteY86" fmla="*/ 174703 h 464450"/>
                <a:gd name="connsiteX87" fmla="*/ 117923 w 476347"/>
                <a:gd name="connsiteY87" fmla="*/ 161866 h 464450"/>
                <a:gd name="connsiteX88" fmla="*/ 134437 w 476347"/>
                <a:gd name="connsiteY88" fmla="*/ 149861 h 464450"/>
                <a:gd name="connsiteX89" fmla="*/ 137317 w 476347"/>
                <a:gd name="connsiteY89" fmla="*/ 141908 h 464450"/>
                <a:gd name="connsiteX90" fmla="*/ 137943 w 476347"/>
                <a:gd name="connsiteY90" fmla="*/ 132775 h 464450"/>
                <a:gd name="connsiteX91" fmla="*/ 142032 w 476347"/>
                <a:gd name="connsiteY91" fmla="*/ 124133 h 464450"/>
                <a:gd name="connsiteX92" fmla="*/ 140716 w 476347"/>
                <a:gd name="connsiteY92" fmla="*/ 110009 h 464450"/>
                <a:gd name="connsiteX93" fmla="*/ 143838 w 476347"/>
                <a:gd name="connsiteY93" fmla="*/ 87922 h 464450"/>
                <a:gd name="connsiteX94" fmla="*/ 148749 w 476347"/>
                <a:gd name="connsiteY94" fmla="*/ 72366 h 464450"/>
                <a:gd name="connsiteX95" fmla="*/ 156255 w 476347"/>
                <a:gd name="connsiteY95" fmla="*/ 59037 h 464450"/>
                <a:gd name="connsiteX96" fmla="*/ 157748 w 476347"/>
                <a:gd name="connsiteY96" fmla="*/ 43964 h 464450"/>
                <a:gd name="connsiteX97" fmla="*/ 160003 w 476347"/>
                <a:gd name="connsiteY97" fmla="*/ 26547 h 464450"/>
                <a:gd name="connsiteX98" fmla="*/ 169762 w 476347"/>
                <a:gd name="connsiteY98" fmla="*/ 13862 h 464450"/>
                <a:gd name="connsiteX99" fmla="*/ 183199 w 476347"/>
                <a:gd name="connsiteY99" fmla="*/ 5811 h 464450"/>
                <a:gd name="connsiteX100" fmla="*/ 203836 w 476347"/>
                <a:gd name="connsiteY100" fmla="*/ 14310 h 464450"/>
                <a:gd name="connsiteX101" fmla="*/ 219813 w 476347"/>
                <a:gd name="connsiteY101" fmla="*/ 23524 h 464450"/>
                <a:gd name="connsiteX102" fmla="*/ 238160 w 476347"/>
                <a:gd name="connsiteY102" fmla="*/ 25984 h 464450"/>
                <a:gd name="connsiteX103" fmla="*/ 256873 w 476347"/>
                <a:gd name="connsiteY103" fmla="*/ 30859 h 464450"/>
                <a:gd name="connsiteX104" fmla="*/ 264370 w 476347"/>
                <a:gd name="connsiteY104" fmla="*/ 15768 h 464450"/>
                <a:gd name="connsiteX105" fmla="*/ 267814 w 476347"/>
                <a:gd name="connsiteY105" fmla="*/ 13845 h 464450"/>
                <a:gd name="connsiteX106" fmla="*/ 279246 w 476347"/>
                <a:gd name="connsiteY106" fmla="*/ 16358 h 464450"/>
                <a:gd name="connsiteX107" fmla="*/ 307165 w 476347"/>
                <a:gd name="connsiteY107" fmla="*/ 3879 h 464450"/>
                <a:gd name="connsiteX108" fmla="*/ 317068 w 476347"/>
                <a:gd name="connsiteY108" fmla="*/ 9166 h 464450"/>
                <a:gd name="connsiteX109" fmla="*/ 325182 w 476347"/>
                <a:gd name="connsiteY109" fmla="*/ 8414 h 464450"/>
                <a:gd name="connsiteX110" fmla="*/ 328947 w 476347"/>
                <a:gd name="connsiteY110" fmla="*/ 2332 h 464450"/>
                <a:gd name="connsiteX111" fmla="*/ 338269 w 476347"/>
                <a:gd name="connsiteY111" fmla="*/ 194 h 464450"/>
                <a:gd name="connsiteX112" fmla="*/ 357135 w 476347"/>
                <a:gd name="connsiteY112" fmla="*/ 2824 h 464450"/>
                <a:gd name="connsiteX113" fmla="*/ 373228 w 476347"/>
                <a:gd name="connsiteY113" fmla="*/ 3396 h 464450"/>
                <a:gd name="connsiteX114" fmla="*/ 381502 w 476347"/>
                <a:gd name="connsiteY114" fmla="*/ 748 h 464450"/>
                <a:gd name="connsiteX115" fmla="*/ 396701 w 476347"/>
                <a:gd name="connsiteY115" fmla="*/ 21386 h 464450"/>
                <a:gd name="connsiteX116" fmla="*/ 407963 w 476347"/>
                <a:gd name="connsiteY116" fmla="*/ 24418 h 464450"/>
                <a:gd name="connsiteX117" fmla="*/ 414672 w 476347"/>
                <a:gd name="connsiteY117" fmla="*/ 20223 h 464450"/>
                <a:gd name="connsiteX118" fmla="*/ 426274 w 476347"/>
                <a:gd name="connsiteY118" fmla="*/ 21860 h 464450"/>
                <a:gd name="connsiteX119" fmla="*/ 440239 w 476347"/>
                <a:gd name="connsiteY119" fmla="*/ 16582 h 464450"/>
                <a:gd name="connsiteX120" fmla="*/ 446196 w 476347"/>
                <a:gd name="connsiteY120" fmla="*/ 27245 h 46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76347" h="464450">
                  <a:moveTo>
                    <a:pt x="468282" y="43839"/>
                  </a:moveTo>
                  <a:lnTo>
                    <a:pt x="466762" y="73019"/>
                  </a:lnTo>
                  <a:lnTo>
                    <a:pt x="476817" y="76391"/>
                  </a:lnTo>
                  <a:lnTo>
                    <a:pt x="468748" y="85239"/>
                  </a:lnTo>
                  <a:lnTo>
                    <a:pt x="459114" y="91867"/>
                  </a:lnTo>
                  <a:lnTo>
                    <a:pt x="449524" y="104856"/>
                  </a:lnTo>
                  <a:lnTo>
                    <a:pt x="444255" y="116440"/>
                  </a:lnTo>
                  <a:lnTo>
                    <a:pt x="442833" y="136443"/>
                  </a:lnTo>
                  <a:lnTo>
                    <a:pt x="437027" y="145961"/>
                  </a:lnTo>
                  <a:lnTo>
                    <a:pt x="436813" y="164746"/>
                  </a:lnTo>
                  <a:lnTo>
                    <a:pt x="429602" y="171697"/>
                  </a:lnTo>
                  <a:lnTo>
                    <a:pt x="428672" y="186528"/>
                  </a:lnTo>
                  <a:lnTo>
                    <a:pt x="425228" y="188452"/>
                  </a:lnTo>
                  <a:lnTo>
                    <a:pt x="422911" y="202093"/>
                  </a:lnTo>
                  <a:lnTo>
                    <a:pt x="429218" y="213436"/>
                  </a:lnTo>
                  <a:lnTo>
                    <a:pt x="430810" y="243556"/>
                  </a:lnTo>
                  <a:lnTo>
                    <a:pt x="435318" y="266564"/>
                  </a:lnTo>
                  <a:lnTo>
                    <a:pt x="432814" y="279580"/>
                  </a:lnTo>
                  <a:lnTo>
                    <a:pt x="437832" y="294125"/>
                  </a:lnTo>
                  <a:lnTo>
                    <a:pt x="452378" y="308169"/>
                  </a:lnTo>
                  <a:lnTo>
                    <a:pt x="465921" y="339854"/>
                  </a:lnTo>
                  <a:lnTo>
                    <a:pt x="456045" y="337296"/>
                  </a:lnTo>
                  <a:lnTo>
                    <a:pt x="422356" y="341545"/>
                  </a:lnTo>
                  <a:lnTo>
                    <a:pt x="415629" y="344559"/>
                  </a:lnTo>
                  <a:lnTo>
                    <a:pt x="408482" y="360653"/>
                  </a:lnTo>
                  <a:lnTo>
                    <a:pt x="414100" y="371799"/>
                  </a:lnTo>
                  <a:lnTo>
                    <a:pt x="409645" y="401775"/>
                  </a:lnTo>
                  <a:lnTo>
                    <a:pt x="406541" y="427279"/>
                  </a:lnTo>
                  <a:lnTo>
                    <a:pt x="413313" y="431814"/>
                  </a:lnTo>
                  <a:lnTo>
                    <a:pt x="430845" y="441726"/>
                  </a:lnTo>
                  <a:lnTo>
                    <a:pt x="437734" y="437092"/>
                  </a:lnTo>
                  <a:lnTo>
                    <a:pt x="439827" y="464644"/>
                  </a:lnTo>
                  <a:lnTo>
                    <a:pt x="420630" y="464429"/>
                  </a:lnTo>
                  <a:lnTo>
                    <a:pt x="410334" y="450358"/>
                  </a:lnTo>
                  <a:lnTo>
                    <a:pt x="401093" y="439480"/>
                  </a:lnTo>
                  <a:lnTo>
                    <a:pt x="381869" y="435920"/>
                  </a:lnTo>
                  <a:lnTo>
                    <a:pt x="376243" y="422573"/>
                  </a:lnTo>
                  <a:lnTo>
                    <a:pt x="360910" y="430606"/>
                  </a:lnTo>
                  <a:lnTo>
                    <a:pt x="340818" y="427055"/>
                  </a:lnTo>
                  <a:lnTo>
                    <a:pt x="332436" y="415506"/>
                  </a:lnTo>
                  <a:lnTo>
                    <a:pt x="316514" y="413163"/>
                  </a:lnTo>
                  <a:lnTo>
                    <a:pt x="304759" y="413780"/>
                  </a:lnTo>
                  <a:lnTo>
                    <a:pt x="303328" y="405881"/>
                  </a:lnTo>
                  <a:lnTo>
                    <a:pt x="294669" y="405246"/>
                  </a:lnTo>
                  <a:lnTo>
                    <a:pt x="283245" y="403752"/>
                  </a:lnTo>
                  <a:lnTo>
                    <a:pt x="267716" y="407554"/>
                  </a:lnTo>
                  <a:lnTo>
                    <a:pt x="256811" y="406928"/>
                  </a:lnTo>
                  <a:lnTo>
                    <a:pt x="250603" y="409254"/>
                  </a:lnTo>
                  <a:lnTo>
                    <a:pt x="251945" y="379098"/>
                  </a:lnTo>
                  <a:lnTo>
                    <a:pt x="243581" y="369714"/>
                  </a:lnTo>
                  <a:lnTo>
                    <a:pt x="241738" y="354194"/>
                  </a:lnTo>
                  <a:lnTo>
                    <a:pt x="245432" y="339005"/>
                  </a:lnTo>
                  <a:lnTo>
                    <a:pt x="240351" y="329290"/>
                  </a:lnTo>
                  <a:lnTo>
                    <a:pt x="239886" y="313474"/>
                  </a:lnTo>
                  <a:lnTo>
                    <a:pt x="209454" y="313689"/>
                  </a:lnTo>
                  <a:lnTo>
                    <a:pt x="211645" y="304645"/>
                  </a:lnTo>
                  <a:lnTo>
                    <a:pt x="198844" y="304743"/>
                  </a:lnTo>
                  <a:lnTo>
                    <a:pt x="197493" y="309091"/>
                  </a:lnTo>
                  <a:lnTo>
                    <a:pt x="181937" y="310066"/>
                  </a:lnTo>
                  <a:lnTo>
                    <a:pt x="175639" y="324709"/>
                  </a:lnTo>
                  <a:lnTo>
                    <a:pt x="171882" y="331007"/>
                  </a:lnTo>
                  <a:lnTo>
                    <a:pt x="158026" y="327456"/>
                  </a:lnTo>
                  <a:lnTo>
                    <a:pt x="149751" y="330989"/>
                  </a:lnTo>
                  <a:lnTo>
                    <a:pt x="133166" y="333029"/>
                  </a:lnTo>
                  <a:lnTo>
                    <a:pt x="123559" y="319870"/>
                  </a:lnTo>
                  <a:lnTo>
                    <a:pt x="117789" y="311747"/>
                  </a:lnTo>
                  <a:lnTo>
                    <a:pt x="110597" y="296701"/>
                  </a:lnTo>
                  <a:lnTo>
                    <a:pt x="104407" y="278023"/>
                  </a:lnTo>
                  <a:lnTo>
                    <a:pt x="30391" y="277692"/>
                  </a:lnTo>
                  <a:lnTo>
                    <a:pt x="21598" y="280698"/>
                  </a:lnTo>
                  <a:lnTo>
                    <a:pt x="14325" y="280233"/>
                  </a:lnTo>
                  <a:lnTo>
                    <a:pt x="3976" y="283596"/>
                  </a:lnTo>
                  <a:lnTo>
                    <a:pt x="469" y="275831"/>
                  </a:lnTo>
                  <a:lnTo>
                    <a:pt x="6847" y="273184"/>
                  </a:lnTo>
                  <a:lnTo>
                    <a:pt x="7625" y="262270"/>
                  </a:lnTo>
                  <a:lnTo>
                    <a:pt x="11731" y="255838"/>
                  </a:lnTo>
                  <a:lnTo>
                    <a:pt x="20856" y="250587"/>
                  </a:lnTo>
                  <a:lnTo>
                    <a:pt x="27448" y="253128"/>
                  </a:lnTo>
                  <a:lnTo>
                    <a:pt x="36027" y="243565"/>
                  </a:lnTo>
                  <a:lnTo>
                    <a:pt x="49687" y="243807"/>
                  </a:lnTo>
                  <a:lnTo>
                    <a:pt x="51297" y="250882"/>
                  </a:lnTo>
                  <a:lnTo>
                    <a:pt x="60672" y="255310"/>
                  </a:lnTo>
                  <a:lnTo>
                    <a:pt x="75423" y="239647"/>
                  </a:lnTo>
                  <a:lnTo>
                    <a:pt x="90040" y="227445"/>
                  </a:lnTo>
                  <a:lnTo>
                    <a:pt x="96374" y="219457"/>
                  </a:lnTo>
                  <a:lnTo>
                    <a:pt x="95533" y="198927"/>
                  </a:lnTo>
                  <a:lnTo>
                    <a:pt x="106428" y="174703"/>
                  </a:lnTo>
                  <a:lnTo>
                    <a:pt x="117923" y="161866"/>
                  </a:lnTo>
                  <a:lnTo>
                    <a:pt x="134437" y="149861"/>
                  </a:lnTo>
                  <a:lnTo>
                    <a:pt x="137317" y="141908"/>
                  </a:lnTo>
                  <a:lnTo>
                    <a:pt x="137943" y="132775"/>
                  </a:lnTo>
                  <a:lnTo>
                    <a:pt x="142032" y="124133"/>
                  </a:lnTo>
                  <a:lnTo>
                    <a:pt x="140716" y="110009"/>
                  </a:lnTo>
                  <a:lnTo>
                    <a:pt x="143838" y="87922"/>
                  </a:lnTo>
                  <a:lnTo>
                    <a:pt x="148749" y="72366"/>
                  </a:lnTo>
                  <a:lnTo>
                    <a:pt x="156255" y="59037"/>
                  </a:lnTo>
                  <a:lnTo>
                    <a:pt x="157748" y="43964"/>
                  </a:lnTo>
                  <a:lnTo>
                    <a:pt x="160003" y="26547"/>
                  </a:lnTo>
                  <a:lnTo>
                    <a:pt x="169762" y="13862"/>
                  </a:lnTo>
                  <a:lnTo>
                    <a:pt x="183199" y="5811"/>
                  </a:lnTo>
                  <a:lnTo>
                    <a:pt x="203836" y="14310"/>
                  </a:lnTo>
                  <a:lnTo>
                    <a:pt x="219813" y="23524"/>
                  </a:lnTo>
                  <a:lnTo>
                    <a:pt x="238160" y="25984"/>
                  </a:lnTo>
                  <a:lnTo>
                    <a:pt x="256873" y="30859"/>
                  </a:lnTo>
                  <a:lnTo>
                    <a:pt x="264370" y="15768"/>
                  </a:lnTo>
                  <a:lnTo>
                    <a:pt x="267814" y="13845"/>
                  </a:lnTo>
                  <a:lnTo>
                    <a:pt x="279246" y="16358"/>
                  </a:lnTo>
                  <a:lnTo>
                    <a:pt x="307165" y="3879"/>
                  </a:lnTo>
                  <a:lnTo>
                    <a:pt x="317068" y="9166"/>
                  </a:lnTo>
                  <a:lnTo>
                    <a:pt x="325182" y="8414"/>
                  </a:lnTo>
                  <a:lnTo>
                    <a:pt x="328947" y="2332"/>
                  </a:lnTo>
                  <a:lnTo>
                    <a:pt x="338269" y="194"/>
                  </a:lnTo>
                  <a:lnTo>
                    <a:pt x="357135" y="2824"/>
                  </a:lnTo>
                  <a:lnTo>
                    <a:pt x="373228" y="3396"/>
                  </a:lnTo>
                  <a:lnTo>
                    <a:pt x="381502" y="748"/>
                  </a:lnTo>
                  <a:lnTo>
                    <a:pt x="396701" y="21386"/>
                  </a:lnTo>
                  <a:lnTo>
                    <a:pt x="407963" y="24418"/>
                  </a:lnTo>
                  <a:lnTo>
                    <a:pt x="414672" y="20223"/>
                  </a:lnTo>
                  <a:lnTo>
                    <a:pt x="426274" y="21860"/>
                  </a:lnTo>
                  <a:lnTo>
                    <a:pt x="440239" y="16582"/>
                  </a:lnTo>
                  <a:lnTo>
                    <a:pt x="446196" y="2724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6200356" y="4381713"/>
              <a:ext cx="323925" cy="222885"/>
            </a:xfrm>
            <a:custGeom>
              <a:avLst/>
              <a:gdLst>
                <a:gd name="connsiteX0" fmla="*/ 21034 w 323925"/>
                <a:gd name="connsiteY0" fmla="*/ 94145 h 222885"/>
                <a:gd name="connsiteX1" fmla="*/ 41779 w 323925"/>
                <a:gd name="connsiteY1" fmla="*/ 92248 h 222885"/>
                <a:gd name="connsiteX2" fmla="*/ 46395 w 323925"/>
                <a:gd name="connsiteY2" fmla="*/ 85790 h 222885"/>
                <a:gd name="connsiteX3" fmla="*/ 50554 w 323925"/>
                <a:gd name="connsiteY3" fmla="*/ 86273 h 222885"/>
                <a:gd name="connsiteX4" fmla="*/ 56816 w 323925"/>
                <a:gd name="connsiteY4" fmla="*/ 91971 h 222885"/>
                <a:gd name="connsiteX5" fmla="*/ 88394 w 323925"/>
                <a:gd name="connsiteY5" fmla="*/ 82346 h 222885"/>
                <a:gd name="connsiteX6" fmla="*/ 99039 w 323925"/>
                <a:gd name="connsiteY6" fmla="*/ 72524 h 222885"/>
                <a:gd name="connsiteX7" fmla="*/ 112126 w 323925"/>
                <a:gd name="connsiteY7" fmla="*/ 63721 h 222885"/>
                <a:gd name="connsiteX8" fmla="*/ 109639 w 323925"/>
                <a:gd name="connsiteY8" fmla="*/ 54847 h 222885"/>
                <a:gd name="connsiteX9" fmla="*/ 116715 w 323925"/>
                <a:gd name="connsiteY9" fmla="*/ 52521 h 222885"/>
                <a:gd name="connsiteX10" fmla="*/ 140939 w 323925"/>
                <a:gd name="connsiteY10" fmla="*/ 54096 h 222885"/>
                <a:gd name="connsiteX11" fmla="*/ 164537 w 323925"/>
                <a:gd name="connsiteY11" fmla="*/ 42395 h 222885"/>
                <a:gd name="connsiteX12" fmla="*/ 182670 w 323925"/>
                <a:gd name="connsiteY12" fmla="*/ 14789 h 222885"/>
                <a:gd name="connsiteX13" fmla="*/ 195400 w 323925"/>
                <a:gd name="connsiteY13" fmla="*/ 4520 h 222885"/>
                <a:gd name="connsiteX14" fmla="*/ 211278 w 323925"/>
                <a:gd name="connsiteY14" fmla="*/ 181 h 222885"/>
                <a:gd name="connsiteX15" fmla="*/ 214123 w 323925"/>
                <a:gd name="connsiteY15" fmla="*/ 11050 h 222885"/>
                <a:gd name="connsiteX16" fmla="*/ 228588 w 323925"/>
                <a:gd name="connsiteY16" fmla="*/ 26893 h 222885"/>
                <a:gd name="connsiteX17" fmla="*/ 228659 w 323925"/>
                <a:gd name="connsiteY17" fmla="*/ 37207 h 222885"/>
                <a:gd name="connsiteX18" fmla="*/ 224589 w 323925"/>
                <a:gd name="connsiteY18" fmla="*/ 47718 h 222885"/>
                <a:gd name="connsiteX19" fmla="*/ 226190 w 323925"/>
                <a:gd name="connsiteY19" fmla="*/ 55563 h 222885"/>
                <a:gd name="connsiteX20" fmla="*/ 234894 w 323925"/>
                <a:gd name="connsiteY20" fmla="*/ 62827 h 222885"/>
                <a:gd name="connsiteX21" fmla="*/ 253992 w 323925"/>
                <a:gd name="connsiteY21" fmla="*/ 73839 h 222885"/>
                <a:gd name="connsiteX22" fmla="*/ 267724 w 323925"/>
                <a:gd name="connsiteY22" fmla="*/ 84001 h 222885"/>
                <a:gd name="connsiteX23" fmla="*/ 267957 w 323925"/>
                <a:gd name="connsiteY23" fmla="*/ 92177 h 222885"/>
                <a:gd name="connsiteX24" fmla="*/ 284828 w 323925"/>
                <a:gd name="connsiteY24" fmla="*/ 105255 h 222885"/>
                <a:gd name="connsiteX25" fmla="*/ 295276 w 323925"/>
                <a:gd name="connsiteY25" fmla="*/ 116115 h 222885"/>
                <a:gd name="connsiteX26" fmla="*/ 301609 w 323925"/>
                <a:gd name="connsiteY26" fmla="*/ 131152 h 222885"/>
                <a:gd name="connsiteX27" fmla="*/ 320359 w 323925"/>
                <a:gd name="connsiteY27" fmla="*/ 141064 h 222885"/>
                <a:gd name="connsiteX28" fmla="*/ 324394 w 323925"/>
                <a:gd name="connsiteY28" fmla="*/ 148999 h 222885"/>
                <a:gd name="connsiteX29" fmla="*/ 316119 w 323925"/>
                <a:gd name="connsiteY29" fmla="*/ 151647 h 222885"/>
                <a:gd name="connsiteX30" fmla="*/ 300026 w 323925"/>
                <a:gd name="connsiteY30" fmla="*/ 151074 h 222885"/>
                <a:gd name="connsiteX31" fmla="*/ 281160 w 323925"/>
                <a:gd name="connsiteY31" fmla="*/ 148444 h 222885"/>
                <a:gd name="connsiteX32" fmla="*/ 271839 w 323925"/>
                <a:gd name="connsiteY32" fmla="*/ 150582 h 222885"/>
                <a:gd name="connsiteX33" fmla="*/ 268073 w 323925"/>
                <a:gd name="connsiteY33" fmla="*/ 156665 h 222885"/>
                <a:gd name="connsiteX34" fmla="*/ 259959 w 323925"/>
                <a:gd name="connsiteY34" fmla="*/ 157416 h 222885"/>
                <a:gd name="connsiteX35" fmla="*/ 250056 w 323925"/>
                <a:gd name="connsiteY35" fmla="*/ 152130 h 222885"/>
                <a:gd name="connsiteX36" fmla="*/ 222138 w 323925"/>
                <a:gd name="connsiteY36" fmla="*/ 164609 h 222885"/>
                <a:gd name="connsiteX37" fmla="*/ 210705 w 323925"/>
                <a:gd name="connsiteY37" fmla="*/ 162095 h 222885"/>
                <a:gd name="connsiteX38" fmla="*/ 207261 w 323925"/>
                <a:gd name="connsiteY38" fmla="*/ 164018 h 222885"/>
                <a:gd name="connsiteX39" fmla="*/ 199765 w 323925"/>
                <a:gd name="connsiteY39" fmla="*/ 179109 h 222885"/>
                <a:gd name="connsiteX40" fmla="*/ 181051 w 323925"/>
                <a:gd name="connsiteY40" fmla="*/ 174234 h 222885"/>
                <a:gd name="connsiteX41" fmla="*/ 162704 w 323925"/>
                <a:gd name="connsiteY41" fmla="*/ 171774 h 222885"/>
                <a:gd name="connsiteX42" fmla="*/ 146727 w 323925"/>
                <a:gd name="connsiteY42" fmla="*/ 162560 h 222885"/>
                <a:gd name="connsiteX43" fmla="*/ 126090 w 323925"/>
                <a:gd name="connsiteY43" fmla="*/ 154062 h 222885"/>
                <a:gd name="connsiteX44" fmla="*/ 112654 w 323925"/>
                <a:gd name="connsiteY44" fmla="*/ 162113 h 222885"/>
                <a:gd name="connsiteX45" fmla="*/ 102894 w 323925"/>
                <a:gd name="connsiteY45" fmla="*/ 174798 h 222885"/>
                <a:gd name="connsiteX46" fmla="*/ 100640 w 323925"/>
                <a:gd name="connsiteY46" fmla="*/ 192214 h 222885"/>
                <a:gd name="connsiteX47" fmla="*/ 84502 w 323925"/>
                <a:gd name="connsiteY47" fmla="*/ 190819 h 222885"/>
                <a:gd name="connsiteX48" fmla="*/ 67533 w 323925"/>
                <a:gd name="connsiteY48" fmla="*/ 186623 h 222885"/>
                <a:gd name="connsiteX49" fmla="*/ 52584 w 323925"/>
                <a:gd name="connsiteY49" fmla="*/ 199854 h 222885"/>
                <a:gd name="connsiteX50" fmla="*/ 39426 w 323925"/>
                <a:gd name="connsiteY50" fmla="*/ 223067 h 222885"/>
                <a:gd name="connsiteX51" fmla="*/ 36787 w 323925"/>
                <a:gd name="connsiteY51" fmla="*/ 215840 h 222885"/>
                <a:gd name="connsiteX52" fmla="*/ 35660 w 323925"/>
                <a:gd name="connsiteY52" fmla="*/ 204461 h 222885"/>
                <a:gd name="connsiteX53" fmla="*/ 24192 w 323925"/>
                <a:gd name="connsiteY53" fmla="*/ 196437 h 222885"/>
                <a:gd name="connsiteX54" fmla="*/ 14933 w 323925"/>
                <a:gd name="connsiteY54" fmla="*/ 183546 h 222885"/>
                <a:gd name="connsiteX55" fmla="*/ 12795 w 323925"/>
                <a:gd name="connsiteY55" fmla="*/ 174583 h 222885"/>
                <a:gd name="connsiteX56" fmla="*/ 943 w 323925"/>
                <a:gd name="connsiteY56" fmla="*/ 161531 h 222885"/>
                <a:gd name="connsiteX57" fmla="*/ 2964 w 323925"/>
                <a:gd name="connsiteY57" fmla="*/ 154080 h 222885"/>
                <a:gd name="connsiteX58" fmla="*/ 468 w 323925"/>
                <a:gd name="connsiteY58" fmla="*/ 143542 h 222885"/>
                <a:gd name="connsiteX59" fmla="*/ 2400 w 323925"/>
                <a:gd name="connsiteY59" fmla="*/ 124130 h 222885"/>
                <a:gd name="connsiteX60" fmla="*/ 8421 w 323925"/>
                <a:gd name="connsiteY60" fmla="*/ 119577 h 22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23925" h="222885">
                  <a:moveTo>
                    <a:pt x="21034" y="94145"/>
                  </a:moveTo>
                  <a:lnTo>
                    <a:pt x="41779" y="92248"/>
                  </a:lnTo>
                  <a:lnTo>
                    <a:pt x="46395" y="85790"/>
                  </a:lnTo>
                  <a:lnTo>
                    <a:pt x="50554" y="86273"/>
                  </a:lnTo>
                  <a:lnTo>
                    <a:pt x="56816" y="91971"/>
                  </a:lnTo>
                  <a:lnTo>
                    <a:pt x="88394" y="82346"/>
                  </a:lnTo>
                  <a:lnTo>
                    <a:pt x="99039" y="72524"/>
                  </a:lnTo>
                  <a:lnTo>
                    <a:pt x="112126" y="63721"/>
                  </a:lnTo>
                  <a:lnTo>
                    <a:pt x="109639" y="54847"/>
                  </a:lnTo>
                  <a:lnTo>
                    <a:pt x="116715" y="52521"/>
                  </a:lnTo>
                  <a:lnTo>
                    <a:pt x="140939" y="54096"/>
                  </a:lnTo>
                  <a:lnTo>
                    <a:pt x="164537" y="42395"/>
                  </a:lnTo>
                  <a:lnTo>
                    <a:pt x="182670" y="14789"/>
                  </a:lnTo>
                  <a:lnTo>
                    <a:pt x="195400" y="4520"/>
                  </a:lnTo>
                  <a:lnTo>
                    <a:pt x="211278" y="181"/>
                  </a:lnTo>
                  <a:lnTo>
                    <a:pt x="214123" y="11050"/>
                  </a:lnTo>
                  <a:lnTo>
                    <a:pt x="228588" y="26893"/>
                  </a:lnTo>
                  <a:lnTo>
                    <a:pt x="228659" y="37207"/>
                  </a:lnTo>
                  <a:lnTo>
                    <a:pt x="224589" y="47718"/>
                  </a:lnTo>
                  <a:lnTo>
                    <a:pt x="226190" y="55563"/>
                  </a:lnTo>
                  <a:lnTo>
                    <a:pt x="234894" y="62827"/>
                  </a:lnTo>
                  <a:lnTo>
                    <a:pt x="253992" y="73839"/>
                  </a:lnTo>
                  <a:lnTo>
                    <a:pt x="267724" y="84001"/>
                  </a:lnTo>
                  <a:lnTo>
                    <a:pt x="267957" y="92177"/>
                  </a:lnTo>
                  <a:lnTo>
                    <a:pt x="284828" y="105255"/>
                  </a:lnTo>
                  <a:lnTo>
                    <a:pt x="295276" y="116115"/>
                  </a:lnTo>
                  <a:lnTo>
                    <a:pt x="301609" y="131152"/>
                  </a:lnTo>
                  <a:lnTo>
                    <a:pt x="320359" y="141064"/>
                  </a:lnTo>
                  <a:lnTo>
                    <a:pt x="324394" y="148999"/>
                  </a:lnTo>
                  <a:lnTo>
                    <a:pt x="316119" y="151647"/>
                  </a:lnTo>
                  <a:lnTo>
                    <a:pt x="300026" y="151074"/>
                  </a:lnTo>
                  <a:lnTo>
                    <a:pt x="281160" y="148444"/>
                  </a:lnTo>
                  <a:lnTo>
                    <a:pt x="271839" y="150582"/>
                  </a:lnTo>
                  <a:lnTo>
                    <a:pt x="268073" y="156665"/>
                  </a:lnTo>
                  <a:lnTo>
                    <a:pt x="259959" y="157416"/>
                  </a:lnTo>
                  <a:lnTo>
                    <a:pt x="250056" y="152130"/>
                  </a:lnTo>
                  <a:lnTo>
                    <a:pt x="222138" y="164609"/>
                  </a:lnTo>
                  <a:lnTo>
                    <a:pt x="210705" y="162095"/>
                  </a:lnTo>
                  <a:lnTo>
                    <a:pt x="207261" y="164018"/>
                  </a:lnTo>
                  <a:lnTo>
                    <a:pt x="199765" y="179109"/>
                  </a:lnTo>
                  <a:lnTo>
                    <a:pt x="181051" y="174234"/>
                  </a:lnTo>
                  <a:lnTo>
                    <a:pt x="162704" y="171774"/>
                  </a:lnTo>
                  <a:lnTo>
                    <a:pt x="146727" y="162560"/>
                  </a:lnTo>
                  <a:lnTo>
                    <a:pt x="126090" y="154062"/>
                  </a:lnTo>
                  <a:lnTo>
                    <a:pt x="112654" y="162113"/>
                  </a:lnTo>
                  <a:lnTo>
                    <a:pt x="102894" y="174798"/>
                  </a:lnTo>
                  <a:lnTo>
                    <a:pt x="100640" y="192214"/>
                  </a:lnTo>
                  <a:lnTo>
                    <a:pt x="84502" y="190819"/>
                  </a:lnTo>
                  <a:lnTo>
                    <a:pt x="67533" y="186623"/>
                  </a:lnTo>
                  <a:lnTo>
                    <a:pt x="52584" y="199854"/>
                  </a:lnTo>
                  <a:lnTo>
                    <a:pt x="39426" y="223067"/>
                  </a:lnTo>
                  <a:lnTo>
                    <a:pt x="36787" y="215840"/>
                  </a:lnTo>
                  <a:lnTo>
                    <a:pt x="35660" y="204461"/>
                  </a:lnTo>
                  <a:lnTo>
                    <a:pt x="24192" y="196437"/>
                  </a:lnTo>
                  <a:lnTo>
                    <a:pt x="14933" y="183546"/>
                  </a:lnTo>
                  <a:lnTo>
                    <a:pt x="12795" y="174583"/>
                  </a:lnTo>
                  <a:lnTo>
                    <a:pt x="943" y="161531"/>
                  </a:lnTo>
                  <a:lnTo>
                    <a:pt x="2964" y="154080"/>
                  </a:lnTo>
                  <a:lnTo>
                    <a:pt x="468" y="143542"/>
                  </a:lnTo>
                  <a:lnTo>
                    <a:pt x="2400" y="124130"/>
                  </a:lnTo>
                  <a:lnTo>
                    <a:pt x="8421" y="11957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6115937" y="4568155"/>
              <a:ext cx="184590" cy="218637"/>
            </a:xfrm>
            <a:custGeom>
              <a:avLst/>
              <a:gdLst>
                <a:gd name="connsiteX0" fmla="*/ 48158 w 184590"/>
                <a:gd name="connsiteY0" fmla="*/ 212404 h 218637"/>
                <a:gd name="connsiteX1" fmla="*/ 38766 w 184590"/>
                <a:gd name="connsiteY1" fmla="*/ 203825 h 218637"/>
                <a:gd name="connsiteX2" fmla="*/ 31180 w 184590"/>
                <a:gd name="connsiteY2" fmla="*/ 208030 h 218637"/>
                <a:gd name="connsiteX3" fmla="*/ 21063 w 184590"/>
                <a:gd name="connsiteY3" fmla="*/ 218827 h 218637"/>
                <a:gd name="connsiteX4" fmla="*/ 461 w 184590"/>
                <a:gd name="connsiteY4" fmla="*/ 192357 h 218637"/>
                <a:gd name="connsiteX5" fmla="*/ 19560 w 184590"/>
                <a:gd name="connsiteY5" fmla="*/ 178572 h 218637"/>
                <a:gd name="connsiteX6" fmla="*/ 10104 w 184590"/>
                <a:gd name="connsiteY6" fmla="*/ 162077 h 218637"/>
                <a:gd name="connsiteX7" fmla="*/ 18701 w 184590"/>
                <a:gd name="connsiteY7" fmla="*/ 155806 h 218637"/>
                <a:gd name="connsiteX8" fmla="*/ 35626 w 184590"/>
                <a:gd name="connsiteY8" fmla="*/ 152747 h 218637"/>
                <a:gd name="connsiteX9" fmla="*/ 37621 w 184590"/>
                <a:gd name="connsiteY9" fmla="*/ 141699 h 218637"/>
                <a:gd name="connsiteX10" fmla="*/ 51021 w 184590"/>
                <a:gd name="connsiteY10" fmla="*/ 153668 h 218637"/>
                <a:gd name="connsiteX11" fmla="*/ 73161 w 184590"/>
                <a:gd name="connsiteY11" fmla="*/ 154724 h 218637"/>
                <a:gd name="connsiteX12" fmla="*/ 80863 w 184590"/>
                <a:gd name="connsiteY12" fmla="*/ 142942 h 218637"/>
                <a:gd name="connsiteX13" fmla="*/ 84030 w 184590"/>
                <a:gd name="connsiteY13" fmla="*/ 126366 h 218637"/>
                <a:gd name="connsiteX14" fmla="*/ 81292 w 184590"/>
                <a:gd name="connsiteY14" fmla="*/ 106910 h 218637"/>
                <a:gd name="connsiteX15" fmla="*/ 69422 w 184590"/>
                <a:gd name="connsiteY15" fmla="*/ 92177 h 218637"/>
                <a:gd name="connsiteX16" fmla="*/ 80282 w 184590"/>
                <a:gd name="connsiteY16" fmla="*/ 63318 h 218637"/>
                <a:gd name="connsiteX17" fmla="*/ 74029 w 184590"/>
                <a:gd name="connsiteY17" fmla="*/ 58371 h 218637"/>
                <a:gd name="connsiteX18" fmla="*/ 55368 w 184590"/>
                <a:gd name="connsiteY18" fmla="*/ 60402 h 218637"/>
                <a:gd name="connsiteX19" fmla="*/ 48355 w 184590"/>
                <a:gd name="connsiteY19" fmla="*/ 47521 h 218637"/>
                <a:gd name="connsiteX20" fmla="*/ 50180 w 184590"/>
                <a:gd name="connsiteY20" fmla="*/ 36643 h 218637"/>
                <a:gd name="connsiteX21" fmla="*/ 81829 w 184590"/>
                <a:gd name="connsiteY21" fmla="*/ 37627 h 218637"/>
                <a:gd name="connsiteX22" fmla="*/ 102109 w 184590"/>
                <a:gd name="connsiteY22" fmla="*/ 44202 h 218637"/>
                <a:gd name="connsiteX23" fmla="*/ 122039 w 184590"/>
                <a:gd name="connsiteY23" fmla="*/ 50097 h 218637"/>
                <a:gd name="connsiteX24" fmla="*/ 123838 w 184590"/>
                <a:gd name="connsiteY24" fmla="*/ 36634 h 218637"/>
                <a:gd name="connsiteX25" fmla="*/ 136996 w 184590"/>
                <a:gd name="connsiteY25" fmla="*/ 13420 h 218637"/>
                <a:gd name="connsiteX26" fmla="*/ 151944 w 184590"/>
                <a:gd name="connsiteY26" fmla="*/ 190 h 218637"/>
                <a:gd name="connsiteX27" fmla="*/ 168914 w 184590"/>
                <a:gd name="connsiteY27" fmla="*/ 4386 h 218637"/>
                <a:gd name="connsiteX28" fmla="*/ 185051 w 184590"/>
                <a:gd name="connsiteY28" fmla="*/ 5781 h 218637"/>
                <a:gd name="connsiteX29" fmla="*/ 183557 w 184590"/>
                <a:gd name="connsiteY29" fmla="*/ 20854 h 218637"/>
                <a:gd name="connsiteX30" fmla="*/ 176052 w 184590"/>
                <a:gd name="connsiteY30" fmla="*/ 34183 h 218637"/>
                <a:gd name="connsiteX31" fmla="*/ 171141 w 184590"/>
                <a:gd name="connsiteY31" fmla="*/ 49739 h 218637"/>
                <a:gd name="connsiteX32" fmla="*/ 168019 w 184590"/>
                <a:gd name="connsiteY32" fmla="*/ 71826 h 218637"/>
                <a:gd name="connsiteX33" fmla="*/ 169334 w 184590"/>
                <a:gd name="connsiteY33" fmla="*/ 85950 h 218637"/>
                <a:gd name="connsiteX34" fmla="*/ 165246 w 184590"/>
                <a:gd name="connsiteY34" fmla="*/ 94592 h 218637"/>
                <a:gd name="connsiteX35" fmla="*/ 164620 w 184590"/>
                <a:gd name="connsiteY35" fmla="*/ 103725 h 218637"/>
                <a:gd name="connsiteX36" fmla="*/ 161740 w 184590"/>
                <a:gd name="connsiteY36" fmla="*/ 111678 h 218637"/>
                <a:gd name="connsiteX37" fmla="*/ 145226 w 184590"/>
                <a:gd name="connsiteY37" fmla="*/ 123683 h 218637"/>
                <a:gd name="connsiteX38" fmla="*/ 133731 w 184590"/>
                <a:gd name="connsiteY38" fmla="*/ 136519 h 218637"/>
                <a:gd name="connsiteX39" fmla="*/ 122836 w 184590"/>
                <a:gd name="connsiteY39" fmla="*/ 160744 h 218637"/>
                <a:gd name="connsiteX40" fmla="*/ 123676 w 184590"/>
                <a:gd name="connsiteY40" fmla="*/ 181274 h 218637"/>
                <a:gd name="connsiteX41" fmla="*/ 117343 w 184590"/>
                <a:gd name="connsiteY41" fmla="*/ 189262 h 218637"/>
                <a:gd name="connsiteX42" fmla="*/ 102726 w 184590"/>
                <a:gd name="connsiteY42" fmla="*/ 201464 h 218637"/>
                <a:gd name="connsiteX43" fmla="*/ 87975 w 184590"/>
                <a:gd name="connsiteY43" fmla="*/ 217127 h 218637"/>
                <a:gd name="connsiteX44" fmla="*/ 78600 w 184590"/>
                <a:gd name="connsiteY44" fmla="*/ 212699 h 218637"/>
                <a:gd name="connsiteX45" fmla="*/ 76990 w 184590"/>
                <a:gd name="connsiteY45" fmla="*/ 205624 h 218637"/>
                <a:gd name="connsiteX46" fmla="*/ 63330 w 184590"/>
                <a:gd name="connsiteY46" fmla="*/ 205382 h 218637"/>
                <a:gd name="connsiteX47" fmla="*/ 54751 w 184590"/>
                <a:gd name="connsiteY47" fmla="*/ 214945 h 218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84590" h="218637">
                  <a:moveTo>
                    <a:pt x="48158" y="212404"/>
                  </a:moveTo>
                  <a:lnTo>
                    <a:pt x="38766" y="203825"/>
                  </a:lnTo>
                  <a:lnTo>
                    <a:pt x="31180" y="208030"/>
                  </a:lnTo>
                  <a:lnTo>
                    <a:pt x="21063" y="218827"/>
                  </a:lnTo>
                  <a:lnTo>
                    <a:pt x="461" y="192357"/>
                  </a:lnTo>
                  <a:lnTo>
                    <a:pt x="19560" y="178572"/>
                  </a:lnTo>
                  <a:lnTo>
                    <a:pt x="10104" y="162077"/>
                  </a:lnTo>
                  <a:lnTo>
                    <a:pt x="18701" y="155806"/>
                  </a:lnTo>
                  <a:lnTo>
                    <a:pt x="35626" y="152747"/>
                  </a:lnTo>
                  <a:lnTo>
                    <a:pt x="37621" y="141699"/>
                  </a:lnTo>
                  <a:lnTo>
                    <a:pt x="51021" y="153668"/>
                  </a:lnTo>
                  <a:lnTo>
                    <a:pt x="73161" y="154724"/>
                  </a:lnTo>
                  <a:lnTo>
                    <a:pt x="80863" y="142942"/>
                  </a:lnTo>
                  <a:lnTo>
                    <a:pt x="84030" y="126366"/>
                  </a:lnTo>
                  <a:lnTo>
                    <a:pt x="81292" y="106910"/>
                  </a:lnTo>
                  <a:lnTo>
                    <a:pt x="69422" y="92177"/>
                  </a:lnTo>
                  <a:lnTo>
                    <a:pt x="80282" y="63318"/>
                  </a:lnTo>
                  <a:lnTo>
                    <a:pt x="74029" y="58371"/>
                  </a:lnTo>
                  <a:lnTo>
                    <a:pt x="55368" y="60402"/>
                  </a:lnTo>
                  <a:lnTo>
                    <a:pt x="48355" y="47521"/>
                  </a:lnTo>
                  <a:lnTo>
                    <a:pt x="50180" y="36643"/>
                  </a:lnTo>
                  <a:lnTo>
                    <a:pt x="81829" y="37627"/>
                  </a:lnTo>
                  <a:lnTo>
                    <a:pt x="102109" y="44202"/>
                  </a:lnTo>
                  <a:lnTo>
                    <a:pt x="122039" y="50097"/>
                  </a:lnTo>
                  <a:lnTo>
                    <a:pt x="123838" y="36634"/>
                  </a:lnTo>
                  <a:lnTo>
                    <a:pt x="136996" y="13420"/>
                  </a:lnTo>
                  <a:lnTo>
                    <a:pt x="151944" y="190"/>
                  </a:lnTo>
                  <a:lnTo>
                    <a:pt x="168914" y="4386"/>
                  </a:lnTo>
                  <a:lnTo>
                    <a:pt x="185051" y="5781"/>
                  </a:lnTo>
                  <a:lnTo>
                    <a:pt x="183557" y="20854"/>
                  </a:lnTo>
                  <a:lnTo>
                    <a:pt x="176052" y="34183"/>
                  </a:lnTo>
                  <a:lnTo>
                    <a:pt x="171141" y="49739"/>
                  </a:lnTo>
                  <a:lnTo>
                    <a:pt x="168019" y="71826"/>
                  </a:lnTo>
                  <a:lnTo>
                    <a:pt x="169334" y="85950"/>
                  </a:lnTo>
                  <a:lnTo>
                    <a:pt x="165246" y="94592"/>
                  </a:lnTo>
                  <a:lnTo>
                    <a:pt x="164620" y="103725"/>
                  </a:lnTo>
                  <a:lnTo>
                    <a:pt x="161740" y="111678"/>
                  </a:lnTo>
                  <a:lnTo>
                    <a:pt x="145226" y="123683"/>
                  </a:lnTo>
                  <a:lnTo>
                    <a:pt x="133731" y="136519"/>
                  </a:lnTo>
                  <a:lnTo>
                    <a:pt x="122836" y="160744"/>
                  </a:lnTo>
                  <a:lnTo>
                    <a:pt x="123676" y="181274"/>
                  </a:lnTo>
                  <a:lnTo>
                    <a:pt x="117343" y="189262"/>
                  </a:lnTo>
                  <a:lnTo>
                    <a:pt x="102726" y="201464"/>
                  </a:lnTo>
                  <a:lnTo>
                    <a:pt x="87975" y="217127"/>
                  </a:lnTo>
                  <a:lnTo>
                    <a:pt x="78600" y="212699"/>
                  </a:lnTo>
                  <a:lnTo>
                    <a:pt x="76990" y="205624"/>
                  </a:lnTo>
                  <a:lnTo>
                    <a:pt x="63330" y="205382"/>
                  </a:lnTo>
                  <a:lnTo>
                    <a:pt x="54751" y="21494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5988750" y="3298619"/>
              <a:ext cx="110861" cy="75034"/>
            </a:xfrm>
            <a:custGeom>
              <a:avLst/>
              <a:gdLst>
                <a:gd name="connsiteX0" fmla="*/ 90034 w 110861"/>
                <a:gd name="connsiteY0" fmla="*/ 11480 h 75034"/>
                <a:gd name="connsiteX1" fmla="*/ 91000 w 110861"/>
                <a:gd name="connsiteY1" fmla="*/ 18046 h 75034"/>
                <a:gd name="connsiteX2" fmla="*/ 87162 w 110861"/>
                <a:gd name="connsiteY2" fmla="*/ 27054 h 75034"/>
                <a:gd name="connsiteX3" fmla="*/ 98514 w 110861"/>
                <a:gd name="connsiteY3" fmla="*/ 33737 h 75034"/>
                <a:gd name="connsiteX4" fmla="*/ 111315 w 110861"/>
                <a:gd name="connsiteY4" fmla="*/ 34730 h 75034"/>
                <a:gd name="connsiteX5" fmla="*/ 109329 w 110861"/>
                <a:gd name="connsiteY5" fmla="*/ 49669 h 75034"/>
                <a:gd name="connsiteX6" fmla="*/ 98273 w 110861"/>
                <a:gd name="connsiteY6" fmla="*/ 55787 h 75034"/>
                <a:gd name="connsiteX7" fmla="*/ 79710 w 110861"/>
                <a:gd name="connsiteY7" fmla="*/ 51243 h 75034"/>
                <a:gd name="connsiteX8" fmla="*/ 74281 w 110861"/>
                <a:gd name="connsiteY8" fmla="*/ 65824 h 75034"/>
                <a:gd name="connsiteX9" fmla="*/ 62338 w 110861"/>
                <a:gd name="connsiteY9" fmla="*/ 66969 h 75034"/>
                <a:gd name="connsiteX10" fmla="*/ 57991 w 110861"/>
                <a:gd name="connsiteY10" fmla="*/ 61253 h 75034"/>
                <a:gd name="connsiteX11" fmla="*/ 43928 w 110861"/>
                <a:gd name="connsiteY11" fmla="*/ 73455 h 75034"/>
                <a:gd name="connsiteX12" fmla="*/ 31834 w 110861"/>
                <a:gd name="connsiteY12" fmla="*/ 75163 h 75034"/>
                <a:gd name="connsiteX13" fmla="*/ 21037 w 110861"/>
                <a:gd name="connsiteY13" fmla="*/ 67470 h 75034"/>
                <a:gd name="connsiteX14" fmla="*/ 12431 w 110861"/>
                <a:gd name="connsiteY14" fmla="*/ 51628 h 75034"/>
                <a:gd name="connsiteX15" fmla="*/ 454 w 110861"/>
                <a:gd name="connsiteY15" fmla="*/ 57299 h 75034"/>
                <a:gd name="connsiteX16" fmla="*/ 820 w 110861"/>
                <a:gd name="connsiteY16" fmla="*/ 40857 h 75034"/>
                <a:gd name="connsiteX17" fmla="*/ 19158 w 110861"/>
                <a:gd name="connsiteY17" fmla="*/ 20256 h 75034"/>
                <a:gd name="connsiteX18" fmla="*/ 18353 w 110861"/>
                <a:gd name="connsiteY18" fmla="*/ 10863 h 75034"/>
                <a:gd name="connsiteX19" fmla="*/ 29786 w 110861"/>
                <a:gd name="connsiteY19" fmla="*/ 14271 h 75034"/>
                <a:gd name="connsiteX20" fmla="*/ 36665 w 110861"/>
                <a:gd name="connsiteY20" fmla="*/ 7947 h 75034"/>
                <a:gd name="connsiteX21" fmla="*/ 58000 w 110861"/>
                <a:gd name="connsiteY21" fmla="*/ 8206 h 75034"/>
                <a:gd name="connsiteX22" fmla="*/ 63152 w 110861"/>
                <a:gd name="connsiteY22" fmla="*/ 129 h 75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0861" h="75034">
                  <a:moveTo>
                    <a:pt x="90034" y="11480"/>
                  </a:moveTo>
                  <a:lnTo>
                    <a:pt x="91000" y="18046"/>
                  </a:lnTo>
                  <a:lnTo>
                    <a:pt x="87162" y="27054"/>
                  </a:lnTo>
                  <a:lnTo>
                    <a:pt x="98514" y="33737"/>
                  </a:lnTo>
                  <a:lnTo>
                    <a:pt x="111315" y="34730"/>
                  </a:lnTo>
                  <a:lnTo>
                    <a:pt x="109329" y="49669"/>
                  </a:lnTo>
                  <a:lnTo>
                    <a:pt x="98273" y="55787"/>
                  </a:lnTo>
                  <a:lnTo>
                    <a:pt x="79710" y="51243"/>
                  </a:lnTo>
                  <a:lnTo>
                    <a:pt x="74281" y="65824"/>
                  </a:lnTo>
                  <a:lnTo>
                    <a:pt x="62338" y="66969"/>
                  </a:lnTo>
                  <a:lnTo>
                    <a:pt x="57991" y="61253"/>
                  </a:lnTo>
                  <a:lnTo>
                    <a:pt x="43928" y="73455"/>
                  </a:lnTo>
                  <a:lnTo>
                    <a:pt x="31834" y="75163"/>
                  </a:lnTo>
                  <a:lnTo>
                    <a:pt x="21037" y="67470"/>
                  </a:lnTo>
                  <a:lnTo>
                    <a:pt x="12431" y="51628"/>
                  </a:lnTo>
                  <a:lnTo>
                    <a:pt x="454" y="57299"/>
                  </a:lnTo>
                  <a:lnTo>
                    <a:pt x="820" y="40857"/>
                  </a:lnTo>
                  <a:lnTo>
                    <a:pt x="19158" y="20256"/>
                  </a:lnTo>
                  <a:lnTo>
                    <a:pt x="18353" y="10863"/>
                  </a:lnTo>
                  <a:lnTo>
                    <a:pt x="29786" y="14271"/>
                  </a:lnTo>
                  <a:lnTo>
                    <a:pt x="36665" y="7947"/>
                  </a:lnTo>
                  <a:lnTo>
                    <a:pt x="58000" y="8206"/>
                  </a:lnTo>
                  <a:lnTo>
                    <a:pt x="63152" y="12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5621913" y="4397403"/>
              <a:ext cx="151510" cy="155517"/>
            </a:xfrm>
            <a:custGeom>
              <a:avLst/>
              <a:gdLst>
                <a:gd name="connsiteX0" fmla="*/ 144577 w 151510"/>
                <a:gd name="connsiteY0" fmla="*/ 139292 h 155517"/>
                <a:gd name="connsiteX1" fmla="*/ 133162 w 151510"/>
                <a:gd name="connsiteY1" fmla="*/ 139551 h 155517"/>
                <a:gd name="connsiteX2" fmla="*/ 115665 w 151510"/>
                <a:gd name="connsiteY2" fmla="*/ 134658 h 155517"/>
                <a:gd name="connsiteX3" fmla="*/ 99581 w 151510"/>
                <a:gd name="connsiteY3" fmla="*/ 134945 h 155517"/>
                <a:gd name="connsiteX4" fmla="*/ 69873 w 151510"/>
                <a:gd name="connsiteY4" fmla="*/ 139310 h 155517"/>
                <a:gd name="connsiteX5" fmla="*/ 52456 w 151510"/>
                <a:gd name="connsiteY5" fmla="*/ 146529 h 155517"/>
                <a:gd name="connsiteX6" fmla="*/ 27623 w 151510"/>
                <a:gd name="connsiteY6" fmla="*/ 155698 h 155517"/>
                <a:gd name="connsiteX7" fmla="*/ 22775 w 151510"/>
                <a:gd name="connsiteY7" fmla="*/ 155045 h 155517"/>
                <a:gd name="connsiteX8" fmla="*/ 24707 w 151510"/>
                <a:gd name="connsiteY8" fmla="*/ 134452 h 155517"/>
                <a:gd name="connsiteX9" fmla="*/ 27104 w 151510"/>
                <a:gd name="connsiteY9" fmla="*/ 131313 h 155517"/>
                <a:gd name="connsiteX10" fmla="*/ 26335 w 151510"/>
                <a:gd name="connsiteY10" fmla="*/ 121455 h 155517"/>
                <a:gd name="connsiteX11" fmla="*/ 15717 w 151510"/>
                <a:gd name="connsiteY11" fmla="*/ 110962 h 155517"/>
                <a:gd name="connsiteX12" fmla="*/ 7746 w 151510"/>
                <a:gd name="connsiteY12" fmla="*/ 109289 h 155517"/>
                <a:gd name="connsiteX13" fmla="*/ 438 w 151510"/>
                <a:gd name="connsiteY13" fmla="*/ 102401 h 155517"/>
                <a:gd name="connsiteX14" fmla="*/ 5886 w 151510"/>
                <a:gd name="connsiteY14" fmla="*/ 91264 h 155517"/>
                <a:gd name="connsiteX15" fmla="*/ 3381 w 151510"/>
                <a:gd name="connsiteY15" fmla="*/ 79116 h 155517"/>
                <a:gd name="connsiteX16" fmla="*/ 4535 w 151510"/>
                <a:gd name="connsiteY16" fmla="*/ 71816 h 155517"/>
                <a:gd name="connsiteX17" fmla="*/ 8516 w 151510"/>
                <a:gd name="connsiteY17" fmla="*/ 71780 h 155517"/>
                <a:gd name="connsiteX18" fmla="*/ 9992 w 151510"/>
                <a:gd name="connsiteY18" fmla="*/ 60813 h 155517"/>
                <a:gd name="connsiteX19" fmla="*/ 8050 w 151510"/>
                <a:gd name="connsiteY19" fmla="*/ 55947 h 155517"/>
                <a:gd name="connsiteX20" fmla="*/ 10448 w 151510"/>
                <a:gd name="connsiteY20" fmla="*/ 52449 h 155517"/>
                <a:gd name="connsiteX21" fmla="*/ 19769 w 151510"/>
                <a:gd name="connsiteY21" fmla="*/ 49417 h 155517"/>
                <a:gd name="connsiteX22" fmla="*/ 13570 w 151510"/>
                <a:gd name="connsiteY22" fmla="*/ 29227 h 155517"/>
                <a:gd name="connsiteX23" fmla="*/ 7791 w 151510"/>
                <a:gd name="connsiteY23" fmla="*/ 18778 h 155517"/>
                <a:gd name="connsiteX24" fmla="*/ 9804 w 151510"/>
                <a:gd name="connsiteY24" fmla="*/ 10191 h 155517"/>
                <a:gd name="connsiteX25" fmla="*/ 14804 w 151510"/>
                <a:gd name="connsiteY25" fmla="*/ 8232 h 155517"/>
                <a:gd name="connsiteX26" fmla="*/ 18078 w 151510"/>
                <a:gd name="connsiteY26" fmla="*/ 5924 h 155517"/>
                <a:gd name="connsiteX27" fmla="*/ 25020 w 151510"/>
                <a:gd name="connsiteY27" fmla="*/ 9734 h 155517"/>
                <a:gd name="connsiteX28" fmla="*/ 44387 w 151510"/>
                <a:gd name="connsiteY28" fmla="*/ 9940 h 155517"/>
                <a:gd name="connsiteX29" fmla="*/ 49003 w 151510"/>
                <a:gd name="connsiteY29" fmla="*/ 2542 h 155517"/>
                <a:gd name="connsiteX30" fmla="*/ 53333 w 151510"/>
                <a:gd name="connsiteY30" fmla="*/ 3043 h 155517"/>
                <a:gd name="connsiteX31" fmla="*/ 60569 w 151510"/>
                <a:gd name="connsiteY31" fmla="*/ 181 h 155517"/>
                <a:gd name="connsiteX32" fmla="*/ 64461 w 151510"/>
                <a:gd name="connsiteY32" fmla="*/ 11014 h 155517"/>
                <a:gd name="connsiteX33" fmla="*/ 70311 w 151510"/>
                <a:gd name="connsiteY33" fmla="*/ 7820 h 155517"/>
                <a:gd name="connsiteX34" fmla="*/ 80661 w 151510"/>
                <a:gd name="connsiteY34" fmla="*/ 4072 h 155517"/>
                <a:gd name="connsiteX35" fmla="*/ 91941 w 151510"/>
                <a:gd name="connsiteY35" fmla="*/ 9591 h 155517"/>
                <a:gd name="connsiteX36" fmla="*/ 96325 w 151510"/>
                <a:gd name="connsiteY36" fmla="*/ 17964 h 155517"/>
                <a:gd name="connsiteX37" fmla="*/ 107605 w 151510"/>
                <a:gd name="connsiteY37" fmla="*/ 23296 h 155517"/>
                <a:gd name="connsiteX38" fmla="*/ 116372 w 151510"/>
                <a:gd name="connsiteY38" fmla="*/ 16935 h 155517"/>
                <a:gd name="connsiteX39" fmla="*/ 128126 w 151510"/>
                <a:gd name="connsiteY39" fmla="*/ 15978 h 155517"/>
                <a:gd name="connsiteX40" fmla="*/ 145292 w 151510"/>
                <a:gd name="connsiteY40" fmla="*/ 22500 h 155517"/>
                <a:gd name="connsiteX41" fmla="*/ 151948 w 151510"/>
                <a:gd name="connsiteY41" fmla="*/ 58389 h 155517"/>
                <a:gd name="connsiteX42" fmla="*/ 141374 w 151510"/>
                <a:gd name="connsiteY42" fmla="*/ 79509 h 155517"/>
                <a:gd name="connsiteX43" fmla="*/ 134835 w 151510"/>
                <a:gd name="connsiteY43" fmla="*/ 107849 h 155517"/>
                <a:gd name="connsiteX44" fmla="*/ 145713 w 151510"/>
                <a:gd name="connsiteY44" fmla="*/ 129425 h 15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51510" h="155517">
                  <a:moveTo>
                    <a:pt x="144577" y="139292"/>
                  </a:moveTo>
                  <a:lnTo>
                    <a:pt x="133162" y="139551"/>
                  </a:lnTo>
                  <a:lnTo>
                    <a:pt x="115665" y="134658"/>
                  </a:lnTo>
                  <a:lnTo>
                    <a:pt x="99581" y="134945"/>
                  </a:lnTo>
                  <a:lnTo>
                    <a:pt x="69873" y="139310"/>
                  </a:lnTo>
                  <a:lnTo>
                    <a:pt x="52456" y="146529"/>
                  </a:lnTo>
                  <a:lnTo>
                    <a:pt x="27623" y="155698"/>
                  </a:lnTo>
                  <a:lnTo>
                    <a:pt x="22775" y="155045"/>
                  </a:lnTo>
                  <a:lnTo>
                    <a:pt x="24707" y="134452"/>
                  </a:lnTo>
                  <a:lnTo>
                    <a:pt x="27104" y="131313"/>
                  </a:lnTo>
                  <a:lnTo>
                    <a:pt x="26335" y="121455"/>
                  </a:lnTo>
                  <a:lnTo>
                    <a:pt x="15717" y="110962"/>
                  </a:lnTo>
                  <a:lnTo>
                    <a:pt x="7746" y="109289"/>
                  </a:lnTo>
                  <a:lnTo>
                    <a:pt x="438" y="102401"/>
                  </a:lnTo>
                  <a:lnTo>
                    <a:pt x="5886" y="91264"/>
                  </a:lnTo>
                  <a:lnTo>
                    <a:pt x="3381" y="79116"/>
                  </a:lnTo>
                  <a:lnTo>
                    <a:pt x="4535" y="71816"/>
                  </a:lnTo>
                  <a:lnTo>
                    <a:pt x="8516" y="71780"/>
                  </a:lnTo>
                  <a:lnTo>
                    <a:pt x="9992" y="60813"/>
                  </a:lnTo>
                  <a:lnTo>
                    <a:pt x="8050" y="55947"/>
                  </a:lnTo>
                  <a:lnTo>
                    <a:pt x="10448" y="52449"/>
                  </a:lnTo>
                  <a:lnTo>
                    <a:pt x="19769" y="49417"/>
                  </a:lnTo>
                  <a:lnTo>
                    <a:pt x="13570" y="29227"/>
                  </a:lnTo>
                  <a:lnTo>
                    <a:pt x="7791" y="18778"/>
                  </a:lnTo>
                  <a:lnTo>
                    <a:pt x="9804" y="10191"/>
                  </a:lnTo>
                  <a:lnTo>
                    <a:pt x="14804" y="8232"/>
                  </a:lnTo>
                  <a:lnTo>
                    <a:pt x="18078" y="5924"/>
                  </a:lnTo>
                  <a:lnTo>
                    <a:pt x="25020" y="9734"/>
                  </a:lnTo>
                  <a:lnTo>
                    <a:pt x="44387" y="9940"/>
                  </a:lnTo>
                  <a:lnTo>
                    <a:pt x="49003" y="2542"/>
                  </a:lnTo>
                  <a:lnTo>
                    <a:pt x="53333" y="3043"/>
                  </a:lnTo>
                  <a:lnTo>
                    <a:pt x="60569" y="181"/>
                  </a:lnTo>
                  <a:lnTo>
                    <a:pt x="64461" y="11014"/>
                  </a:lnTo>
                  <a:lnTo>
                    <a:pt x="70311" y="7820"/>
                  </a:lnTo>
                  <a:lnTo>
                    <a:pt x="80661" y="4072"/>
                  </a:lnTo>
                  <a:lnTo>
                    <a:pt x="91941" y="9591"/>
                  </a:lnTo>
                  <a:lnTo>
                    <a:pt x="96325" y="17964"/>
                  </a:lnTo>
                  <a:lnTo>
                    <a:pt x="107605" y="23296"/>
                  </a:lnTo>
                  <a:lnTo>
                    <a:pt x="116372" y="16935"/>
                  </a:lnTo>
                  <a:lnTo>
                    <a:pt x="128126" y="15978"/>
                  </a:lnTo>
                  <a:lnTo>
                    <a:pt x="145292" y="22500"/>
                  </a:lnTo>
                  <a:lnTo>
                    <a:pt x="151948" y="58389"/>
                  </a:lnTo>
                  <a:lnTo>
                    <a:pt x="141374" y="79509"/>
                  </a:lnTo>
                  <a:lnTo>
                    <a:pt x="134835" y="107849"/>
                  </a:lnTo>
                  <a:lnTo>
                    <a:pt x="145713" y="12942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3940410" y="5106236"/>
              <a:ext cx="217787" cy="1232618"/>
            </a:xfrm>
            <a:custGeom>
              <a:avLst/>
              <a:gdLst>
                <a:gd name="connsiteX0" fmla="*/ 176168 w 217787"/>
                <a:gd name="connsiteY0" fmla="*/ 1105731 h 1232618"/>
                <a:gd name="connsiteX1" fmla="*/ 176186 w 217787"/>
                <a:gd name="connsiteY1" fmla="*/ 1200267 h 1232618"/>
                <a:gd name="connsiteX2" fmla="*/ 203040 w 217787"/>
                <a:gd name="connsiteY2" fmla="*/ 1200294 h 1232618"/>
                <a:gd name="connsiteX3" fmla="*/ 218150 w 217787"/>
                <a:gd name="connsiteY3" fmla="*/ 1201457 h 1232618"/>
                <a:gd name="connsiteX4" fmla="*/ 209839 w 217787"/>
                <a:gd name="connsiteY4" fmla="*/ 1219151 h 1232618"/>
                <a:gd name="connsiteX5" fmla="*/ 188334 w 217787"/>
                <a:gd name="connsiteY5" fmla="*/ 1232856 h 1232618"/>
                <a:gd name="connsiteX6" fmla="*/ 176007 w 217787"/>
                <a:gd name="connsiteY6" fmla="*/ 1231452 h 1232618"/>
                <a:gd name="connsiteX7" fmla="*/ 161158 w 217787"/>
                <a:gd name="connsiteY7" fmla="*/ 1227873 h 1232618"/>
                <a:gd name="connsiteX8" fmla="*/ 142945 w 217787"/>
                <a:gd name="connsiteY8" fmla="*/ 1214643 h 1232618"/>
                <a:gd name="connsiteX9" fmla="*/ 116672 w 217787"/>
                <a:gd name="connsiteY9" fmla="*/ 1208318 h 1232618"/>
                <a:gd name="connsiteX10" fmla="*/ 85112 w 217787"/>
                <a:gd name="connsiteY10" fmla="*/ 1184076 h 1232618"/>
                <a:gd name="connsiteX11" fmla="*/ 59492 w 217787"/>
                <a:gd name="connsiteY11" fmla="*/ 1161059 h 1232618"/>
                <a:gd name="connsiteX12" fmla="*/ 24944 w 217787"/>
                <a:gd name="connsiteY12" fmla="*/ 1114059 h 1232618"/>
                <a:gd name="connsiteX13" fmla="*/ 45627 w 217787"/>
                <a:gd name="connsiteY13" fmla="*/ 1122772 h 1232618"/>
                <a:gd name="connsiteX14" fmla="*/ 80845 w 217787"/>
                <a:gd name="connsiteY14" fmla="*/ 1150798 h 1232618"/>
                <a:gd name="connsiteX15" fmla="*/ 114113 w 217787"/>
                <a:gd name="connsiteY15" fmla="*/ 1166042 h 1232618"/>
                <a:gd name="connsiteX16" fmla="*/ 127057 w 217787"/>
                <a:gd name="connsiteY16" fmla="*/ 1146594 h 1232618"/>
                <a:gd name="connsiteX17" fmla="*/ 135189 w 217787"/>
                <a:gd name="connsiteY17" fmla="*/ 1117951 h 1232618"/>
                <a:gd name="connsiteX18" fmla="*/ 158304 w 217787"/>
                <a:gd name="connsiteY18" fmla="*/ 1100892 h 1232618"/>
                <a:gd name="connsiteX19" fmla="*/ 176168 w 217787"/>
                <a:gd name="connsiteY19" fmla="*/ 1105731 h 1232618"/>
                <a:gd name="connsiteX20" fmla="*/ 186563 w 217787"/>
                <a:gd name="connsiteY20" fmla="*/ 103817 h 1232618"/>
                <a:gd name="connsiteX21" fmla="*/ 196385 w 217787"/>
                <a:gd name="connsiteY21" fmla="*/ 140941 h 1232618"/>
                <a:gd name="connsiteX22" fmla="*/ 214482 w 217787"/>
                <a:gd name="connsiteY22" fmla="*/ 137229 h 1232618"/>
                <a:gd name="connsiteX23" fmla="*/ 217523 w 217787"/>
                <a:gd name="connsiteY23" fmla="*/ 144009 h 1232618"/>
                <a:gd name="connsiteX24" fmla="*/ 208918 w 217787"/>
                <a:gd name="connsiteY24" fmla="*/ 172268 h 1232618"/>
                <a:gd name="connsiteX25" fmla="*/ 181598 w 217787"/>
                <a:gd name="connsiteY25" fmla="*/ 185767 h 1232618"/>
                <a:gd name="connsiteX26" fmla="*/ 182394 w 217787"/>
                <a:gd name="connsiteY26" fmla="*/ 231774 h 1232618"/>
                <a:gd name="connsiteX27" fmla="*/ 177161 w 217787"/>
                <a:gd name="connsiteY27" fmla="*/ 240728 h 1232618"/>
                <a:gd name="connsiteX28" fmla="*/ 184666 w 217787"/>
                <a:gd name="connsiteY28" fmla="*/ 251687 h 1232618"/>
                <a:gd name="connsiteX29" fmla="*/ 166963 w 217787"/>
                <a:gd name="connsiteY29" fmla="*/ 269130 h 1232618"/>
                <a:gd name="connsiteX30" fmla="*/ 150539 w 217787"/>
                <a:gd name="connsiteY30" fmla="*/ 295636 h 1232618"/>
                <a:gd name="connsiteX31" fmla="*/ 141576 w 217787"/>
                <a:gd name="connsiteY31" fmla="*/ 321542 h 1232618"/>
                <a:gd name="connsiteX32" fmla="*/ 143947 w 217787"/>
                <a:gd name="connsiteY32" fmla="*/ 349407 h 1232618"/>
                <a:gd name="connsiteX33" fmla="*/ 128489 w 217787"/>
                <a:gd name="connsiteY33" fmla="*/ 379312 h 1232618"/>
                <a:gd name="connsiteX34" fmla="*/ 140046 w 217787"/>
                <a:gd name="connsiteY34" fmla="*/ 430248 h 1232618"/>
                <a:gd name="connsiteX35" fmla="*/ 146559 w 217787"/>
                <a:gd name="connsiteY35" fmla="*/ 435695 h 1232618"/>
                <a:gd name="connsiteX36" fmla="*/ 146496 w 217787"/>
                <a:gd name="connsiteY36" fmla="*/ 463301 h 1232618"/>
                <a:gd name="connsiteX37" fmla="*/ 132183 w 217787"/>
                <a:gd name="connsiteY37" fmla="*/ 492938 h 1232618"/>
                <a:gd name="connsiteX38" fmla="*/ 132765 w 217787"/>
                <a:gd name="connsiteY38" fmla="*/ 518593 h 1232618"/>
                <a:gd name="connsiteX39" fmla="*/ 113773 w 217787"/>
                <a:gd name="connsiteY39" fmla="*/ 538837 h 1232618"/>
                <a:gd name="connsiteX40" fmla="*/ 113854 w 217787"/>
                <a:gd name="connsiteY40" fmla="*/ 567615 h 1232618"/>
                <a:gd name="connsiteX41" fmla="*/ 121484 w 217787"/>
                <a:gd name="connsiteY41" fmla="*/ 598584 h 1232618"/>
                <a:gd name="connsiteX42" fmla="*/ 106465 w 217787"/>
                <a:gd name="connsiteY42" fmla="*/ 610213 h 1232618"/>
                <a:gd name="connsiteX43" fmla="*/ 99756 w 217787"/>
                <a:gd name="connsiteY43" fmla="*/ 639045 h 1232618"/>
                <a:gd name="connsiteX44" fmla="*/ 93861 w 217787"/>
                <a:gd name="connsiteY44" fmla="*/ 672599 h 1232618"/>
                <a:gd name="connsiteX45" fmla="*/ 98101 w 217787"/>
                <a:gd name="connsiteY45" fmla="*/ 713238 h 1232618"/>
                <a:gd name="connsiteX46" fmla="*/ 88019 w 217787"/>
                <a:gd name="connsiteY46" fmla="*/ 720100 h 1232618"/>
                <a:gd name="connsiteX47" fmla="*/ 93879 w 217787"/>
                <a:gd name="connsiteY47" fmla="*/ 759415 h 1232618"/>
                <a:gd name="connsiteX48" fmla="*/ 105204 w 217787"/>
                <a:gd name="connsiteY48" fmla="*/ 772493 h 1232618"/>
                <a:gd name="connsiteX49" fmla="*/ 96938 w 217787"/>
                <a:gd name="connsiteY49" fmla="*/ 787075 h 1232618"/>
                <a:gd name="connsiteX50" fmla="*/ 108576 w 217787"/>
                <a:gd name="connsiteY50" fmla="*/ 794070 h 1232618"/>
                <a:gd name="connsiteX51" fmla="*/ 111260 w 217787"/>
                <a:gd name="connsiteY51" fmla="*/ 807292 h 1232618"/>
                <a:gd name="connsiteX52" fmla="*/ 100310 w 217787"/>
                <a:gd name="connsiteY52" fmla="*/ 813983 h 1232618"/>
                <a:gd name="connsiteX53" fmla="*/ 103003 w 217787"/>
                <a:gd name="connsiteY53" fmla="*/ 834835 h 1232618"/>
                <a:gd name="connsiteX54" fmla="*/ 93843 w 217787"/>
                <a:gd name="connsiteY54" fmla="*/ 882693 h 1232618"/>
                <a:gd name="connsiteX55" fmla="*/ 80550 w 217787"/>
                <a:gd name="connsiteY55" fmla="*/ 914181 h 1232618"/>
                <a:gd name="connsiteX56" fmla="*/ 83466 w 217787"/>
                <a:gd name="connsiteY56" fmla="*/ 933074 h 1232618"/>
                <a:gd name="connsiteX57" fmla="*/ 75514 w 217787"/>
                <a:gd name="connsiteY57" fmla="*/ 957048 h 1232618"/>
                <a:gd name="connsiteX58" fmla="*/ 56272 w 217787"/>
                <a:gd name="connsiteY58" fmla="*/ 973847 h 1232618"/>
                <a:gd name="connsiteX59" fmla="*/ 58463 w 217787"/>
                <a:gd name="connsiteY59" fmla="*/ 1014988 h 1232618"/>
                <a:gd name="connsiteX60" fmla="*/ 67302 w 217787"/>
                <a:gd name="connsiteY60" fmla="*/ 1029265 h 1232618"/>
                <a:gd name="connsiteX61" fmla="*/ 84003 w 217787"/>
                <a:gd name="connsiteY61" fmla="*/ 1026724 h 1232618"/>
                <a:gd name="connsiteX62" fmla="*/ 83520 w 217787"/>
                <a:gd name="connsiteY62" fmla="*/ 1056531 h 1232618"/>
                <a:gd name="connsiteX63" fmla="*/ 93914 w 217787"/>
                <a:gd name="connsiteY63" fmla="*/ 1080075 h 1232618"/>
                <a:gd name="connsiteX64" fmla="*/ 154520 w 217787"/>
                <a:gd name="connsiteY64" fmla="*/ 1085514 h 1232618"/>
                <a:gd name="connsiteX65" fmla="*/ 177770 w 217787"/>
                <a:gd name="connsiteY65" fmla="*/ 1091911 h 1232618"/>
                <a:gd name="connsiteX66" fmla="*/ 155451 w 217787"/>
                <a:gd name="connsiteY66" fmla="*/ 1091606 h 1232618"/>
                <a:gd name="connsiteX67" fmla="*/ 143374 w 217787"/>
                <a:gd name="connsiteY67" fmla="*/ 1101697 h 1232618"/>
                <a:gd name="connsiteX68" fmla="*/ 120742 w 217787"/>
                <a:gd name="connsiteY68" fmla="*/ 1116627 h 1232618"/>
                <a:gd name="connsiteX69" fmla="*/ 116699 w 217787"/>
                <a:gd name="connsiteY69" fmla="*/ 1155790 h 1232618"/>
                <a:gd name="connsiteX70" fmla="*/ 106080 w 217787"/>
                <a:gd name="connsiteY70" fmla="*/ 1156774 h 1232618"/>
                <a:gd name="connsiteX71" fmla="*/ 77777 w 217787"/>
                <a:gd name="connsiteY71" fmla="*/ 1143043 h 1232618"/>
                <a:gd name="connsiteX72" fmla="*/ 49071 w 217787"/>
                <a:gd name="connsiteY72" fmla="*/ 1113961 h 1232618"/>
                <a:gd name="connsiteX73" fmla="*/ 49071 w 217787"/>
                <a:gd name="connsiteY73" fmla="*/ 1113961 h 1232618"/>
                <a:gd name="connsiteX74" fmla="*/ 17869 w 217787"/>
                <a:gd name="connsiteY74" fmla="*/ 1090416 h 1232618"/>
                <a:gd name="connsiteX75" fmla="*/ 10015 w 217787"/>
                <a:gd name="connsiteY75" fmla="*/ 1064707 h 1232618"/>
                <a:gd name="connsiteX76" fmla="*/ 17117 w 217787"/>
                <a:gd name="connsiteY76" fmla="*/ 1041243 h 1232618"/>
                <a:gd name="connsiteX77" fmla="*/ 4495 w 217787"/>
                <a:gd name="connsiteY77" fmla="*/ 1014970 h 1232618"/>
                <a:gd name="connsiteX78" fmla="*/ 1284 w 217787"/>
                <a:gd name="connsiteY78" fmla="*/ 949275 h 1232618"/>
                <a:gd name="connsiteX79" fmla="*/ 11947 w 217787"/>
                <a:gd name="connsiteY79" fmla="*/ 913197 h 1232618"/>
                <a:gd name="connsiteX80" fmla="*/ 38434 w 217787"/>
                <a:gd name="connsiteY80" fmla="*/ 884688 h 1232618"/>
                <a:gd name="connsiteX81" fmla="*/ 362 w 217787"/>
                <a:gd name="connsiteY81" fmla="*/ 874043 h 1232618"/>
                <a:gd name="connsiteX82" fmla="*/ 24247 w 217787"/>
                <a:gd name="connsiteY82" fmla="*/ 842116 h 1232618"/>
                <a:gd name="connsiteX83" fmla="*/ 32790 w 217787"/>
                <a:gd name="connsiteY83" fmla="*/ 783461 h 1232618"/>
                <a:gd name="connsiteX84" fmla="*/ 60664 w 217787"/>
                <a:gd name="connsiteY84" fmla="*/ 795752 h 1232618"/>
                <a:gd name="connsiteX85" fmla="*/ 73769 w 217787"/>
                <a:gd name="connsiteY85" fmla="*/ 724456 h 1232618"/>
                <a:gd name="connsiteX86" fmla="*/ 56942 w 217787"/>
                <a:gd name="connsiteY86" fmla="*/ 715484 h 1232618"/>
                <a:gd name="connsiteX87" fmla="*/ 49106 w 217787"/>
                <a:gd name="connsiteY87" fmla="*/ 757966 h 1232618"/>
                <a:gd name="connsiteX88" fmla="*/ 33282 w 217787"/>
                <a:gd name="connsiteY88" fmla="*/ 753127 h 1232618"/>
                <a:gd name="connsiteX89" fmla="*/ 41163 w 217787"/>
                <a:gd name="connsiteY89" fmla="*/ 704642 h 1232618"/>
                <a:gd name="connsiteX90" fmla="*/ 49715 w 217787"/>
                <a:gd name="connsiteY90" fmla="*/ 643428 h 1232618"/>
                <a:gd name="connsiteX91" fmla="*/ 61236 w 217787"/>
                <a:gd name="connsiteY91" fmla="*/ 621261 h 1232618"/>
                <a:gd name="connsiteX92" fmla="*/ 54017 w 217787"/>
                <a:gd name="connsiteY92" fmla="*/ 589996 h 1232618"/>
                <a:gd name="connsiteX93" fmla="*/ 51951 w 217787"/>
                <a:gd name="connsiteY93" fmla="*/ 554420 h 1232618"/>
                <a:gd name="connsiteX94" fmla="*/ 62525 w 217787"/>
                <a:gd name="connsiteY94" fmla="*/ 553400 h 1232618"/>
                <a:gd name="connsiteX95" fmla="*/ 77911 w 217787"/>
                <a:gd name="connsiteY95" fmla="*/ 503341 h 1232618"/>
                <a:gd name="connsiteX96" fmla="*/ 95247 w 217787"/>
                <a:gd name="connsiteY96" fmla="*/ 454749 h 1232618"/>
                <a:gd name="connsiteX97" fmla="*/ 105866 w 217787"/>
                <a:gd name="connsiteY97" fmla="*/ 410308 h 1232618"/>
                <a:gd name="connsiteX98" fmla="*/ 100087 w 217787"/>
                <a:gd name="connsiteY98" fmla="*/ 366368 h 1232618"/>
                <a:gd name="connsiteX99" fmla="*/ 107574 w 217787"/>
                <a:gd name="connsiteY99" fmla="*/ 342475 h 1232618"/>
                <a:gd name="connsiteX100" fmla="*/ 104568 w 217787"/>
                <a:gd name="connsiteY100" fmla="*/ 307095 h 1232618"/>
                <a:gd name="connsiteX101" fmla="*/ 119239 w 217787"/>
                <a:gd name="connsiteY101" fmla="*/ 272503 h 1232618"/>
                <a:gd name="connsiteX102" fmla="*/ 123757 w 217787"/>
                <a:gd name="connsiteY102" fmla="*/ 218490 h 1232618"/>
                <a:gd name="connsiteX103" fmla="*/ 131808 w 217787"/>
                <a:gd name="connsiteY103" fmla="*/ 161471 h 1232618"/>
                <a:gd name="connsiteX104" fmla="*/ 139653 w 217787"/>
                <a:gd name="connsiteY104" fmla="*/ 101116 h 1232618"/>
                <a:gd name="connsiteX105" fmla="*/ 137819 w 217787"/>
                <a:gd name="connsiteY105" fmla="*/ 57515 h 1232618"/>
                <a:gd name="connsiteX106" fmla="*/ 132595 w 217787"/>
                <a:gd name="connsiteY106" fmla="*/ 20365 h 1232618"/>
                <a:gd name="connsiteX107" fmla="*/ 145494 w 217787"/>
                <a:gd name="connsiteY107" fmla="*/ 13665 h 1232618"/>
                <a:gd name="connsiteX108" fmla="*/ 152212 w 217787"/>
                <a:gd name="connsiteY108" fmla="*/ 238 h 1232618"/>
                <a:gd name="connsiteX109" fmla="*/ 164503 w 217787"/>
                <a:gd name="connsiteY109" fmla="*/ 18057 h 1232618"/>
                <a:gd name="connsiteX110" fmla="*/ 167858 w 217787"/>
                <a:gd name="connsiteY110" fmla="*/ 37039 h 1232618"/>
                <a:gd name="connsiteX111" fmla="*/ 181017 w 217787"/>
                <a:gd name="connsiteY111" fmla="*/ 48221 h 1232618"/>
                <a:gd name="connsiteX112" fmla="*/ 173118 w 217787"/>
                <a:gd name="connsiteY112" fmla="*/ 73877 h 1232618"/>
                <a:gd name="connsiteX113" fmla="*/ 186563 w 217787"/>
                <a:gd name="connsiteY113" fmla="*/ 103817 h 1232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217787" h="1232618">
                  <a:moveTo>
                    <a:pt x="176168" y="1105731"/>
                  </a:moveTo>
                  <a:lnTo>
                    <a:pt x="176186" y="1200267"/>
                  </a:lnTo>
                  <a:lnTo>
                    <a:pt x="203040" y="1200294"/>
                  </a:lnTo>
                  <a:lnTo>
                    <a:pt x="218150" y="1201457"/>
                  </a:lnTo>
                  <a:lnTo>
                    <a:pt x="209839" y="1219151"/>
                  </a:lnTo>
                  <a:lnTo>
                    <a:pt x="188334" y="1232856"/>
                  </a:lnTo>
                  <a:lnTo>
                    <a:pt x="176007" y="1231452"/>
                  </a:lnTo>
                  <a:lnTo>
                    <a:pt x="161158" y="1227873"/>
                  </a:lnTo>
                  <a:lnTo>
                    <a:pt x="142945" y="1214643"/>
                  </a:lnTo>
                  <a:lnTo>
                    <a:pt x="116672" y="1208318"/>
                  </a:lnTo>
                  <a:lnTo>
                    <a:pt x="85112" y="1184076"/>
                  </a:lnTo>
                  <a:lnTo>
                    <a:pt x="59492" y="1161059"/>
                  </a:lnTo>
                  <a:lnTo>
                    <a:pt x="24944" y="1114059"/>
                  </a:lnTo>
                  <a:lnTo>
                    <a:pt x="45627" y="1122772"/>
                  </a:lnTo>
                  <a:lnTo>
                    <a:pt x="80845" y="1150798"/>
                  </a:lnTo>
                  <a:lnTo>
                    <a:pt x="114113" y="1166042"/>
                  </a:lnTo>
                  <a:lnTo>
                    <a:pt x="127057" y="1146594"/>
                  </a:lnTo>
                  <a:lnTo>
                    <a:pt x="135189" y="1117951"/>
                  </a:lnTo>
                  <a:lnTo>
                    <a:pt x="158304" y="1100892"/>
                  </a:lnTo>
                  <a:lnTo>
                    <a:pt x="176168" y="1105731"/>
                  </a:lnTo>
                  <a:close/>
                  <a:moveTo>
                    <a:pt x="186563" y="103817"/>
                  </a:moveTo>
                  <a:lnTo>
                    <a:pt x="196385" y="140941"/>
                  </a:lnTo>
                  <a:lnTo>
                    <a:pt x="214482" y="137229"/>
                  </a:lnTo>
                  <a:lnTo>
                    <a:pt x="217523" y="144009"/>
                  </a:lnTo>
                  <a:lnTo>
                    <a:pt x="208918" y="172268"/>
                  </a:lnTo>
                  <a:lnTo>
                    <a:pt x="181598" y="185767"/>
                  </a:lnTo>
                  <a:lnTo>
                    <a:pt x="182394" y="231774"/>
                  </a:lnTo>
                  <a:lnTo>
                    <a:pt x="177161" y="240728"/>
                  </a:lnTo>
                  <a:lnTo>
                    <a:pt x="184666" y="251687"/>
                  </a:lnTo>
                  <a:lnTo>
                    <a:pt x="166963" y="269130"/>
                  </a:lnTo>
                  <a:lnTo>
                    <a:pt x="150539" y="295636"/>
                  </a:lnTo>
                  <a:lnTo>
                    <a:pt x="141576" y="321542"/>
                  </a:lnTo>
                  <a:lnTo>
                    <a:pt x="143947" y="349407"/>
                  </a:lnTo>
                  <a:lnTo>
                    <a:pt x="128489" y="379312"/>
                  </a:lnTo>
                  <a:lnTo>
                    <a:pt x="140046" y="430248"/>
                  </a:lnTo>
                  <a:lnTo>
                    <a:pt x="146559" y="435695"/>
                  </a:lnTo>
                  <a:lnTo>
                    <a:pt x="146496" y="463301"/>
                  </a:lnTo>
                  <a:lnTo>
                    <a:pt x="132183" y="492938"/>
                  </a:lnTo>
                  <a:lnTo>
                    <a:pt x="132765" y="518593"/>
                  </a:lnTo>
                  <a:lnTo>
                    <a:pt x="113773" y="538837"/>
                  </a:lnTo>
                  <a:lnTo>
                    <a:pt x="113854" y="567615"/>
                  </a:lnTo>
                  <a:lnTo>
                    <a:pt x="121484" y="598584"/>
                  </a:lnTo>
                  <a:lnTo>
                    <a:pt x="106465" y="610213"/>
                  </a:lnTo>
                  <a:lnTo>
                    <a:pt x="99756" y="639045"/>
                  </a:lnTo>
                  <a:lnTo>
                    <a:pt x="93861" y="672599"/>
                  </a:lnTo>
                  <a:lnTo>
                    <a:pt x="98101" y="713238"/>
                  </a:lnTo>
                  <a:lnTo>
                    <a:pt x="88019" y="720100"/>
                  </a:lnTo>
                  <a:lnTo>
                    <a:pt x="93879" y="759415"/>
                  </a:lnTo>
                  <a:lnTo>
                    <a:pt x="105204" y="772493"/>
                  </a:lnTo>
                  <a:lnTo>
                    <a:pt x="96938" y="787075"/>
                  </a:lnTo>
                  <a:lnTo>
                    <a:pt x="108576" y="794070"/>
                  </a:lnTo>
                  <a:lnTo>
                    <a:pt x="111260" y="807292"/>
                  </a:lnTo>
                  <a:lnTo>
                    <a:pt x="100310" y="813983"/>
                  </a:lnTo>
                  <a:lnTo>
                    <a:pt x="103003" y="834835"/>
                  </a:lnTo>
                  <a:lnTo>
                    <a:pt x="93843" y="882693"/>
                  </a:lnTo>
                  <a:lnTo>
                    <a:pt x="80550" y="914181"/>
                  </a:lnTo>
                  <a:lnTo>
                    <a:pt x="83466" y="933074"/>
                  </a:lnTo>
                  <a:lnTo>
                    <a:pt x="75514" y="957048"/>
                  </a:lnTo>
                  <a:lnTo>
                    <a:pt x="56272" y="973847"/>
                  </a:lnTo>
                  <a:lnTo>
                    <a:pt x="58463" y="1014988"/>
                  </a:lnTo>
                  <a:lnTo>
                    <a:pt x="67302" y="1029265"/>
                  </a:lnTo>
                  <a:lnTo>
                    <a:pt x="84003" y="1026724"/>
                  </a:lnTo>
                  <a:lnTo>
                    <a:pt x="83520" y="1056531"/>
                  </a:lnTo>
                  <a:lnTo>
                    <a:pt x="93914" y="1080075"/>
                  </a:lnTo>
                  <a:lnTo>
                    <a:pt x="154520" y="1085514"/>
                  </a:lnTo>
                  <a:lnTo>
                    <a:pt x="177770" y="1091911"/>
                  </a:lnTo>
                  <a:lnTo>
                    <a:pt x="155451" y="1091606"/>
                  </a:lnTo>
                  <a:lnTo>
                    <a:pt x="143374" y="1101697"/>
                  </a:lnTo>
                  <a:lnTo>
                    <a:pt x="120742" y="1116627"/>
                  </a:lnTo>
                  <a:lnTo>
                    <a:pt x="116699" y="1155790"/>
                  </a:lnTo>
                  <a:lnTo>
                    <a:pt x="106080" y="1156774"/>
                  </a:lnTo>
                  <a:lnTo>
                    <a:pt x="77777" y="1143043"/>
                  </a:lnTo>
                  <a:lnTo>
                    <a:pt x="49071" y="1113961"/>
                  </a:lnTo>
                  <a:lnTo>
                    <a:pt x="49071" y="1113961"/>
                  </a:lnTo>
                  <a:lnTo>
                    <a:pt x="17869" y="1090416"/>
                  </a:lnTo>
                  <a:lnTo>
                    <a:pt x="10015" y="1064707"/>
                  </a:lnTo>
                  <a:lnTo>
                    <a:pt x="17117" y="1041243"/>
                  </a:lnTo>
                  <a:lnTo>
                    <a:pt x="4495" y="1014970"/>
                  </a:lnTo>
                  <a:lnTo>
                    <a:pt x="1284" y="949275"/>
                  </a:lnTo>
                  <a:lnTo>
                    <a:pt x="11947" y="913197"/>
                  </a:lnTo>
                  <a:lnTo>
                    <a:pt x="38434" y="884688"/>
                  </a:lnTo>
                  <a:lnTo>
                    <a:pt x="362" y="874043"/>
                  </a:lnTo>
                  <a:lnTo>
                    <a:pt x="24247" y="842116"/>
                  </a:lnTo>
                  <a:lnTo>
                    <a:pt x="32790" y="783461"/>
                  </a:lnTo>
                  <a:lnTo>
                    <a:pt x="60664" y="795752"/>
                  </a:lnTo>
                  <a:lnTo>
                    <a:pt x="73769" y="724456"/>
                  </a:lnTo>
                  <a:lnTo>
                    <a:pt x="56942" y="715484"/>
                  </a:lnTo>
                  <a:lnTo>
                    <a:pt x="49106" y="757966"/>
                  </a:lnTo>
                  <a:lnTo>
                    <a:pt x="33282" y="753127"/>
                  </a:lnTo>
                  <a:lnTo>
                    <a:pt x="41163" y="704642"/>
                  </a:lnTo>
                  <a:lnTo>
                    <a:pt x="49715" y="643428"/>
                  </a:lnTo>
                  <a:lnTo>
                    <a:pt x="61236" y="621261"/>
                  </a:lnTo>
                  <a:lnTo>
                    <a:pt x="54017" y="589996"/>
                  </a:lnTo>
                  <a:lnTo>
                    <a:pt x="51951" y="554420"/>
                  </a:lnTo>
                  <a:lnTo>
                    <a:pt x="62525" y="553400"/>
                  </a:lnTo>
                  <a:lnTo>
                    <a:pt x="77911" y="503341"/>
                  </a:lnTo>
                  <a:lnTo>
                    <a:pt x="95247" y="454749"/>
                  </a:lnTo>
                  <a:lnTo>
                    <a:pt x="105866" y="410308"/>
                  </a:lnTo>
                  <a:lnTo>
                    <a:pt x="100087" y="366368"/>
                  </a:lnTo>
                  <a:lnTo>
                    <a:pt x="107574" y="342475"/>
                  </a:lnTo>
                  <a:lnTo>
                    <a:pt x="104568" y="307095"/>
                  </a:lnTo>
                  <a:lnTo>
                    <a:pt x="119239" y="272503"/>
                  </a:lnTo>
                  <a:lnTo>
                    <a:pt x="123757" y="218490"/>
                  </a:lnTo>
                  <a:lnTo>
                    <a:pt x="131808" y="161471"/>
                  </a:lnTo>
                  <a:lnTo>
                    <a:pt x="139653" y="101116"/>
                  </a:lnTo>
                  <a:lnTo>
                    <a:pt x="137819" y="57515"/>
                  </a:lnTo>
                  <a:lnTo>
                    <a:pt x="132595" y="20365"/>
                  </a:lnTo>
                  <a:lnTo>
                    <a:pt x="145494" y="13665"/>
                  </a:lnTo>
                  <a:lnTo>
                    <a:pt x="152212" y="238"/>
                  </a:lnTo>
                  <a:lnTo>
                    <a:pt x="164503" y="18057"/>
                  </a:lnTo>
                  <a:lnTo>
                    <a:pt x="167858" y="37039"/>
                  </a:lnTo>
                  <a:lnTo>
                    <a:pt x="181017" y="48221"/>
                  </a:lnTo>
                  <a:lnTo>
                    <a:pt x="173118" y="73877"/>
                  </a:lnTo>
                  <a:lnTo>
                    <a:pt x="186563" y="10381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6050599" y="4337969"/>
              <a:ext cx="188714" cy="280092"/>
            </a:xfrm>
            <a:custGeom>
              <a:avLst/>
              <a:gdLst>
                <a:gd name="connsiteX0" fmla="*/ 115515 w 188714"/>
                <a:gd name="connsiteY0" fmla="*/ 266819 h 280092"/>
                <a:gd name="connsiteX1" fmla="*/ 112384 w 188714"/>
                <a:gd name="connsiteY1" fmla="*/ 265460 h 280092"/>
                <a:gd name="connsiteX2" fmla="*/ 97544 w 188714"/>
                <a:gd name="connsiteY2" fmla="*/ 268671 h 280092"/>
                <a:gd name="connsiteX3" fmla="*/ 82301 w 188714"/>
                <a:gd name="connsiteY3" fmla="*/ 265335 h 280092"/>
                <a:gd name="connsiteX4" fmla="*/ 70385 w 188714"/>
                <a:gd name="connsiteY4" fmla="*/ 266971 h 280092"/>
                <a:gd name="connsiteX5" fmla="*/ 29567 w 188714"/>
                <a:gd name="connsiteY5" fmla="*/ 266399 h 280092"/>
                <a:gd name="connsiteX6" fmla="*/ 33226 w 188714"/>
                <a:gd name="connsiteY6" fmla="*/ 246710 h 280092"/>
                <a:gd name="connsiteX7" fmla="*/ 23430 w 188714"/>
                <a:gd name="connsiteY7" fmla="*/ 230214 h 280092"/>
                <a:gd name="connsiteX8" fmla="*/ 11980 w 188714"/>
                <a:gd name="connsiteY8" fmla="*/ 225974 h 280092"/>
                <a:gd name="connsiteX9" fmla="*/ 6881 w 188714"/>
                <a:gd name="connsiteY9" fmla="*/ 214783 h 280092"/>
                <a:gd name="connsiteX10" fmla="*/ 458 w 188714"/>
                <a:gd name="connsiteY10" fmla="*/ 211205 h 280092"/>
                <a:gd name="connsiteX11" fmla="*/ 744 w 188714"/>
                <a:gd name="connsiteY11" fmla="*/ 204290 h 280092"/>
                <a:gd name="connsiteX12" fmla="*/ 7203 w 188714"/>
                <a:gd name="connsiteY12" fmla="*/ 186587 h 280092"/>
                <a:gd name="connsiteX13" fmla="*/ 19136 w 188714"/>
                <a:gd name="connsiteY13" fmla="*/ 162417 h 280092"/>
                <a:gd name="connsiteX14" fmla="*/ 26391 w 188714"/>
                <a:gd name="connsiteY14" fmla="*/ 162193 h 280092"/>
                <a:gd name="connsiteX15" fmla="*/ 41330 w 188714"/>
                <a:gd name="connsiteY15" fmla="*/ 147504 h 280092"/>
                <a:gd name="connsiteX16" fmla="*/ 50839 w 188714"/>
                <a:gd name="connsiteY16" fmla="*/ 147093 h 280092"/>
                <a:gd name="connsiteX17" fmla="*/ 64920 w 188714"/>
                <a:gd name="connsiteY17" fmla="*/ 157407 h 280092"/>
                <a:gd name="connsiteX18" fmla="*/ 82158 w 188714"/>
                <a:gd name="connsiteY18" fmla="*/ 148953 h 280092"/>
                <a:gd name="connsiteX19" fmla="*/ 84501 w 188714"/>
                <a:gd name="connsiteY19" fmla="*/ 138514 h 280092"/>
                <a:gd name="connsiteX20" fmla="*/ 90137 w 188714"/>
                <a:gd name="connsiteY20" fmla="*/ 128388 h 280092"/>
                <a:gd name="connsiteX21" fmla="*/ 94019 w 188714"/>
                <a:gd name="connsiteY21" fmla="*/ 115649 h 280092"/>
                <a:gd name="connsiteX22" fmla="*/ 107428 w 188714"/>
                <a:gd name="connsiteY22" fmla="*/ 105273 h 280092"/>
                <a:gd name="connsiteX23" fmla="*/ 112492 w 188714"/>
                <a:gd name="connsiteY23" fmla="*/ 87605 h 280092"/>
                <a:gd name="connsiteX24" fmla="*/ 117814 w 188714"/>
                <a:gd name="connsiteY24" fmla="*/ 81979 h 280092"/>
                <a:gd name="connsiteX25" fmla="*/ 121348 w 188714"/>
                <a:gd name="connsiteY25" fmla="*/ 68829 h 280092"/>
                <a:gd name="connsiteX26" fmla="*/ 127985 w 188714"/>
                <a:gd name="connsiteY26" fmla="*/ 52655 h 280092"/>
                <a:gd name="connsiteX27" fmla="*/ 149106 w 188714"/>
                <a:gd name="connsiteY27" fmla="*/ 33002 h 280092"/>
                <a:gd name="connsiteX28" fmla="*/ 150439 w 188714"/>
                <a:gd name="connsiteY28" fmla="*/ 24539 h 280092"/>
                <a:gd name="connsiteX29" fmla="*/ 153167 w 188714"/>
                <a:gd name="connsiteY29" fmla="*/ 19942 h 280092"/>
                <a:gd name="connsiteX30" fmla="*/ 143237 w 188714"/>
                <a:gd name="connsiteY30" fmla="*/ 9779 h 280092"/>
                <a:gd name="connsiteX31" fmla="*/ 144042 w 188714"/>
                <a:gd name="connsiteY31" fmla="*/ 1648 h 280092"/>
                <a:gd name="connsiteX32" fmla="*/ 151127 w 188714"/>
                <a:gd name="connsiteY32" fmla="*/ 181 h 280092"/>
                <a:gd name="connsiteX33" fmla="*/ 161102 w 188714"/>
                <a:gd name="connsiteY33" fmla="*/ 16533 h 280092"/>
                <a:gd name="connsiteX34" fmla="*/ 162774 w 188714"/>
                <a:gd name="connsiteY34" fmla="*/ 33431 h 280092"/>
                <a:gd name="connsiteX35" fmla="*/ 161862 w 188714"/>
                <a:gd name="connsiteY35" fmla="*/ 50302 h 280092"/>
                <a:gd name="connsiteX36" fmla="*/ 175513 w 188714"/>
                <a:gd name="connsiteY36" fmla="*/ 73337 h 280092"/>
                <a:gd name="connsiteX37" fmla="*/ 161504 w 188714"/>
                <a:gd name="connsiteY37" fmla="*/ 73087 h 280092"/>
                <a:gd name="connsiteX38" fmla="*/ 154428 w 188714"/>
                <a:gd name="connsiteY38" fmla="*/ 74894 h 280092"/>
                <a:gd name="connsiteX39" fmla="*/ 142996 w 188714"/>
                <a:gd name="connsiteY39" fmla="*/ 72353 h 280092"/>
                <a:gd name="connsiteX40" fmla="*/ 137539 w 188714"/>
                <a:gd name="connsiteY40" fmla="*/ 84286 h 280092"/>
                <a:gd name="connsiteX41" fmla="*/ 152353 w 188714"/>
                <a:gd name="connsiteY41" fmla="*/ 99020 h 280092"/>
                <a:gd name="connsiteX42" fmla="*/ 163275 w 188714"/>
                <a:gd name="connsiteY42" fmla="*/ 103296 h 280092"/>
                <a:gd name="connsiteX43" fmla="*/ 166800 w 188714"/>
                <a:gd name="connsiteY43" fmla="*/ 113726 h 280092"/>
                <a:gd name="connsiteX44" fmla="*/ 174717 w 188714"/>
                <a:gd name="connsiteY44" fmla="*/ 131080 h 280092"/>
                <a:gd name="connsiteX45" fmla="*/ 170780 w 188714"/>
                <a:gd name="connsiteY45" fmla="*/ 137888 h 280092"/>
                <a:gd name="connsiteX46" fmla="*/ 158168 w 188714"/>
                <a:gd name="connsiteY46" fmla="*/ 163320 h 280092"/>
                <a:gd name="connsiteX47" fmla="*/ 152147 w 188714"/>
                <a:gd name="connsiteY47" fmla="*/ 167873 h 280092"/>
                <a:gd name="connsiteX48" fmla="*/ 150215 w 188714"/>
                <a:gd name="connsiteY48" fmla="*/ 187285 h 280092"/>
                <a:gd name="connsiteX49" fmla="*/ 152710 w 188714"/>
                <a:gd name="connsiteY49" fmla="*/ 197823 h 280092"/>
                <a:gd name="connsiteX50" fmla="*/ 150689 w 188714"/>
                <a:gd name="connsiteY50" fmla="*/ 205274 h 280092"/>
                <a:gd name="connsiteX51" fmla="*/ 162542 w 188714"/>
                <a:gd name="connsiteY51" fmla="*/ 218326 h 280092"/>
                <a:gd name="connsiteX52" fmla="*/ 164680 w 188714"/>
                <a:gd name="connsiteY52" fmla="*/ 227289 h 280092"/>
                <a:gd name="connsiteX53" fmla="*/ 173938 w 188714"/>
                <a:gd name="connsiteY53" fmla="*/ 240180 h 280092"/>
                <a:gd name="connsiteX54" fmla="*/ 185406 w 188714"/>
                <a:gd name="connsiteY54" fmla="*/ 248204 h 280092"/>
                <a:gd name="connsiteX55" fmla="*/ 186533 w 188714"/>
                <a:gd name="connsiteY55" fmla="*/ 259583 h 280092"/>
                <a:gd name="connsiteX56" fmla="*/ 189173 w 188714"/>
                <a:gd name="connsiteY56" fmla="*/ 266810 h 280092"/>
                <a:gd name="connsiteX57" fmla="*/ 187374 w 188714"/>
                <a:gd name="connsiteY57" fmla="*/ 280273 h 280092"/>
                <a:gd name="connsiteX58" fmla="*/ 167444 w 188714"/>
                <a:gd name="connsiteY58" fmla="*/ 274378 h 280092"/>
                <a:gd name="connsiteX59" fmla="*/ 147164 w 188714"/>
                <a:gd name="connsiteY59" fmla="*/ 267803 h 28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88714" h="280092">
                  <a:moveTo>
                    <a:pt x="115515" y="266819"/>
                  </a:moveTo>
                  <a:lnTo>
                    <a:pt x="112384" y="265460"/>
                  </a:lnTo>
                  <a:lnTo>
                    <a:pt x="97544" y="268671"/>
                  </a:lnTo>
                  <a:lnTo>
                    <a:pt x="82301" y="265335"/>
                  </a:lnTo>
                  <a:lnTo>
                    <a:pt x="70385" y="266971"/>
                  </a:lnTo>
                  <a:lnTo>
                    <a:pt x="29567" y="266399"/>
                  </a:lnTo>
                  <a:lnTo>
                    <a:pt x="33226" y="246710"/>
                  </a:lnTo>
                  <a:lnTo>
                    <a:pt x="23430" y="230214"/>
                  </a:lnTo>
                  <a:lnTo>
                    <a:pt x="11980" y="225974"/>
                  </a:lnTo>
                  <a:lnTo>
                    <a:pt x="6881" y="214783"/>
                  </a:lnTo>
                  <a:lnTo>
                    <a:pt x="458" y="211205"/>
                  </a:lnTo>
                  <a:lnTo>
                    <a:pt x="744" y="204290"/>
                  </a:lnTo>
                  <a:lnTo>
                    <a:pt x="7203" y="186587"/>
                  </a:lnTo>
                  <a:lnTo>
                    <a:pt x="19136" y="162417"/>
                  </a:lnTo>
                  <a:lnTo>
                    <a:pt x="26391" y="162193"/>
                  </a:lnTo>
                  <a:lnTo>
                    <a:pt x="41330" y="147504"/>
                  </a:lnTo>
                  <a:lnTo>
                    <a:pt x="50839" y="147093"/>
                  </a:lnTo>
                  <a:lnTo>
                    <a:pt x="64920" y="157407"/>
                  </a:lnTo>
                  <a:lnTo>
                    <a:pt x="82158" y="148953"/>
                  </a:lnTo>
                  <a:lnTo>
                    <a:pt x="84501" y="138514"/>
                  </a:lnTo>
                  <a:lnTo>
                    <a:pt x="90137" y="128388"/>
                  </a:lnTo>
                  <a:lnTo>
                    <a:pt x="94019" y="115649"/>
                  </a:lnTo>
                  <a:lnTo>
                    <a:pt x="107428" y="105273"/>
                  </a:lnTo>
                  <a:lnTo>
                    <a:pt x="112492" y="87605"/>
                  </a:lnTo>
                  <a:lnTo>
                    <a:pt x="117814" y="81979"/>
                  </a:lnTo>
                  <a:lnTo>
                    <a:pt x="121348" y="68829"/>
                  </a:lnTo>
                  <a:lnTo>
                    <a:pt x="127985" y="52655"/>
                  </a:lnTo>
                  <a:lnTo>
                    <a:pt x="149106" y="33002"/>
                  </a:lnTo>
                  <a:lnTo>
                    <a:pt x="150439" y="24539"/>
                  </a:lnTo>
                  <a:lnTo>
                    <a:pt x="153167" y="19942"/>
                  </a:lnTo>
                  <a:lnTo>
                    <a:pt x="143237" y="9779"/>
                  </a:lnTo>
                  <a:lnTo>
                    <a:pt x="144042" y="1648"/>
                  </a:lnTo>
                  <a:lnTo>
                    <a:pt x="151127" y="181"/>
                  </a:lnTo>
                  <a:lnTo>
                    <a:pt x="161102" y="16533"/>
                  </a:lnTo>
                  <a:lnTo>
                    <a:pt x="162774" y="33431"/>
                  </a:lnTo>
                  <a:lnTo>
                    <a:pt x="161862" y="50302"/>
                  </a:lnTo>
                  <a:lnTo>
                    <a:pt x="175513" y="73337"/>
                  </a:lnTo>
                  <a:lnTo>
                    <a:pt x="161504" y="73087"/>
                  </a:lnTo>
                  <a:lnTo>
                    <a:pt x="154428" y="74894"/>
                  </a:lnTo>
                  <a:lnTo>
                    <a:pt x="142996" y="72353"/>
                  </a:lnTo>
                  <a:lnTo>
                    <a:pt x="137539" y="84286"/>
                  </a:lnTo>
                  <a:lnTo>
                    <a:pt x="152353" y="99020"/>
                  </a:lnTo>
                  <a:lnTo>
                    <a:pt x="163275" y="103296"/>
                  </a:lnTo>
                  <a:lnTo>
                    <a:pt x="166800" y="113726"/>
                  </a:lnTo>
                  <a:lnTo>
                    <a:pt x="174717" y="131080"/>
                  </a:lnTo>
                  <a:lnTo>
                    <a:pt x="170780" y="137888"/>
                  </a:lnTo>
                  <a:lnTo>
                    <a:pt x="158168" y="163320"/>
                  </a:lnTo>
                  <a:lnTo>
                    <a:pt x="152147" y="167873"/>
                  </a:lnTo>
                  <a:lnTo>
                    <a:pt x="150215" y="187285"/>
                  </a:lnTo>
                  <a:lnTo>
                    <a:pt x="152710" y="197823"/>
                  </a:lnTo>
                  <a:lnTo>
                    <a:pt x="150689" y="205274"/>
                  </a:lnTo>
                  <a:lnTo>
                    <a:pt x="162542" y="218326"/>
                  </a:lnTo>
                  <a:lnTo>
                    <a:pt x="164680" y="227289"/>
                  </a:lnTo>
                  <a:lnTo>
                    <a:pt x="173938" y="240180"/>
                  </a:lnTo>
                  <a:lnTo>
                    <a:pt x="185406" y="248204"/>
                  </a:lnTo>
                  <a:lnTo>
                    <a:pt x="186533" y="259583"/>
                  </a:lnTo>
                  <a:lnTo>
                    <a:pt x="189173" y="266810"/>
                  </a:lnTo>
                  <a:lnTo>
                    <a:pt x="187374" y="280273"/>
                  </a:lnTo>
                  <a:lnTo>
                    <a:pt x="167444" y="274378"/>
                  </a:lnTo>
                  <a:lnTo>
                    <a:pt x="147164" y="26780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7685622" y="3076216"/>
              <a:ext cx="1538786" cy="1123590"/>
            </a:xfrm>
            <a:custGeom>
              <a:avLst/>
              <a:gdLst>
                <a:gd name="connsiteX0" fmla="*/ 920143 w 1538786"/>
                <a:gd name="connsiteY0" fmla="*/ 1111102 h 1123590"/>
                <a:gd name="connsiteX1" fmla="*/ 898468 w 1538786"/>
                <a:gd name="connsiteY1" fmla="*/ 1123733 h 1123590"/>
                <a:gd name="connsiteX2" fmla="*/ 877902 w 1538786"/>
                <a:gd name="connsiteY2" fmla="*/ 1115593 h 1123590"/>
                <a:gd name="connsiteX3" fmla="*/ 877178 w 1538786"/>
                <a:gd name="connsiteY3" fmla="*/ 1092916 h 1123590"/>
                <a:gd name="connsiteX4" fmla="*/ 889540 w 1538786"/>
                <a:gd name="connsiteY4" fmla="*/ 1080920 h 1123590"/>
                <a:gd name="connsiteX5" fmla="*/ 916941 w 1538786"/>
                <a:gd name="connsiteY5" fmla="*/ 1073486 h 1123590"/>
                <a:gd name="connsiteX6" fmla="*/ 931361 w 1538786"/>
                <a:gd name="connsiteY6" fmla="*/ 1074121 h 1123590"/>
                <a:gd name="connsiteX7" fmla="*/ 936969 w 1538786"/>
                <a:gd name="connsiteY7" fmla="*/ 1084238 h 1123590"/>
                <a:gd name="connsiteX8" fmla="*/ 925948 w 1538786"/>
                <a:gd name="connsiteY8" fmla="*/ 1095877 h 1123590"/>
                <a:gd name="connsiteX9" fmla="*/ 920143 w 1538786"/>
                <a:gd name="connsiteY9" fmla="*/ 1111102 h 1123590"/>
                <a:gd name="connsiteX10" fmla="*/ 1354518 w 1538786"/>
                <a:gd name="connsiteY10" fmla="*/ 149282 h 1123590"/>
                <a:gd name="connsiteX11" fmla="*/ 1398172 w 1538786"/>
                <a:gd name="connsiteY11" fmla="*/ 161618 h 1123590"/>
                <a:gd name="connsiteX12" fmla="*/ 1427881 w 1538786"/>
                <a:gd name="connsiteY12" fmla="*/ 188767 h 1123590"/>
                <a:gd name="connsiteX13" fmla="*/ 1438033 w 1538786"/>
                <a:gd name="connsiteY13" fmla="*/ 224057 h 1123590"/>
                <a:gd name="connsiteX14" fmla="*/ 1476151 w 1538786"/>
                <a:gd name="connsiteY14" fmla="*/ 224102 h 1123590"/>
                <a:gd name="connsiteX15" fmla="*/ 1497897 w 1538786"/>
                <a:gd name="connsiteY15" fmla="*/ 209368 h 1123590"/>
                <a:gd name="connsiteX16" fmla="*/ 1539351 w 1538786"/>
                <a:gd name="connsiteY16" fmla="*/ 198285 h 1123590"/>
                <a:gd name="connsiteX17" fmla="*/ 1526165 w 1538786"/>
                <a:gd name="connsiteY17" fmla="*/ 231929 h 1123590"/>
                <a:gd name="connsiteX18" fmla="*/ 1516423 w 1538786"/>
                <a:gd name="connsiteY18" fmla="*/ 245455 h 1123590"/>
                <a:gd name="connsiteX19" fmla="*/ 1507826 w 1538786"/>
                <a:gd name="connsiteY19" fmla="*/ 285369 h 1123590"/>
                <a:gd name="connsiteX20" fmla="*/ 1490955 w 1538786"/>
                <a:gd name="connsiteY20" fmla="*/ 320150 h 1123590"/>
                <a:gd name="connsiteX21" fmla="*/ 1460523 w 1538786"/>
                <a:gd name="connsiteY21" fmla="*/ 313861 h 1123590"/>
                <a:gd name="connsiteX22" fmla="*/ 1438991 w 1538786"/>
                <a:gd name="connsiteY22" fmla="*/ 326385 h 1123590"/>
                <a:gd name="connsiteX23" fmla="*/ 1445601 w 1538786"/>
                <a:gd name="connsiteY23" fmla="*/ 356415 h 1123590"/>
                <a:gd name="connsiteX24" fmla="*/ 1441988 w 1538786"/>
                <a:gd name="connsiteY24" fmla="*/ 397143 h 1123590"/>
                <a:gd name="connsiteX25" fmla="*/ 1429177 w 1538786"/>
                <a:gd name="connsiteY25" fmla="*/ 398065 h 1123590"/>
                <a:gd name="connsiteX26" fmla="*/ 1429330 w 1538786"/>
                <a:gd name="connsiteY26" fmla="*/ 415321 h 1123590"/>
                <a:gd name="connsiteX27" fmla="*/ 1413129 w 1538786"/>
                <a:gd name="connsiteY27" fmla="*/ 395247 h 1123590"/>
                <a:gd name="connsiteX28" fmla="*/ 1403164 w 1538786"/>
                <a:gd name="connsiteY28" fmla="*/ 414301 h 1123590"/>
                <a:gd name="connsiteX29" fmla="*/ 1364430 w 1538786"/>
                <a:gd name="connsiteY29" fmla="*/ 428837 h 1123590"/>
                <a:gd name="connsiteX30" fmla="*/ 1368348 w 1538786"/>
                <a:gd name="connsiteY30" fmla="*/ 446505 h 1123590"/>
                <a:gd name="connsiteX31" fmla="*/ 1346664 w 1538786"/>
                <a:gd name="connsiteY31" fmla="*/ 445288 h 1123590"/>
                <a:gd name="connsiteX32" fmla="*/ 1334758 w 1538786"/>
                <a:gd name="connsiteY32" fmla="*/ 434804 h 1123590"/>
                <a:gd name="connsiteX33" fmla="*/ 1317520 w 1538786"/>
                <a:gd name="connsiteY33" fmla="*/ 458456 h 1123590"/>
                <a:gd name="connsiteX34" fmla="*/ 1289879 w 1538786"/>
                <a:gd name="connsiteY34" fmla="*/ 476204 h 1123590"/>
                <a:gd name="connsiteX35" fmla="*/ 1269456 w 1538786"/>
                <a:gd name="connsiteY35" fmla="*/ 497199 h 1123590"/>
                <a:gd name="connsiteX36" fmla="*/ 1234390 w 1538786"/>
                <a:gd name="connsiteY36" fmla="*/ 506654 h 1123590"/>
                <a:gd name="connsiteX37" fmla="*/ 1215926 w 1538786"/>
                <a:gd name="connsiteY37" fmla="*/ 521763 h 1123590"/>
                <a:gd name="connsiteX38" fmla="*/ 1188910 w 1538786"/>
                <a:gd name="connsiteY38" fmla="*/ 530539 h 1123590"/>
                <a:gd name="connsiteX39" fmla="*/ 1202240 w 1538786"/>
                <a:gd name="connsiteY39" fmla="*/ 515618 h 1123590"/>
                <a:gd name="connsiteX40" fmla="*/ 1196988 w 1538786"/>
                <a:gd name="connsiteY40" fmla="*/ 502996 h 1123590"/>
                <a:gd name="connsiteX41" fmla="*/ 1216856 w 1538786"/>
                <a:gd name="connsiteY41" fmla="*/ 481043 h 1123590"/>
                <a:gd name="connsiteX42" fmla="*/ 1203608 w 1538786"/>
                <a:gd name="connsiteY42" fmla="*/ 463779 h 1123590"/>
                <a:gd name="connsiteX43" fmla="*/ 1181745 w 1538786"/>
                <a:gd name="connsiteY43" fmla="*/ 475426 h 1123590"/>
                <a:gd name="connsiteX44" fmla="*/ 1153432 w 1538786"/>
                <a:gd name="connsiteY44" fmla="*/ 498183 h 1123590"/>
                <a:gd name="connsiteX45" fmla="*/ 1137975 w 1538786"/>
                <a:gd name="connsiteY45" fmla="*/ 519115 h 1123590"/>
                <a:gd name="connsiteX46" fmla="*/ 1113375 w 1538786"/>
                <a:gd name="connsiteY46" fmla="*/ 520663 h 1123590"/>
                <a:gd name="connsiteX47" fmla="*/ 1100573 w 1538786"/>
                <a:gd name="connsiteY47" fmla="*/ 535656 h 1123590"/>
                <a:gd name="connsiteX48" fmla="*/ 1113804 w 1538786"/>
                <a:gd name="connsiteY48" fmla="*/ 557205 h 1123590"/>
                <a:gd name="connsiteX49" fmla="*/ 1134325 w 1538786"/>
                <a:gd name="connsiteY49" fmla="*/ 562412 h 1123590"/>
                <a:gd name="connsiteX50" fmla="*/ 1135175 w 1538786"/>
                <a:gd name="connsiteY50" fmla="*/ 576572 h 1123590"/>
                <a:gd name="connsiteX51" fmla="*/ 1155016 w 1538786"/>
                <a:gd name="connsiteY51" fmla="*/ 585741 h 1123590"/>
                <a:gd name="connsiteX52" fmla="*/ 1183131 w 1538786"/>
                <a:gd name="connsiteY52" fmla="*/ 563261 h 1123590"/>
                <a:gd name="connsiteX53" fmla="*/ 1205397 w 1538786"/>
                <a:gd name="connsiteY53" fmla="*/ 575552 h 1123590"/>
                <a:gd name="connsiteX54" fmla="*/ 1221615 w 1538786"/>
                <a:gd name="connsiteY54" fmla="*/ 576385 h 1123590"/>
                <a:gd name="connsiteX55" fmla="*/ 1225685 w 1538786"/>
                <a:gd name="connsiteY55" fmla="*/ 592808 h 1123590"/>
                <a:gd name="connsiteX56" fmla="*/ 1190172 w 1538786"/>
                <a:gd name="connsiteY56" fmla="*/ 601521 h 1123590"/>
                <a:gd name="connsiteX57" fmla="*/ 1178444 w 1538786"/>
                <a:gd name="connsiteY57" fmla="*/ 618267 h 1123590"/>
                <a:gd name="connsiteX58" fmla="*/ 1154050 w 1538786"/>
                <a:gd name="connsiteY58" fmla="*/ 633725 h 1123590"/>
                <a:gd name="connsiteX59" fmla="*/ 1141177 w 1538786"/>
                <a:gd name="connsiteY59" fmla="*/ 655132 h 1123590"/>
                <a:gd name="connsiteX60" fmla="*/ 1168184 w 1538786"/>
                <a:gd name="connsiteY60" fmla="*/ 671806 h 1123590"/>
                <a:gd name="connsiteX61" fmla="*/ 1178042 w 1538786"/>
                <a:gd name="connsiteY61" fmla="*/ 701389 h 1123590"/>
                <a:gd name="connsiteX62" fmla="*/ 1193303 w 1538786"/>
                <a:gd name="connsiteY62" fmla="*/ 728637 h 1123590"/>
                <a:gd name="connsiteX63" fmla="*/ 1210335 w 1538786"/>
                <a:gd name="connsiteY63" fmla="*/ 751260 h 1123590"/>
                <a:gd name="connsiteX64" fmla="*/ 1209923 w 1538786"/>
                <a:gd name="connsiteY64" fmla="*/ 772962 h 1123590"/>
                <a:gd name="connsiteX65" fmla="*/ 1194180 w 1538786"/>
                <a:gd name="connsiteY65" fmla="*/ 780897 h 1123590"/>
                <a:gd name="connsiteX66" fmla="*/ 1200182 w 1538786"/>
                <a:gd name="connsiteY66" fmla="*/ 796328 h 1123590"/>
                <a:gd name="connsiteX67" fmla="*/ 1214942 w 1538786"/>
                <a:gd name="connsiteY67" fmla="*/ 805273 h 1123590"/>
                <a:gd name="connsiteX68" fmla="*/ 1211086 w 1538786"/>
                <a:gd name="connsiteY68" fmla="*/ 828612 h 1123590"/>
                <a:gd name="connsiteX69" fmla="*/ 1204717 w 1538786"/>
                <a:gd name="connsiteY69" fmla="*/ 851137 h 1123590"/>
                <a:gd name="connsiteX70" fmla="*/ 1190699 w 1538786"/>
                <a:gd name="connsiteY70" fmla="*/ 853677 h 1123590"/>
                <a:gd name="connsiteX71" fmla="*/ 1172388 w 1538786"/>
                <a:gd name="connsiteY71" fmla="*/ 884154 h 1123590"/>
                <a:gd name="connsiteX72" fmla="*/ 1152073 w 1538786"/>
                <a:gd name="connsiteY72" fmla="*/ 920706 h 1123590"/>
                <a:gd name="connsiteX73" fmla="*/ 1128779 w 1538786"/>
                <a:gd name="connsiteY73" fmla="*/ 953589 h 1123590"/>
                <a:gd name="connsiteX74" fmla="*/ 1094294 w 1538786"/>
                <a:gd name="connsiteY74" fmla="*/ 978798 h 1123590"/>
                <a:gd name="connsiteX75" fmla="*/ 1059406 w 1538786"/>
                <a:gd name="connsiteY75" fmla="*/ 1001636 h 1123590"/>
                <a:gd name="connsiteX76" fmla="*/ 1031148 w 1538786"/>
                <a:gd name="connsiteY76" fmla="*/ 1004740 h 1123590"/>
                <a:gd name="connsiteX77" fmla="*/ 1015815 w 1538786"/>
                <a:gd name="connsiteY77" fmla="*/ 1016727 h 1123590"/>
                <a:gd name="connsiteX78" fmla="*/ 1007138 w 1538786"/>
                <a:gd name="connsiteY78" fmla="*/ 1007969 h 1123590"/>
                <a:gd name="connsiteX79" fmla="*/ 992951 w 1538786"/>
                <a:gd name="connsiteY79" fmla="*/ 1021369 h 1123590"/>
                <a:gd name="connsiteX80" fmla="*/ 957893 w 1538786"/>
                <a:gd name="connsiteY80" fmla="*/ 1034823 h 1123590"/>
                <a:gd name="connsiteX81" fmla="*/ 931351 w 1538786"/>
                <a:gd name="connsiteY81" fmla="*/ 1038929 h 1123590"/>
                <a:gd name="connsiteX82" fmla="*/ 922791 w 1538786"/>
                <a:gd name="connsiteY82" fmla="*/ 1067117 h 1123590"/>
                <a:gd name="connsiteX83" fmla="*/ 908889 w 1538786"/>
                <a:gd name="connsiteY83" fmla="*/ 1068673 h 1123590"/>
                <a:gd name="connsiteX84" fmla="*/ 902315 w 1538786"/>
                <a:gd name="connsiteY84" fmla="*/ 1049333 h 1123590"/>
                <a:gd name="connsiteX85" fmla="*/ 908254 w 1538786"/>
                <a:gd name="connsiteY85" fmla="*/ 1038983 h 1123590"/>
                <a:gd name="connsiteX86" fmla="*/ 874601 w 1538786"/>
                <a:gd name="connsiteY86" fmla="*/ 1030404 h 1123590"/>
                <a:gd name="connsiteX87" fmla="*/ 862748 w 1538786"/>
                <a:gd name="connsiteY87" fmla="*/ 1034770 h 1123590"/>
                <a:gd name="connsiteX88" fmla="*/ 837495 w 1538786"/>
                <a:gd name="connsiteY88" fmla="*/ 1027810 h 1123590"/>
                <a:gd name="connsiteX89" fmla="*/ 825553 w 1538786"/>
                <a:gd name="connsiteY89" fmla="*/ 1016879 h 1123590"/>
                <a:gd name="connsiteX90" fmla="*/ 829516 w 1538786"/>
                <a:gd name="connsiteY90" fmla="*/ 1001332 h 1123590"/>
                <a:gd name="connsiteX91" fmla="*/ 806589 w 1538786"/>
                <a:gd name="connsiteY91" fmla="*/ 996385 h 1123590"/>
                <a:gd name="connsiteX92" fmla="*/ 794494 w 1538786"/>
                <a:gd name="connsiteY92" fmla="*/ 986205 h 1123590"/>
                <a:gd name="connsiteX93" fmla="*/ 773115 w 1538786"/>
                <a:gd name="connsiteY93" fmla="*/ 1000652 h 1123590"/>
                <a:gd name="connsiteX94" fmla="*/ 748729 w 1538786"/>
                <a:gd name="connsiteY94" fmla="*/ 1003774 h 1123590"/>
                <a:gd name="connsiteX95" fmla="*/ 728727 w 1538786"/>
                <a:gd name="connsiteY95" fmla="*/ 1003630 h 1123590"/>
                <a:gd name="connsiteX96" fmla="*/ 715264 w 1538786"/>
                <a:gd name="connsiteY96" fmla="*/ 1010223 h 1123590"/>
                <a:gd name="connsiteX97" fmla="*/ 702266 w 1538786"/>
                <a:gd name="connsiteY97" fmla="*/ 1014177 h 1123590"/>
                <a:gd name="connsiteX98" fmla="*/ 706059 w 1538786"/>
                <a:gd name="connsiteY98" fmla="*/ 1044887 h 1123590"/>
                <a:gd name="connsiteX99" fmla="*/ 692686 w 1538786"/>
                <a:gd name="connsiteY99" fmla="*/ 1044154 h 1123590"/>
                <a:gd name="connsiteX100" fmla="*/ 690431 w 1538786"/>
                <a:gd name="connsiteY100" fmla="*/ 1037865 h 1123590"/>
                <a:gd name="connsiteX101" fmla="*/ 689671 w 1538786"/>
                <a:gd name="connsiteY101" fmla="*/ 1026772 h 1123590"/>
                <a:gd name="connsiteX102" fmla="*/ 671270 w 1538786"/>
                <a:gd name="connsiteY102" fmla="*/ 1034591 h 1123590"/>
                <a:gd name="connsiteX103" fmla="*/ 660411 w 1538786"/>
                <a:gd name="connsiteY103" fmla="*/ 1029653 h 1123590"/>
                <a:gd name="connsiteX104" fmla="*/ 641786 w 1538786"/>
                <a:gd name="connsiteY104" fmla="*/ 1019562 h 1123590"/>
                <a:gd name="connsiteX105" fmla="*/ 649086 w 1538786"/>
                <a:gd name="connsiteY105" fmla="*/ 997136 h 1123590"/>
                <a:gd name="connsiteX106" fmla="*/ 633207 w 1538786"/>
                <a:gd name="connsiteY106" fmla="*/ 991885 h 1123590"/>
                <a:gd name="connsiteX107" fmla="*/ 627223 w 1538786"/>
                <a:gd name="connsiteY107" fmla="*/ 966829 h 1123590"/>
                <a:gd name="connsiteX108" fmla="*/ 600744 w 1538786"/>
                <a:gd name="connsiteY108" fmla="*/ 971355 h 1123590"/>
                <a:gd name="connsiteX109" fmla="*/ 603759 w 1538786"/>
                <a:gd name="connsiteY109" fmla="*/ 938838 h 1123590"/>
                <a:gd name="connsiteX110" fmla="*/ 627509 w 1538786"/>
                <a:gd name="connsiteY110" fmla="*/ 915759 h 1123590"/>
                <a:gd name="connsiteX111" fmla="*/ 628520 w 1538786"/>
                <a:gd name="connsiteY111" fmla="*/ 892805 h 1123590"/>
                <a:gd name="connsiteX112" fmla="*/ 627777 w 1538786"/>
                <a:gd name="connsiteY112" fmla="*/ 871353 h 1123590"/>
                <a:gd name="connsiteX113" fmla="*/ 616828 w 1538786"/>
                <a:gd name="connsiteY113" fmla="*/ 864644 h 1123590"/>
                <a:gd name="connsiteX114" fmla="*/ 608446 w 1538786"/>
                <a:gd name="connsiteY114" fmla="*/ 848006 h 1123590"/>
                <a:gd name="connsiteX115" fmla="*/ 593766 w 1538786"/>
                <a:gd name="connsiteY115" fmla="*/ 850108 h 1123590"/>
                <a:gd name="connsiteX116" fmla="*/ 566724 w 1538786"/>
                <a:gd name="connsiteY116" fmla="*/ 845868 h 1123590"/>
                <a:gd name="connsiteX117" fmla="*/ 575196 w 1538786"/>
                <a:gd name="connsiteY117" fmla="*/ 833934 h 1123590"/>
                <a:gd name="connsiteX118" fmla="*/ 563441 w 1538786"/>
                <a:gd name="connsiteY118" fmla="*/ 816169 h 1123590"/>
                <a:gd name="connsiteX119" fmla="*/ 545559 w 1538786"/>
                <a:gd name="connsiteY119" fmla="*/ 828209 h 1123590"/>
                <a:gd name="connsiteX120" fmla="*/ 524519 w 1538786"/>
                <a:gd name="connsiteY120" fmla="*/ 821187 h 1123590"/>
                <a:gd name="connsiteX121" fmla="*/ 495607 w 1538786"/>
                <a:gd name="connsiteY121" fmla="*/ 839346 h 1123590"/>
                <a:gd name="connsiteX122" fmla="*/ 472778 w 1538786"/>
                <a:gd name="connsiteY122" fmla="*/ 860413 h 1123590"/>
                <a:gd name="connsiteX123" fmla="*/ 452544 w 1538786"/>
                <a:gd name="connsiteY123" fmla="*/ 863947 h 1123590"/>
                <a:gd name="connsiteX124" fmla="*/ 441559 w 1538786"/>
                <a:gd name="connsiteY124" fmla="*/ 856352 h 1123590"/>
                <a:gd name="connsiteX125" fmla="*/ 428319 w 1538786"/>
                <a:gd name="connsiteY125" fmla="*/ 855663 h 1123590"/>
                <a:gd name="connsiteX126" fmla="*/ 410392 w 1538786"/>
                <a:gd name="connsiteY126" fmla="*/ 849115 h 1123590"/>
                <a:gd name="connsiteX127" fmla="*/ 396840 w 1538786"/>
                <a:gd name="connsiteY127" fmla="*/ 856298 h 1123590"/>
                <a:gd name="connsiteX128" fmla="*/ 380255 w 1538786"/>
                <a:gd name="connsiteY128" fmla="*/ 877239 h 1123590"/>
                <a:gd name="connsiteX129" fmla="*/ 378153 w 1538786"/>
                <a:gd name="connsiteY129" fmla="*/ 855046 h 1123590"/>
                <a:gd name="connsiteX130" fmla="*/ 362856 w 1538786"/>
                <a:gd name="connsiteY130" fmla="*/ 860995 h 1123590"/>
                <a:gd name="connsiteX131" fmla="*/ 333604 w 1538786"/>
                <a:gd name="connsiteY131" fmla="*/ 858230 h 1123590"/>
                <a:gd name="connsiteX132" fmla="*/ 305229 w 1538786"/>
                <a:gd name="connsiteY132" fmla="*/ 851745 h 1123590"/>
                <a:gd name="connsiteX133" fmla="*/ 284878 w 1538786"/>
                <a:gd name="connsiteY133" fmla="*/ 839284 h 1123590"/>
                <a:gd name="connsiteX134" fmla="*/ 265386 w 1538786"/>
                <a:gd name="connsiteY134" fmla="*/ 833675 h 1123590"/>
                <a:gd name="connsiteX135" fmla="*/ 256968 w 1538786"/>
                <a:gd name="connsiteY135" fmla="*/ 819962 h 1123590"/>
                <a:gd name="connsiteX136" fmla="*/ 242879 w 1538786"/>
                <a:gd name="connsiteY136" fmla="*/ 815855 h 1123590"/>
                <a:gd name="connsiteX137" fmla="*/ 217554 w 1538786"/>
                <a:gd name="connsiteY137" fmla="*/ 797124 h 1123590"/>
                <a:gd name="connsiteX138" fmla="*/ 197445 w 1538786"/>
                <a:gd name="connsiteY138" fmla="*/ 788241 h 1123590"/>
                <a:gd name="connsiteX139" fmla="*/ 187050 w 1538786"/>
                <a:gd name="connsiteY139" fmla="*/ 795156 h 1123590"/>
                <a:gd name="connsiteX140" fmla="*/ 152199 w 1538786"/>
                <a:gd name="connsiteY140" fmla="*/ 774894 h 1123590"/>
                <a:gd name="connsiteX141" fmla="*/ 127554 w 1538786"/>
                <a:gd name="connsiteY141" fmla="*/ 756422 h 1123590"/>
                <a:gd name="connsiteX142" fmla="*/ 120523 w 1538786"/>
                <a:gd name="connsiteY142" fmla="*/ 723959 h 1123590"/>
                <a:gd name="connsiteX143" fmla="*/ 138521 w 1538786"/>
                <a:gd name="connsiteY143" fmla="*/ 727939 h 1123590"/>
                <a:gd name="connsiteX144" fmla="*/ 139344 w 1538786"/>
                <a:gd name="connsiteY144" fmla="*/ 712785 h 1123590"/>
                <a:gd name="connsiteX145" fmla="*/ 129370 w 1538786"/>
                <a:gd name="connsiteY145" fmla="*/ 697507 h 1123590"/>
                <a:gd name="connsiteX146" fmla="*/ 131910 w 1538786"/>
                <a:gd name="connsiteY146" fmla="*/ 672960 h 1123590"/>
                <a:gd name="connsiteX147" fmla="*/ 104949 w 1538786"/>
                <a:gd name="connsiteY147" fmla="*/ 637277 h 1123590"/>
                <a:gd name="connsiteX148" fmla="*/ 63701 w 1538786"/>
                <a:gd name="connsiteY148" fmla="*/ 624842 h 1123590"/>
                <a:gd name="connsiteX149" fmla="*/ 56276 w 1538786"/>
                <a:gd name="connsiteY149" fmla="*/ 601038 h 1123590"/>
                <a:gd name="connsiteX150" fmla="*/ 37750 w 1538786"/>
                <a:gd name="connsiteY150" fmla="*/ 586484 h 1123590"/>
                <a:gd name="connsiteX151" fmla="*/ 33286 w 1538786"/>
                <a:gd name="connsiteY151" fmla="*/ 577476 h 1123590"/>
                <a:gd name="connsiteX152" fmla="*/ 29520 w 1538786"/>
                <a:gd name="connsiteY152" fmla="*/ 559477 h 1123590"/>
                <a:gd name="connsiteX153" fmla="*/ 30397 w 1538786"/>
                <a:gd name="connsiteY153" fmla="*/ 547124 h 1123590"/>
                <a:gd name="connsiteX154" fmla="*/ 15162 w 1538786"/>
                <a:gd name="connsiteY154" fmla="*/ 539860 h 1123590"/>
                <a:gd name="connsiteX155" fmla="*/ 6924 w 1538786"/>
                <a:gd name="connsiteY155" fmla="*/ 543072 h 1123590"/>
                <a:gd name="connsiteX156" fmla="*/ 564 w 1538786"/>
                <a:gd name="connsiteY156" fmla="*/ 513337 h 1123590"/>
                <a:gd name="connsiteX157" fmla="*/ 7702 w 1538786"/>
                <a:gd name="connsiteY157" fmla="*/ 505921 h 1123590"/>
                <a:gd name="connsiteX158" fmla="*/ 4240 w 1538786"/>
                <a:gd name="connsiteY158" fmla="*/ 498317 h 1123590"/>
                <a:gd name="connsiteX159" fmla="*/ 28187 w 1538786"/>
                <a:gd name="connsiteY159" fmla="*/ 482877 h 1123590"/>
                <a:gd name="connsiteX160" fmla="*/ 45524 w 1538786"/>
                <a:gd name="connsiteY160" fmla="*/ 476454 h 1123590"/>
                <a:gd name="connsiteX161" fmla="*/ 72074 w 1538786"/>
                <a:gd name="connsiteY161" fmla="*/ 480855 h 1123590"/>
                <a:gd name="connsiteX162" fmla="*/ 81565 w 1538786"/>
                <a:gd name="connsiteY162" fmla="*/ 459798 h 1123590"/>
                <a:gd name="connsiteX163" fmla="*/ 113742 w 1538786"/>
                <a:gd name="connsiteY163" fmla="*/ 455862 h 1123590"/>
                <a:gd name="connsiteX164" fmla="*/ 122679 w 1538786"/>
                <a:gd name="connsiteY164" fmla="*/ 442640 h 1123590"/>
                <a:gd name="connsiteX165" fmla="*/ 162209 w 1538786"/>
                <a:gd name="connsiteY165" fmla="*/ 424472 h 1123590"/>
                <a:gd name="connsiteX166" fmla="*/ 165733 w 1538786"/>
                <a:gd name="connsiteY166" fmla="*/ 416842 h 1123590"/>
                <a:gd name="connsiteX167" fmla="*/ 163729 w 1538786"/>
                <a:gd name="connsiteY167" fmla="*/ 397475 h 1123590"/>
                <a:gd name="connsiteX168" fmla="*/ 180941 w 1538786"/>
                <a:gd name="connsiteY168" fmla="*/ 388574 h 1123590"/>
                <a:gd name="connsiteX169" fmla="*/ 158362 w 1538786"/>
                <a:gd name="connsiteY169" fmla="*/ 328156 h 1123590"/>
                <a:gd name="connsiteX170" fmla="*/ 208055 w 1538786"/>
                <a:gd name="connsiteY170" fmla="*/ 314004 h 1123590"/>
                <a:gd name="connsiteX171" fmla="*/ 220900 w 1538786"/>
                <a:gd name="connsiteY171" fmla="*/ 306078 h 1123590"/>
                <a:gd name="connsiteX172" fmla="*/ 238988 w 1538786"/>
                <a:gd name="connsiteY172" fmla="*/ 241116 h 1123590"/>
                <a:gd name="connsiteX173" fmla="*/ 288752 w 1538786"/>
                <a:gd name="connsiteY173" fmla="*/ 253219 h 1123590"/>
                <a:gd name="connsiteX174" fmla="*/ 302707 w 1538786"/>
                <a:gd name="connsiteY174" fmla="*/ 236581 h 1123590"/>
                <a:gd name="connsiteX175" fmla="*/ 303905 w 1538786"/>
                <a:gd name="connsiteY175" fmla="*/ 199135 h 1123590"/>
                <a:gd name="connsiteX176" fmla="*/ 324739 w 1538786"/>
                <a:gd name="connsiteY176" fmla="*/ 195601 h 1123590"/>
                <a:gd name="connsiteX177" fmla="*/ 343829 w 1538786"/>
                <a:gd name="connsiteY177" fmla="*/ 170277 h 1123590"/>
                <a:gd name="connsiteX178" fmla="*/ 353652 w 1538786"/>
                <a:gd name="connsiteY178" fmla="*/ 167128 h 1123590"/>
                <a:gd name="connsiteX179" fmla="*/ 360235 w 1538786"/>
                <a:gd name="connsiteY179" fmla="*/ 193696 h 1123590"/>
                <a:gd name="connsiteX180" fmla="*/ 381311 w 1538786"/>
                <a:gd name="connsiteY180" fmla="*/ 213644 h 1123590"/>
                <a:gd name="connsiteX181" fmla="*/ 417084 w 1538786"/>
                <a:gd name="connsiteY181" fmla="*/ 227644 h 1123590"/>
                <a:gd name="connsiteX182" fmla="*/ 434394 w 1538786"/>
                <a:gd name="connsiteY182" fmla="*/ 257334 h 1123590"/>
                <a:gd name="connsiteX183" fmla="*/ 424741 w 1538786"/>
                <a:gd name="connsiteY183" fmla="*/ 299629 h 1123590"/>
                <a:gd name="connsiteX184" fmla="*/ 433767 w 1538786"/>
                <a:gd name="connsiteY184" fmla="*/ 315095 h 1123590"/>
                <a:gd name="connsiteX185" fmla="*/ 463574 w 1538786"/>
                <a:gd name="connsiteY185" fmla="*/ 321160 h 1123590"/>
                <a:gd name="connsiteX186" fmla="*/ 497352 w 1538786"/>
                <a:gd name="connsiteY186" fmla="*/ 326098 h 1123590"/>
                <a:gd name="connsiteX187" fmla="*/ 527659 w 1538786"/>
                <a:gd name="connsiteY187" fmla="*/ 347997 h 1123590"/>
                <a:gd name="connsiteX188" fmla="*/ 543153 w 1538786"/>
                <a:gd name="connsiteY188" fmla="*/ 351870 h 1123590"/>
                <a:gd name="connsiteX189" fmla="*/ 554576 w 1538786"/>
                <a:gd name="connsiteY189" fmla="*/ 383788 h 1123590"/>
                <a:gd name="connsiteX190" fmla="*/ 569301 w 1538786"/>
                <a:gd name="connsiteY190" fmla="*/ 404085 h 1123590"/>
                <a:gd name="connsiteX191" fmla="*/ 596951 w 1538786"/>
                <a:gd name="connsiteY191" fmla="*/ 403298 h 1123590"/>
                <a:gd name="connsiteX192" fmla="*/ 648719 w 1538786"/>
                <a:gd name="connsiteY192" fmla="*/ 410920 h 1123590"/>
                <a:gd name="connsiteX193" fmla="*/ 682077 w 1538786"/>
                <a:gd name="connsiteY193" fmla="*/ 406196 h 1123590"/>
                <a:gd name="connsiteX194" fmla="*/ 706838 w 1538786"/>
                <a:gd name="connsiteY194" fmla="*/ 411251 h 1123590"/>
                <a:gd name="connsiteX195" fmla="*/ 743944 w 1538786"/>
                <a:gd name="connsiteY195" fmla="*/ 431745 h 1123590"/>
                <a:gd name="connsiteX196" fmla="*/ 774295 w 1538786"/>
                <a:gd name="connsiteY196" fmla="*/ 431718 h 1123590"/>
                <a:gd name="connsiteX197" fmla="*/ 785397 w 1538786"/>
                <a:gd name="connsiteY197" fmla="*/ 442131 h 1123590"/>
                <a:gd name="connsiteX198" fmla="*/ 814604 w 1538786"/>
                <a:gd name="connsiteY198" fmla="*/ 424114 h 1123590"/>
                <a:gd name="connsiteX199" fmla="*/ 855118 w 1538786"/>
                <a:gd name="connsiteY199" fmla="*/ 412378 h 1123590"/>
                <a:gd name="connsiteX200" fmla="*/ 892707 w 1538786"/>
                <a:gd name="connsiteY200" fmla="*/ 411090 h 1123590"/>
                <a:gd name="connsiteX201" fmla="*/ 922012 w 1538786"/>
                <a:gd name="connsiteY201" fmla="*/ 399129 h 1123590"/>
                <a:gd name="connsiteX202" fmla="*/ 940011 w 1538786"/>
                <a:gd name="connsiteY202" fmla="*/ 380782 h 1123590"/>
                <a:gd name="connsiteX203" fmla="*/ 957571 w 1538786"/>
                <a:gd name="connsiteY203" fmla="*/ 369180 h 1123590"/>
                <a:gd name="connsiteX204" fmla="*/ 953509 w 1538786"/>
                <a:gd name="connsiteY204" fmla="*/ 357730 h 1123590"/>
                <a:gd name="connsiteX205" fmla="*/ 945494 w 1538786"/>
                <a:gd name="connsiteY205" fmla="*/ 344320 h 1123590"/>
                <a:gd name="connsiteX206" fmla="*/ 958671 w 1538786"/>
                <a:gd name="connsiteY206" fmla="*/ 321617 h 1123590"/>
                <a:gd name="connsiteX207" fmla="*/ 972778 w 1538786"/>
                <a:gd name="connsiteY207" fmla="*/ 324819 h 1123590"/>
                <a:gd name="connsiteX208" fmla="*/ 998559 w 1538786"/>
                <a:gd name="connsiteY208" fmla="*/ 331976 h 1123590"/>
                <a:gd name="connsiteX209" fmla="*/ 1023553 w 1538786"/>
                <a:gd name="connsiteY209" fmla="*/ 313181 h 1123590"/>
                <a:gd name="connsiteX210" fmla="*/ 1061795 w 1538786"/>
                <a:gd name="connsiteY210" fmla="*/ 299351 h 1123590"/>
                <a:gd name="connsiteX211" fmla="*/ 1080178 w 1538786"/>
                <a:gd name="connsiteY211" fmla="*/ 275538 h 1123590"/>
                <a:gd name="connsiteX212" fmla="*/ 1097836 w 1538786"/>
                <a:gd name="connsiteY212" fmla="*/ 265197 h 1123590"/>
                <a:gd name="connsiteX213" fmla="*/ 1134263 w 1538786"/>
                <a:gd name="connsiteY213" fmla="*/ 260358 h 1123590"/>
                <a:gd name="connsiteX214" fmla="*/ 1154059 w 1538786"/>
                <a:gd name="connsiteY214" fmla="*/ 264464 h 1123590"/>
                <a:gd name="connsiteX215" fmla="*/ 1156805 w 1538786"/>
                <a:gd name="connsiteY215" fmla="*/ 251466 h 1123590"/>
                <a:gd name="connsiteX216" fmla="*/ 1134075 w 1538786"/>
                <a:gd name="connsiteY216" fmla="*/ 225640 h 1123590"/>
                <a:gd name="connsiteX217" fmla="*/ 1113947 w 1538786"/>
                <a:gd name="connsiteY217" fmla="*/ 213716 h 1123590"/>
                <a:gd name="connsiteX218" fmla="*/ 1094670 w 1538786"/>
                <a:gd name="connsiteY218" fmla="*/ 227474 h 1123590"/>
                <a:gd name="connsiteX219" fmla="*/ 1069926 w 1538786"/>
                <a:gd name="connsiteY219" fmla="*/ 221687 h 1123590"/>
                <a:gd name="connsiteX220" fmla="*/ 1055730 w 1538786"/>
                <a:gd name="connsiteY220" fmla="*/ 226410 h 1123590"/>
                <a:gd name="connsiteX221" fmla="*/ 1049262 w 1538786"/>
                <a:gd name="connsiteY221" fmla="*/ 211149 h 1123590"/>
                <a:gd name="connsiteX222" fmla="*/ 1066984 w 1538786"/>
                <a:gd name="connsiteY222" fmla="*/ 173327 h 1123590"/>
                <a:gd name="connsiteX223" fmla="*/ 1079194 w 1538786"/>
                <a:gd name="connsiteY223" fmla="*/ 144281 h 1123590"/>
                <a:gd name="connsiteX224" fmla="*/ 1109296 w 1538786"/>
                <a:gd name="connsiteY224" fmla="*/ 158880 h 1123590"/>
                <a:gd name="connsiteX225" fmla="*/ 1144648 w 1538786"/>
                <a:gd name="connsiteY225" fmla="*/ 134378 h 1123590"/>
                <a:gd name="connsiteX226" fmla="*/ 1144415 w 1538786"/>
                <a:gd name="connsiteY226" fmla="*/ 117123 h 1123590"/>
                <a:gd name="connsiteX227" fmla="*/ 1167056 w 1538786"/>
                <a:gd name="connsiteY227" fmla="*/ 74855 h 1123590"/>
                <a:gd name="connsiteX228" fmla="*/ 1181011 w 1538786"/>
                <a:gd name="connsiteY228" fmla="*/ 61884 h 1123590"/>
                <a:gd name="connsiteX229" fmla="*/ 1180699 w 1538786"/>
                <a:gd name="connsiteY229" fmla="*/ 39323 h 1123590"/>
                <a:gd name="connsiteX230" fmla="*/ 1166940 w 1538786"/>
                <a:gd name="connsiteY230" fmla="*/ 29528 h 1123590"/>
                <a:gd name="connsiteX231" fmla="*/ 1187649 w 1538786"/>
                <a:gd name="connsiteY231" fmla="*/ 8837 h 1123590"/>
                <a:gd name="connsiteX232" fmla="*/ 1218815 w 1538786"/>
                <a:gd name="connsiteY232" fmla="*/ 1278 h 1123590"/>
                <a:gd name="connsiteX233" fmla="*/ 1252075 w 1538786"/>
                <a:gd name="connsiteY233" fmla="*/ 142 h 1123590"/>
                <a:gd name="connsiteX234" fmla="*/ 1289610 w 1538786"/>
                <a:gd name="connsiteY234" fmla="*/ 12612 h 1123590"/>
                <a:gd name="connsiteX235" fmla="*/ 1311634 w 1538786"/>
                <a:gd name="connsiteY235" fmla="*/ 27918 h 1123590"/>
                <a:gd name="connsiteX236" fmla="*/ 1327136 w 1538786"/>
                <a:gd name="connsiteY236" fmla="*/ 69166 h 1123590"/>
                <a:gd name="connsiteX237" fmla="*/ 1336538 w 1538786"/>
                <a:gd name="connsiteY237" fmla="*/ 86493 h 1123590"/>
                <a:gd name="connsiteX238" fmla="*/ 1345278 w 1538786"/>
                <a:gd name="connsiteY238" fmla="*/ 110923 h 1123590"/>
                <a:gd name="connsiteX239" fmla="*/ 1354518 w 1538786"/>
                <a:gd name="connsiteY239" fmla="*/ 149282 h 1123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1538786" h="1123590">
                  <a:moveTo>
                    <a:pt x="920143" y="1111102"/>
                  </a:moveTo>
                  <a:lnTo>
                    <a:pt x="898468" y="1123733"/>
                  </a:lnTo>
                  <a:lnTo>
                    <a:pt x="877902" y="1115593"/>
                  </a:lnTo>
                  <a:lnTo>
                    <a:pt x="877178" y="1092916"/>
                  </a:lnTo>
                  <a:lnTo>
                    <a:pt x="889540" y="1080920"/>
                  </a:lnTo>
                  <a:lnTo>
                    <a:pt x="916941" y="1073486"/>
                  </a:lnTo>
                  <a:lnTo>
                    <a:pt x="931361" y="1074121"/>
                  </a:lnTo>
                  <a:lnTo>
                    <a:pt x="936969" y="1084238"/>
                  </a:lnTo>
                  <a:lnTo>
                    <a:pt x="925948" y="1095877"/>
                  </a:lnTo>
                  <a:lnTo>
                    <a:pt x="920143" y="1111102"/>
                  </a:lnTo>
                  <a:close/>
                  <a:moveTo>
                    <a:pt x="1354518" y="149282"/>
                  </a:moveTo>
                  <a:lnTo>
                    <a:pt x="1398172" y="161618"/>
                  </a:lnTo>
                  <a:lnTo>
                    <a:pt x="1427881" y="188767"/>
                  </a:lnTo>
                  <a:lnTo>
                    <a:pt x="1438033" y="224057"/>
                  </a:lnTo>
                  <a:lnTo>
                    <a:pt x="1476151" y="224102"/>
                  </a:lnTo>
                  <a:lnTo>
                    <a:pt x="1497897" y="209368"/>
                  </a:lnTo>
                  <a:lnTo>
                    <a:pt x="1539351" y="198285"/>
                  </a:lnTo>
                  <a:lnTo>
                    <a:pt x="1526165" y="231929"/>
                  </a:lnTo>
                  <a:lnTo>
                    <a:pt x="1516423" y="245455"/>
                  </a:lnTo>
                  <a:lnTo>
                    <a:pt x="1507826" y="285369"/>
                  </a:lnTo>
                  <a:lnTo>
                    <a:pt x="1490955" y="320150"/>
                  </a:lnTo>
                  <a:lnTo>
                    <a:pt x="1460523" y="313861"/>
                  </a:lnTo>
                  <a:lnTo>
                    <a:pt x="1438991" y="326385"/>
                  </a:lnTo>
                  <a:lnTo>
                    <a:pt x="1445601" y="356415"/>
                  </a:lnTo>
                  <a:lnTo>
                    <a:pt x="1441988" y="397143"/>
                  </a:lnTo>
                  <a:lnTo>
                    <a:pt x="1429177" y="398065"/>
                  </a:lnTo>
                  <a:lnTo>
                    <a:pt x="1429330" y="415321"/>
                  </a:lnTo>
                  <a:lnTo>
                    <a:pt x="1413129" y="395247"/>
                  </a:lnTo>
                  <a:lnTo>
                    <a:pt x="1403164" y="414301"/>
                  </a:lnTo>
                  <a:lnTo>
                    <a:pt x="1364430" y="428837"/>
                  </a:lnTo>
                  <a:lnTo>
                    <a:pt x="1368348" y="446505"/>
                  </a:lnTo>
                  <a:lnTo>
                    <a:pt x="1346664" y="445288"/>
                  </a:lnTo>
                  <a:lnTo>
                    <a:pt x="1334758" y="434804"/>
                  </a:lnTo>
                  <a:lnTo>
                    <a:pt x="1317520" y="458456"/>
                  </a:lnTo>
                  <a:lnTo>
                    <a:pt x="1289879" y="476204"/>
                  </a:lnTo>
                  <a:lnTo>
                    <a:pt x="1269456" y="497199"/>
                  </a:lnTo>
                  <a:lnTo>
                    <a:pt x="1234390" y="506654"/>
                  </a:lnTo>
                  <a:lnTo>
                    <a:pt x="1215926" y="521763"/>
                  </a:lnTo>
                  <a:lnTo>
                    <a:pt x="1188910" y="530539"/>
                  </a:lnTo>
                  <a:lnTo>
                    <a:pt x="1202240" y="515618"/>
                  </a:lnTo>
                  <a:lnTo>
                    <a:pt x="1196988" y="502996"/>
                  </a:lnTo>
                  <a:lnTo>
                    <a:pt x="1216856" y="481043"/>
                  </a:lnTo>
                  <a:lnTo>
                    <a:pt x="1203608" y="463779"/>
                  </a:lnTo>
                  <a:lnTo>
                    <a:pt x="1181745" y="475426"/>
                  </a:lnTo>
                  <a:lnTo>
                    <a:pt x="1153432" y="498183"/>
                  </a:lnTo>
                  <a:lnTo>
                    <a:pt x="1137975" y="519115"/>
                  </a:lnTo>
                  <a:lnTo>
                    <a:pt x="1113375" y="520663"/>
                  </a:lnTo>
                  <a:lnTo>
                    <a:pt x="1100573" y="535656"/>
                  </a:lnTo>
                  <a:lnTo>
                    <a:pt x="1113804" y="557205"/>
                  </a:lnTo>
                  <a:lnTo>
                    <a:pt x="1134325" y="562412"/>
                  </a:lnTo>
                  <a:lnTo>
                    <a:pt x="1135175" y="576572"/>
                  </a:lnTo>
                  <a:lnTo>
                    <a:pt x="1155016" y="585741"/>
                  </a:lnTo>
                  <a:lnTo>
                    <a:pt x="1183131" y="563261"/>
                  </a:lnTo>
                  <a:lnTo>
                    <a:pt x="1205397" y="575552"/>
                  </a:lnTo>
                  <a:lnTo>
                    <a:pt x="1221615" y="576385"/>
                  </a:lnTo>
                  <a:lnTo>
                    <a:pt x="1225685" y="592808"/>
                  </a:lnTo>
                  <a:lnTo>
                    <a:pt x="1190172" y="601521"/>
                  </a:lnTo>
                  <a:lnTo>
                    <a:pt x="1178444" y="618267"/>
                  </a:lnTo>
                  <a:lnTo>
                    <a:pt x="1154050" y="633725"/>
                  </a:lnTo>
                  <a:lnTo>
                    <a:pt x="1141177" y="655132"/>
                  </a:lnTo>
                  <a:lnTo>
                    <a:pt x="1168184" y="671806"/>
                  </a:lnTo>
                  <a:lnTo>
                    <a:pt x="1178042" y="701389"/>
                  </a:lnTo>
                  <a:lnTo>
                    <a:pt x="1193303" y="728637"/>
                  </a:lnTo>
                  <a:lnTo>
                    <a:pt x="1210335" y="751260"/>
                  </a:lnTo>
                  <a:lnTo>
                    <a:pt x="1209923" y="772962"/>
                  </a:lnTo>
                  <a:lnTo>
                    <a:pt x="1194180" y="780897"/>
                  </a:lnTo>
                  <a:lnTo>
                    <a:pt x="1200182" y="796328"/>
                  </a:lnTo>
                  <a:lnTo>
                    <a:pt x="1214942" y="805273"/>
                  </a:lnTo>
                  <a:lnTo>
                    <a:pt x="1211086" y="828612"/>
                  </a:lnTo>
                  <a:lnTo>
                    <a:pt x="1204717" y="851137"/>
                  </a:lnTo>
                  <a:lnTo>
                    <a:pt x="1190699" y="853677"/>
                  </a:lnTo>
                  <a:lnTo>
                    <a:pt x="1172388" y="884154"/>
                  </a:lnTo>
                  <a:lnTo>
                    <a:pt x="1152073" y="920706"/>
                  </a:lnTo>
                  <a:lnTo>
                    <a:pt x="1128779" y="953589"/>
                  </a:lnTo>
                  <a:lnTo>
                    <a:pt x="1094294" y="978798"/>
                  </a:lnTo>
                  <a:lnTo>
                    <a:pt x="1059406" y="1001636"/>
                  </a:lnTo>
                  <a:lnTo>
                    <a:pt x="1031148" y="1004740"/>
                  </a:lnTo>
                  <a:lnTo>
                    <a:pt x="1015815" y="1016727"/>
                  </a:lnTo>
                  <a:lnTo>
                    <a:pt x="1007138" y="1007969"/>
                  </a:lnTo>
                  <a:lnTo>
                    <a:pt x="992951" y="1021369"/>
                  </a:lnTo>
                  <a:lnTo>
                    <a:pt x="957893" y="1034823"/>
                  </a:lnTo>
                  <a:lnTo>
                    <a:pt x="931351" y="1038929"/>
                  </a:lnTo>
                  <a:lnTo>
                    <a:pt x="922791" y="1067117"/>
                  </a:lnTo>
                  <a:lnTo>
                    <a:pt x="908889" y="1068673"/>
                  </a:lnTo>
                  <a:lnTo>
                    <a:pt x="902315" y="1049333"/>
                  </a:lnTo>
                  <a:lnTo>
                    <a:pt x="908254" y="1038983"/>
                  </a:lnTo>
                  <a:lnTo>
                    <a:pt x="874601" y="1030404"/>
                  </a:lnTo>
                  <a:lnTo>
                    <a:pt x="862748" y="1034770"/>
                  </a:lnTo>
                  <a:lnTo>
                    <a:pt x="837495" y="1027810"/>
                  </a:lnTo>
                  <a:lnTo>
                    <a:pt x="825553" y="1016879"/>
                  </a:lnTo>
                  <a:lnTo>
                    <a:pt x="829516" y="1001332"/>
                  </a:lnTo>
                  <a:lnTo>
                    <a:pt x="806589" y="996385"/>
                  </a:lnTo>
                  <a:lnTo>
                    <a:pt x="794494" y="986205"/>
                  </a:lnTo>
                  <a:lnTo>
                    <a:pt x="773115" y="1000652"/>
                  </a:lnTo>
                  <a:lnTo>
                    <a:pt x="748729" y="1003774"/>
                  </a:lnTo>
                  <a:lnTo>
                    <a:pt x="728727" y="1003630"/>
                  </a:lnTo>
                  <a:lnTo>
                    <a:pt x="715264" y="1010223"/>
                  </a:lnTo>
                  <a:lnTo>
                    <a:pt x="702266" y="1014177"/>
                  </a:lnTo>
                  <a:lnTo>
                    <a:pt x="706059" y="1044887"/>
                  </a:lnTo>
                  <a:lnTo>
                    <a:pt x="692686" y="1044154"/>
                  </a:lnTo>
                  <a:lnTo>
                    <a:pt x="690431" y="1037865"/>
                  </a:lnTo>
                  <a:lnTo>
                    <a:pt x="689671" y="1026772"/>
                  </a:lnTo>
                  <a:lnTo>
                    <a:pt x="671270" y="1034591"/>
                  </a:lnTo>
                  <a:lnTo>
                    <a:pt x="660411" y="1029653"/>
                  </a:lnTo>
                  <a:lnTo>
                    <a:pt x="641786" y="1019562"/>
                  </a:lnTo>
                  <a:lnTo>
                    <a:pt x="649086" y="997136"/>
                  </a:lnTo>
                  <a:lnTo>
                    <a:pt x="633207" y="991885"/>
                  </a:lnTo>
                  <a:lnTo>
                    <a:pt x="627223" y="966829"/>
                  </a:lnTo>
                  <a:lnTo>
                    <a:pt x="600744" y="971355"/>
                  </a:lnTo>
                  <a:lnTo>
                    <a:pt x="603759" y="938838"/>
                  </a:lnTo>
                  <a:lnTo>
                    <a:pt x="627509" y="915759"/>
                  </a:lnTo>
                  <a:lnTo>
                    <a:pt x="628520" y="892805"/>
                  </a:lnTo>
                  <a:lnTo>
                    <a:pt x="627777" y="871353"/>
                  </a:lnTo>
                  <a:lnTo>
                    <a:pt x="616828" y="864644"/>
                  </a:lnTo>
                  <a:lnTo>
                    <a:pt x="608446" y="848006"/>
                  </a:lnTo>
                  <a:lnTo>
                    <a:pt x="593766" y="850108"/>
                  </a:lnTo>
                  <a:lnTo>
                    <a:pt x="566724" y="845868"/>
                  </a:lnTo>
                  <a:lnTo>
                    <a:pt x="575196" y="833934"/>
                  </a:lnTo>
                  <a:lnTo>
                    <a:pt x="563441" y="816169"/>
                  </a:lnTo>
                  <a:lnTo>
                    <a:pt x="545559" y="828209"/>
                  </a:lnTo>
                  <a:lnTo>
                    <a:pt x="524519" y="821187"/>
                  </a:lnTo>
                  <a:lnTo>
                    <a:pt x="495607" y="839346"/>
                  </a:lnTo>
                  <a:lnTo>
                    <a:pt x="472778" y="860413"/>
                  </a:lnTo>
                  <a:lnTo>
                    <a:pt x="452544" y="863947"/>
                  </a:lnTo>
                  <a:lnTo>
                    <a:pt x="441559" y="856352"/>
                  </a:lnTo>
                  <a:lnTo>
                    <a:pt x="428319" y="855663"/>
                  </a:lnTo>
                  <a:lnTo>
                    <a:pt x="410392" y="849115"/>
                  </a:lnTo>
                  <a:lnTo>
                    <a:pt x="396840" y="856298"/>
                  </a:lnTo>
                  <a:lnTo>
                    <a:pt x="380255" y="877239"/>
                  </a:lnTo>
                  <a:lnTo>
                    <a:pt x="378153" y="855046"/>
                  </a:lnTo>
                  <a:lnTo>
                    <a:pt x="362856" y="860995"/>
                  </a:lnTo>
                  <a:lnTo>
                    <a:pt x="333604" y="858230"/>
                  </a:lnTo>
                  <a:lnTo>
                    <a:pt x="305229" y="851745"/>
                  </a:lnTo>
                  <a:lnTo>
                    <a:pt x="284878" y="839284"/>
                  </a:lnTo>
                  <a:lnTo>
                    <a:pt x="265386" y="833675"/>
                  </a:lnTo>
                  <a:lnTo>
                    <a:pt x="256968" y="819962"/>
                  </a:lnTo>
                  <a:lnTo>
                    <a:pt x="242879" y="815855"/>
                  </a:lnTo>
                  <a:lnTo>
                    <a:pt x="217554" y="797124"/>
                  </a:lnTo>
                  <a:lnTo>
                    <a:pt x="197445" y="788241"/>
                  </a:lnTo>
                  <a:lnTo>
                    <a:pt x="187050" y="795156"/>
                  </a:lnTo>
                  <a:lnTo>
                    <a:pt x="152199" y="774894"/>
                  </a:lnTo>
                  <a:lnTo>
                    <a:pt x="127554" y="756422"/>
                  </a:lnTo>
                  <a:lnTo>
                    <a:pt x="120523" y="723959"/>
                  </a:lnTo>
                  <a:lnTo>
                    <a:pt x="138521" y="727939"/>
                  </a:lnTo>
                  <a:lnTo>
                    <a:pt x="139344" y="712785"/>
                  </a:lnTo>
                  <a:lnTo>
                    <a:pt x="129370" y="697507"/>
                  </a:lnTo>
                  <a:lnTo>
                    <a:pt x="131910" y="672960"/>
                  </a:lnTo>
                  <a:lnTo>
                    <a:pt x="104949" y="637277"/>
                  </a:lnTo>
                  <a:lnTo>
                    <a:pt x="63701" y="624842"/>
                  </a:lnTo>
                  <a:lnTo>
                    <a:pt x="56276" y="601038"/>
                  </a:lnTo>
                  <a:lnTo>
                    <a:pt x="37750" y="586484"/>
                  </a:lnTo>
                  <a:lnTo>
                    <a:pt x="33286" y="577476"/>
                  </a:lnTo>
                  <a:lnTo>
                    <a:pt x="29520" y="559477"/>
                  </a:lnTo>
                  <a:lnTo>
                    <a:pt x="30397" y="547124"/>
                  </a:lnTo>
                  <a:lnTo>
                    <a:pt x="15162" y="539860"/>
                  </a:lnTo>
                  <a:lnTo>
                    <a:pt x="6924" y="543072"/>
                  </a:lnTo>
                  <a:lnTo>
                    <a:pt x="564" y="513337"/>
                  </a:lnTo>
                  <a:lnTo>
                    <a:pt x="7702" y="505921"/>
                  </a:lnTo>
                  <a:lnTo>
                    <a:pt x="4240" y="498317"/>
                  </a:lnTo>
                  <a:lnTo>
                    <a:pt x="28187" y="482877"/>
                  </a:lnTo>
                  <a:lnTo>
                    <a:pt x="45524" y="476454"/>
                  </a:lnTo>
                  <a:lnTo>
                    <a:pt x="72074" y="480855"/>
                  </a:lnTo>
                  <a:lnTo>
                    <a:pt x="81565" y="459798"/>
                  </a:lnTo>
                  <a:lnTo>
                    <a:pt x="113742" y="455862"/>
                  </a:lnTo>
                  <a:lnTo>
                    <a:pt x="122679" y="442640"/>
                  </a:lnTo>
                  <a:lnTo>
                    <a:pt x="162209" y="424472"/>
                  </a:lnTo>
                  <a:lnTo>
                    <a:pt x="165733" y="416842"/>
                  </a:lnTo>
                  <a:lnTo>
                    <a:pt x="163729" y="397475"/>
                  </a:lnTo>
                  <a:lnTo>
                    <a:pt x="180941" y="388574"/>
                  </a:lnTo>
                  <a:lnTo>
                    <a:pt x="158362" y="328156"/>
                  </a:lnTo>
                  <a:lnTo>
                    <a:pt x="208055" y="314004"/>
                  </a:lnTo>
                  <a:lnTo>
                    <a:pt x="220900" y="306078"/>
                  </a:lnTo>
                  <a:lnTo>
                    <a:pt x="238988" y="241116"/>
                  </a:lnTo>
                  <a:lnTo>
                    <a:pt x="288752" y="253219"/>
                  </a:lnTo>
                  <a:lnTo>
                    <a:pt x="302707" y="236581"/>
                  </a:lnTo>
                  <a:lnTo>
                    <a:pt x="303905" y="199135"/>
                  </a:lnTo>
                  <a:lnTo>
                    <a:pt x="324739" y="195601"/>
                  </a:lnTo>
                  <a:lnTo>
                    <a:pt x="343829" y="170277"/>
                  </a:lnTo>
                  <a:lnTo>
                    <a:pt x="353652" y="167128"/>
                  </a:lnTo>
                  <a:lnTo>
                    <a:pt x="360235" y="193696"/>
                  </a:lnTo>
                  <a:lnTo>
                    <a:pt x="381311" y="213644"/>
                  </a:lnTo>
                  <a:lnTo>
                    <a:pt x="417084" y="227644"/>
                  </a:lnTo>
                  <a:lnTo>
                    <a:pt x="434394" y="257334"/>
                  </a:lnTo>
                  <a:lnTo>
                    <a:pt x="424741" y="299629"/>
                  </a:lnTo>
                  <a:lnTo>
                    <a:pt x="433767" y="315095"/>
                  </a:lnTo>
                  <a:lnTo>
                    <a:pt x="463574" y="321160"/>
                  </a:lnTo>
                  <a:lnTo>
                    <a:pt x="497352" y="326098"/>
                  </a:lnTo>
                  <a:lnTo>
                    <a:pt x="527659" y="347997"/>
                  </a:lnTo>
                  <a:lnTo>
                    <a:pt x="543153" y="351870"/>
                  </a:lnTo>
                  <a:lnTo>
                    <a:pt x="554576" y="383788"/>
                  </a:lnTo>
                  <a:lnTo>
                    <a:pt x="569301" y="404085"/>
                  </a:lnTo>
                  <a:lnTo>
                    <a:pt x="596951" y="403298"/>
                  </a:lnTo>
                  <a:lnTo>
                    <a:pt x="648719" y="410920"/>
                  </a:lnTo>
                  <a:lnTo>
                    <a:pt x="682077" y="406196"/>
                  </a:lnTo>
                  <a:lnTo>
                    <a:pt x="706838" y="411251"/>
                  </a:lnTo>
                  <a:lnTo>
                    <a:pt x="743944" y="431745"/>
                  </a:lnTo>
                  <a:lnTo>
                    <a:pt x="774295" y="431718"/>
                  </a:lnTo>
                  <a:lnTo>
                    <a:pt x="785397" y="442131"/>
                  </a:lnTo>
                  <a:lnTo>
                    <a:pt x="814604" y="424114"/>
                  </a:lnTo>
                  <a:lnTo>
                    <a:pt x="855118" y="412378"/>
                  </a:lnTo>
                  <a:lnTo>
                    <a:pt x="892707" y="411090"/>
                  </a:lnTo>
                  <a:lnTo>
                    <a:pt x="922012" y="399129"/>
                  </a:lnTo>
                  <a:lnTo>
                    <a:pt x="940011" y="380782"/>
                  </a:lnTo>
                  <a:lnTo>
                    <a:pt x="957571" y="369180"/>
                  </a:lnTo>
                  <a:lnTo>
                    <a:pt x="953509" y="357730"/>
                  </a:lnTo>
                  <a:lnTo>
                    <a:pt x="945494" y="344320"/>
                  </a:lnTo>
                  <a:lnTo>
                    <a:pt x="958671" y="321617"/>
                  </a:lnTo>
                  <a:lnTo>
                    <a:pt x="972778" y="324819"/>
                  </a:lnTo>
                  <a:lnTo>
                    <a:pt x="998559" y="331976"/>
                  </a:lnTo>
                  <a:lnTo>
                    <a:pt x="1023553" y="313181"/>
                  </a:lnTo>
                  <a:lnTo>
                    <a:pt x="1061795" y="299351"/>
                  </a:lnTo>
                  <a:lnTo>
                    <a:pt x="1080178" y="275538"/>
                  </a:lnTo>
                  <a:lnTo>
                    <a:pt x="1097836" y="265197"/>
                  </a:lnTo>
                  <a:lnTo>
                    <a:pt x="1134263" y="260358"/>
                  </a:lnTo>
                  <a:lnTo>
                    <a:pt x="1154059" y="264464"/>
                  </a:lnTo>
                  <a:lnTo>
                    <a:pt x="1156805" y="251466"/>
                  </a:lnTo>
                  <a:lnTo>
                    <a:pt x="1134075" y="225640"/>
                  </a:lnTo>
                  <a:lnTo>
                    <a:pt x="1113947" y="213716"/>
                  </a:lnTo>
                  <a:lnTo>
                    <a:pt x="1094670" y="227474"/>
                  </a:lnTo>
                  <a:lnTo>
                    <a:pt x="1069926" y="221687"/>
                  </a:lnTo>
                  <a:lnTo>
                    <a:pt x="1055730" y="226410"/>
                  </a:lnTo>
                  <a:lnTo>
                    <a:pt x="1049262" y="211149"/>
                  </a:lnTo>
                  <a:lnTo>
                    <a:pt x="1066984" y="173327"/>
                  </a:lnTo>
                  <a:lnTo>
                    <a:pt x="1079194" y="144281"/>
                  </a:lnTo>
                  <a:lnTo>
                    <a:pt x="1109296" y="158880"/>
                  </a:lnTo>
                  <a:lnTo>
                    <a:pt x="1144648" y="134378"/>
                  </a:lnTo>
                  <a:lnTo>
                    <a:pt x="1144415" y="117123"/>
                  </a:lnTo>
                  <a:lnTo>
                    <a:pt x="1167056" y="74855"/>
                  </a:lnTo>
                  <a:lnTo>
                    <a:pt x="1181011" y="61884"/>
                  </a:lnTo>
                  <a:lnTo>
                    <a:pt x="1180699" y="39323"/>
                  </a:lnTo>
                  <a:lnTo>
                    <a:pt x="1166940" y="29528"/>
                  </a:lnTo>
                  <a:lnTo>
                    <a:pt x="1187649" y="8837"/>
                  </a:lnTo>
                  <a:lnTo>
                    <a:pt x="1218815" y="1278"/>
                  </a:lnTo>
                  <a:lnTo>
                    <a:pt x="1252075" y="142"/>
                  </a:lnTo>
                  <a:lnTo>
                    <a:pt x="1289610" y="12612"/>
                  </a:lnTo>
                  <a:lnTo>
                    <a:pt x="1311634" y="27918"/>
                  </a:lnTo>
                  <a:lnTo>
                    <a:pt x="1327136" y="69166"/>
                  </a:lnTo>
                  <a:lnTo>
                    <a:pt x="1336538" y="86493"/>
                  </a:lnTo>
                  <a:lnTo>
                    <a:pt x="1345278" y="110923"/>
                  </a:lnTo>
                  <a:lnTo>
                    <a:pt x="1354518" y="14928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3856447" y="4348749"/>
              <a:ext cx="303860" cy="419543"/>
            </a:xfrm>
            <a:custGeom>
              <a:avLst/>
              <a:gdLst>
                <a:gd name="connsiteX0" fmla="*/ 91095 w 303860"/>
                <a:gd name="connsiteY0" fmla="*/ 316336 h 419543"/>
                <a:gd name="connsiteX1" fmla="*/ 80360 w 303860"/>
                <a:gd name="connsiteY1" fmla="*/ 310432 h 419543"/>
                <a:gd name="connsiteX2" fmla="*/ 68051 w 303860"/>
                <a:gd name="connsiteY2" fmla="*/ 302184 h 419543"/>
                <a:gd name="connsiteX3" fmla="*/ 60922 w 303860"/>
                <a:gd name="connsiteY3" fmla="*/ 306138 h 419543"/>
                <a:gd name="connsiteX4" fmla="*/ 39640 w 303860"/>
                <a:gd name="connsiteY4" fmla="*/ 302685 h 419543"/>
                <a:gd name="connsiteX5" fmla="*/ 33521 w 303860"/>
                <a:gd name="connsiteY5" fmla="*/ 291969 h 419543"/>
                <a:gd name="connsiteX6" fmla="*/ 28852 w 303860"/>
                <a:gd name="connsiteY6" fmla="*/ 292362 h 419543"/>
                <a:gd name="connsiteX7" fmla="*/ 3760 w 303860"/>
                <a:gd name="connsiteY7" fmla="*/ 278139 h 419543"/>
                <a:gd name="connsiteX8" fmla="*/ 360 w 303860"/>
                <a:gd name="connsiteY8" fmla="*/ 270401 h 419543"/>
                <a:gd name="connsiteX9" fmla="*/ 9718 w 303860"/>
                <a:gd name="connsiteY9" fmla="*/ 268531 h 419543"/>
                <a:gd name="connsiteX10" fmla="*/ 8608 w 303860"/>
                <a:gd name="connsiteY10" fmla="*/ 256044 h 419543"/>
                <a:gd name="connsiteX11" fmla="*/ 14494 w 303860"/>
                <a:gd name="connsiteY11" fmla="*/ 247008 h 419543"/>
                <a:gd name="connsiteX12" fmla="*/ 26937 w 303860"/>
                <a:gd name="connsiteY12" fmla="*/ 245336 h 419543"/>
                <a:gd name="connsiteX13" fmla="*/ 37493 w 303860"/>
                <a:gd name="connsiteY13" fmla="*/ 229663 h 419543"/>
                <a:gd name="connsiteX14" fmla="*/ 47092 w 303860"/>
                <a:gd name="connsiteY14" fmla="*/ 216558 h 419543"/>
                <a:gd name="connsiteX15" fmla="*/ 37851 w 303860"/>
                <a:gd name="connsiteY15" fmla="*/ 210618 h 419543"/>
                <a:gd name="connsiteX16" fmla="*/ 42583 w 303860"/>
                <a:gd name="connsiteY16" fmla="*/ 196118 h 419543"/>
                <a:gd name="connsiteX17" fmla="*/ 36921 w 303860"/>
                <a:gd name="connsiteY17" fmla="*/ 173235 h 419543"/>
                <a:gd name="connsiteX18" fmla="*/ 42297 w 303860"/>
                <a:gd name="connsiteY18" fmla="*/ 166660 h 419543"/>
                <a:gd name="connsiteX19" fmla="*/ 38343 w 303860"/>
                <a:gd name="connsiteY19" fmla="*/ 145459 h 419543"/>
                <a:gd name="connsiteX20" fmla="*/ 28190 w 303860"/>
                <a:gd name="connsiteY20" fmla="*/ 132086 h 419543"/>
                <a:gd name="connsiteX21" fmla="*/ 31401 w 303860"/>
                <a:gd name="connsiteY21" fmla="*/ 119875 h 419543"/>
                <a:gd name="connsiteX22" fmla="*/ 39479 w 303860"/>
                <a:gd name="connsiteY22" fmla="*/ 121673 h 419543"/>
                <a:gd name="connsiteX23" fmla="*/ 44211 w 303860"/>
                <a:gd name="connsiteY23" fmla="*/ 114204 h 419543"/>
                <a:gd name="connsiteX24" fmla="*/ 38388 w 303860"/>
                <a:gd name="connsiteY24" fmla="*/ 99372 h 419543"/>
                <a:gd name="connsiteX25" fmla="*/ 41438 w 303860"/>
                <a:gd name="connsiteY25" fmla="*/ 95687 h 419543"/>
                <a:gd name="connsiteX26" fmla="*/ 54391 w 303860"/>
                <a:gd name="connsiteY26" fmla="*/ 96483 h 419543"/>
                <a:gd name="connsiteX27" fmla="*/ 73213 w 303860"/>
                <a:gd name="connsiteY27" fmla="*/ 78878 h 419543"/>
                <a:gd name="connsiteX28" fmla="*/ 83545 w 303860"/>
                <a:gd name="connsiteY28" fmla="*/ 76185 h 419543"/>
                <a:gd name="connsiteX29" fmla="*/ 83786 w 303860"/>
                <a:gd name="connsiteY29" fmla="*/ 67830 h 419543"/>
                <a:gd name="connsiteX30" fmla="*/ 88411 w 303860"/>
                <a:gd name="connsiteY30" fmla="*/ 46433 h 419543"/>
                <a:gd name="connsiteX31" fmla="*/ 102795 w 303860"/>
                <a:gd name="connsiteY31" fmla="*/ 34660 h 419543"/>
                <a:gd name="connsiteX32" fmla="*/ 118602 w 303860"/>
                <a:gd name="connsiteY32" fmla="*/ 34177 h 419543"/>
                <a:gd name="connsiteX33" fmla="*/ 120597 w 303860"/>
                <a:gd name="connsiteY33" fmla="*/ 28881 h 419543"/>
                <a:gd name="connsiteX34" fmla="*/ 140223 w 303860"/>
                <a:gd name="connsiteY34" fmla="*/ 31001 h 419543"/>
                <a:gd name="connsiteX35" fmla="*/ 159957 w 303860"/>
                <a:gd name="connsiteY35" fmla="*/ 18165 h 419543"/>
                <a:gd name="connsiteX36" fmla="*/ 169735 w 303860"/>
                <a:gd name="connsiteY36" fmla="*/ 12467 h 419543"/>
                <a:gd name="connsiteX37" fmla="*/ 181874 w 303860"/>
                <a:gd name="connsiteY37" fmla="*/ 184 h 419543"/>
                <a:gd name="connsiteX38" fmla="*/ 190765 w 303860"/>
                <a:gd name="connsiteY38" fmla="*/ 1750 h 419543"/>
                <a:gd name="connsiteX39" fmla="*/ 197340 w 303860"/>
                <a:gd name="connsiteY39" fmla="*/ 8459 h 419543"/>
                <a:gd name="connsiteX40" fmla="*/ 192474 w 303860"/>
                <a:gd name="connsiteY40" fmla="*/ 17038 h 419543"/>
                <a:gd name="connsiteX41" fmla="*/ 176363 w 303860"/>
                <a:gd name="connsiteY41" fmla="*/ 21305 h 419543"/>
                <a:gd name="connsiteX42" fmla="*/ 169994 w 303860"/>
                <a:gd name="connsiteY42" fmla="*/ 34007 h 419543"/>
                <a:gd name="connsiteX43" fmla="*/ 160288 w 303860"/>
                <a:gd name="connsiteY43" fmla="*/ 41289 h 419543"/>
                <a:gd name="connsiteX44" fmla="*/ 152998 w 303860"/>
                <a:gd name="connsiteY44" fmla="*/ 50708 h 419543"/>
                <a:gd name="connsiteX45" fmla="*/ 149929 w 303860"/>
                <a:gd name="connsiteY45" fmla="*/ 68770 h 419543"/>
                <a:gd name="connsiteX46" fmla="*/ 142979 w 303860"/>
                <a:gd name="connsiteY46" fmla="*/ 83548 h 419543"/>
                <a:gd name="connsiteX47" fmla="*/ 155923 w 303860"/>
                <a:gd name="connsiteY47" fmla="*/ 85238 h 419543"/>
                <a:gd name="connsiteX48" fmla="*/ 159134 w 303860"/>
                <a:gd name="connsiteY48" fmla="*/ 96832 h 419543"/>
                <a:gd name="connsiteX49" fmla="*/ 164671 w 303860"/>
                <a:gd name="connsiteY49" fmla="*/ 102369 h 419543"/>
                <a:gd name="connsiteX50" fmla="*/ 166657 w 303860"/>
                <a:gd name="connsiteY50" fmla="*/ 112504 h 419543"/>
                <a:gd name="connsiteX51" fmla="*/ 163678 w 303860"/>
                <a:gd name="connsiteY51" fmla="*/ 121816 h 419543"/>
                <a:gd name="connsiteX52" fmla="*/ 164555 w 303860"/>
                <a:gd name="connsiteY52" fmla="*/ 127058 h 419543"/>
                <a:gd name="connsiteX53" fmla="*/ 170728 w 303860"/>
                <a:gd name="connsiteY53" fmla="*/ 129161 h 419543"/>
                <a:gd name="connsiteX54" fmla="*/ 176703 w 303860"/>
                <a:gd name="connsiteY54" fmla="*/ 137918 h 419543"/>
                <a:gd name="connsiteX55" fmla="*/ 208960 w 303860"/>
                <a:gd name="connsiteY55" fmla="*/ 135503 h 419543"/>
                <a:gd name="connsiteX56" fmla="*/ 223533 w 303860"/>
                <a:gd name="connsiteY56" fmla="*/ 138696 h 419543"/>
                <a:gd name="connsiteX57" fmla="*/ 241182 w 303860"/>
                <a:gd name="connsiteY57" fmla="*/ 160282 h 419543"/>
                <a:gd name="connsiteX58" fmla="*/ 251318 w 303860"/>
                <a:gd name="connsiteY58" fmla="*/ 157598 h 419543"/>
                <a:gd name="connsiteX59" fmla="*/ 269387 w 303860"/>
                <a:gd name="connsiteY59" fmla="*/ 158940 h 419543"/>
                <a:gd name="connsiteX60" fmla="*/ 283682 w 303860"/>
                <a:gd name="connsiteY60" fmla="*/ 156086 h 419543"/>
                <a:gd name="connsiteX61" fmla="*/ 292556 w 303860"/>
                <a:gd name="connsiteY61" fmla="*/ 160389 h 419543"/>
                <a:gd name="connsiteX62" fmla="*/ 288039 w 303860"/>
                <a:gd name="connsiteY62" fmla="*/ 173879 h 419543"/>
                <a:gd name="connsiteX63" fmla="*/ 282439 w 303860"/>
                <a:gd name="connsiteY63" fmla="*/ 182279 h 419543"/>
                <a:gd name="connsiteX64" fmla="*/ 280471 w 303860"/>
                <a:gd name="connsiteY64" fmla="*/ 200215 h 419543"/>
                <a:gd name="connsiteX65" fmla="*/ 285516 w 303860"/>
                <a:gd name="connsiteY65" fmla="*/ 216817 h 419543"/>
                <a:gd name="connsiteX66" fmla="*/ 292646 w 303860"/>
                <a:gd name="connsiteY66" fmla="*/ 224233 h 419543"/>
                <a:gd name="connsiteX67" fmla="*/ 293514 w 303860"/>
                <a:gd name="connsiteY67" fmla="*/ 229824 h 419543"/>
                <a:gd name="connsiteX68" fmla="*/ 280802 w 303860"/>
                <a:gd name="connsiteY68" fmla="*/ 242241 h 419543"/>
                <a:gd name="connsiteX69" fmla="*/ 289899 w 303860"/>
                <a:gd name="connsiteY69" fmla="*/ 247742 h 419543"/>
                <a:gd name="connsiteX70" fmla="*/ 296573 w 303860"/>
                <a:gd name="connsiteY70" fmla="*/ 256455 h 419543"/>
                <a:gd name="connsiteX71" fmla="*/ 304221 w 303860"/>
                <a:gd name="connsiteY71" fmla="*/ 281315 h 419543"/>
                <a:gd name="connsiteX72" fmla="*/ 299480 w 303860"/>
                <a:gd name="connsiteY72" fmla="*/ 284383 h 419543"/>
                <a:gd name="connsiteX73" fmla="*/ 294596 w 303860"/>
                <a:gd name="connsiteY73" fmla="*/ 269685 h 419543"/>
                <a:gd name="connsiteX74" fmla="*/ 287627 w 303860"/>
                <a:gd name="connsiteY74" fmla="*/ 261778 h 419543"/>
                <a:gd name="connsiteX75" fmla="*/ 279326 w 303860"/>
                <a:gd name="connsiteY75" fmla="*/ 270374 h 419543"/>
                <a:gd name="connsiteX76" fmla="*/ 230466 w 303860"/>
                <a:gd name="connsiteY76" fmla="*/ 269811 h 419543"/>
                <a:gd name="connsiteX77" fmla="*/ 230770 w 303860"/>
                <a:gd name="connsiteY77" fmla="*/ 285412 h 419543"/>
                <a:gd name="connsiteX78" fmla="*/ 245467 w 303860"/>
                <a:gd name="connsiteY78" fmla="*/ 287988 h 419543"/>
                <a:gd name="connsiteX79" fmla="*/ 244617 w 303860"/>
                <a:gd name="connsiteY79" fmla="*/ 297533 h 419543"/>
                <a:gd name="connsiteX80" fmla="*/ 239608 w 303860"/>
                <a:gd name="connsiteY80" fmla="*/ 294948 h 419543"/>
                <a:gd name="connsiteX81" fmla="*/ 225474 w 303860"/>
                <a:gd name="connsiteY81" fmla="*/ 299054 h 419543"/>
                <a:gd name="connsiteX82" fmla="*/ 225349 w 303860"/>
                <a:gd name="connsiteY82" fmla="*/ 317159 h 419543"/>
                <a:gd name="connsiteX83" fmla="*/ 236477 w 303860"/>
                <a:gd name="connsiteY83" fmla="*/ 326248 h 419543"/>
                <a:gd name="connsiteX84" fmla="*/ 240404 w 303860"/>
                <a:gd name="connsiteY84" fmla="*/ 340516 h 419543"/>
                <a:gd name="connsiteX85" fmla="*/ 239814 w 303860"/>
                <a:gd name="connsiteY85" fmla="*/ 351322 h 419543"/>
                <a:gd name="connsiteX86" fmla="*/ 228542 w 303860"/>
                <a:gd name="connsiteY86" fmla="*/ 419728 h 419543"/>
                <a:gd name="connsiteX87" fmla="*/ 215983 w 303860"/>
                <a:gd name="connsiteY87" fmla="*/ 406453 h 419543"/>
                <a:gd name="connsiteX88" fmla="*/ 208495 w 303860"/>
                <a:gd name="connsiteY88" fmla="*/ 405863 h 419543"/>
                <a:gd name="connsiteX89" fmla="*/ 224678 w 303860"/>
                <a:gd name="connsiteY89" fmla="*/ 380466 h 419543"/>
                <a:gd name="connsiteX90" fmla="*/ 205472 w 303860"/>
                <a:gd name="connsiteY90" fmla="*/ 368784 h 419543"/>
                <a:gd name="connsiteX91" fmla="*/ 190416 w 303860"/>
                <a:gd name="connsiteY91" fmla="*/ 370930 h 419543"/>
                <a:gd name="connsiteX92" fmla="*/ 181355 w 303860"/>
                <a:gd name="connsiteY92" fmla="*/ 366619 h 419543"/>
                <a:gd name="connsiteX93" fmla="*/ 167534 w 303860"/>
                <a:gd name="connsiteY93" fmla="*/ 373212 h 419543"/>
                <a:gd name="connsiteX94" fmla="*/ 148865 w 303860"/>
                <a:gd name="connsiteY94" fmla="*/ 370081 h 419543"/>
                <a:gd name="connsiteX95" fmla="*/ 134087 w 303860"/>
                <a:gd name="connsiteY95" fmla="*/ 343951 h 419543"/>
                <a:gd name="connsiteX96" fmla="*/ 122475 w 303860"/>
                <a:gd name="connsiteY96" fmla="*/ 337528 h 419543"/>
                <a:gd name="connsiteX97" fmla="*/ 114469 w 303860"/>
                <a:gd name="connsiteY97" fmla="*/ 325774 h 419543"/>
                <a:gd name="connsiteX98" fmla="*/ 97786 w 303860"/>
                <a:gd name="connsiteY98" fmla="*/ 313966 h 419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303860" h="419543">
                  <a:moveTo>
                    <a:pt x="91095" y="316336"/>
                  </a:moveTo>
                  <a:lnTo>
                    <a:pt x="80360" y="310432"/>
                  </a:lnTo>
                  <a:lnTo>
                    <a:pt x="68051" y="302184"/>
                  </a:lnTo>
                  <a:lnTo>
                    <a:pt x="60922" y="306138"/>
                  </a:lnTo>
                  <a:lnTo>
                    <a:pt x="39640" y="302685"/>
                  </a:lnTo>
                  <a:lnTo>
                    <a:pt x="33521" y="291969"/>
                  </a:lnTo>
                  <a:lnTo>
                    <a:pt x="28852" y="292362"/>
                  </a:lnTo>
                  <a:lnTo>
                    <a:pt x="3760" y="278139"/>
                  </a:lnTo>
                  <a:lnTo>
                    <a:pt x="360" y="270401"/>
                  </a:lnTo>
                  <a:lnTo>
                    <a:pt x="9718" y="268531"/>
                  </a:lnTo>
                  <a:lnTo>
                    <a:pt x="8608" y="256044"/>
                  </a:lnTo>
                  <a:lnTo>
                    <a:pt x="14494" y="247008"/>
                  </a:lnTo>
                  <a:lnTo>
                    <a:pt x="26937" y="245336"/>
                  </a:lnTo>
                  <a:lnTo>
                    <a:pt x="37493" y="229663"/>
                  </a:lnTo>
                  <a:lnTo>
                    <a:pt x="47092" y="216558"/>
                  </a:lnTo>
                  <a:lnTo>
                    <a:pt x="37851" y="210618"/>
                  </a:lnTo>
                  <a:lnTo>
                    <a:pt x="42583" y="196118"/>
                  </a:lnTo>
                  <a:lnTo>
                    <a:pt x="36921" y="173235"/>
                  </a:lnTo>
                  <a:lnTo>
                    <a:pt x="42297" y="166660"/>
                  </a:lnTo>
                  <a:lnTo>
                    <a:pt x="38343" y="145459"/>
                  </a:lnTo>
                  <a:lnTo>
                    <a:pt x="28190" y="132086"/>
                  </a:lnTo>
                  <a:lnTo>
                    <a:pt x="31401" y="119875"/>
                  </a:lnTo>
                  <a:lnTo>
                    <a:pt x="39479" y="121673"/>
                  </a:lnTo>
                  <a:lnTo>
                    <a:pt x="44211" y="114204"/>
                  </a:lnTo>
                  <a:lnTo>
                    <a:pt x="38388" y="99372"/>
                  </a:lnTo>
                  <a:lnTo>
                    <a:pt x="41438" y="95687"/>
                  </a:lnTo>
                  <a:lnTo>
                    <a:pt x="54391" y="96483"/>
                  </a:lnTo>
                  <a:lnTo>
                    <a:pt x="73213" y="78878"/>
                  </a:lnTo>
                  <a:lnTo>
                    <a:pt x="83545" y="76185"/>
                  </a:lnTo>
                  <a:lnTo>
                    <a:pt x="83786" y="67830"/>
                  </a:lnTo>
                  <a:lnTo>
                    <a:pt x="88411" y="46433"/>
                  </a:lnTo>
                  <a:lnTo>
                    <a:pt x="102795" y="34660"/>
                  </a:lnTo>
                  <a:lnTo>
                    <a:pt x="118602" y="34177"/>
                  </a:lnTo>
                  <a:lnTo>
                    <a:pt x="120597" y="28881"/>
                  </a:lnTo>
                  <a:lnTo>
                    <a:pt x="140223" y="31001"/>
                  </a:lnTo>
                  <a:lnTo>
                    <a:pt x="159957" y="18165"/>
                  </a:lnTo>
                  <a:lnTo>
                    <a:pt x="169735" y="12467"/>
                  </a:lnTo>
                  <a:lnTo>
                    <a:pt x="181874" y="184"/>
                  </a:lnTo>
                  <a:lnTo>
                    <a:pt x="190765" y="1750"/>
                  </a:lnTo>
                  <a:lnTo>
                    <a:pt x="197340" y="8459"/>
                  </a:lnTo>
                  <a:lnTo>
                    <a:pt x="192474" y="17038"/>
                  </a:lnTo>
                  <a:lnTo>
                    <a:pt x="176363" y="21305"/>
                  </a:lnTo>
                  <a:lnTo>
                    <a:pt x="169994" y="34007"/>
                  </a:lnTo>
                  <a:lnTo>
                    <a:pt x="160288" y="41289"/>
                  </a:lnTo>
                  <a:lnTo>
                    <a:pt x="152998" y="50708"/>
                  </a:lnTo>
                  <a:lnTo>
                    <a:pt x="149929" y="68770"/>
                  </a:lnTo>
                  <a:lnTo>
                    <a:pt x="142979" y="83548"/>
                  </a:lnTo>
                  <a:lnTo>
                    <a:pt x="155923" y="85238"/>
                  </a:lnTo>
                  <a:lnTo>
                    <a:pt x="159134" y="96832"/>
                  </a:lnTo>
                  <a:lnTo>
                    <a:pt x="164671" y="102369"/>
                  </a:lnTo>
                  <a:lnTo>
                    <a:pt x="166657" y="112504"/>
                  </a:lnTo>
                  <a:lnTo>
                    <a:pt x="163678" y="121816"/>
                  </a:lnTo>
                  <a:lnTo>
                    <a:pt x="164555" y="127058"/>
                  </a:lnTo>
                  <a:lnTo>
                    <a:pt x="170728" y="129161"/>
                  </a:lnTo>
                  <a:lnTo>
                    <a:pt x="176703" y="137918"/>
                  </a:lnTo>
                  <a:lnTo>
                    <a:pt x="208960" y="135503"/>
                  </a:lnTo>
                  <a:lnTo>
                    <a:pt x="223533" y="138696"/>
                  </a:lnTo>
                  <a:lnTo>
                    <a:pt x="241182" y="160282"/>
                  </a:lnTo>
                  <a:lnTo>
                    <a:pt x="251318" y="157598"/>
                  </a:lnTo>
                  <a:lnTo>
                    <a:pt x="269387" y="158940"/>
                  </a:lnTo>
                  <a:lnTo>
                    <a:pt x="283682" y="156086"/>
                  </a:lnTo>
                  <a:lnTo>
                    <a:pt x="292556" y="160389"/>
                  </a:lnTo>
                  <a:lnTo>
                    <a:pt x="288039" y="173879"/>
                  </a:lnTo>
                  <a:lnTo>
                    <a:pt x="282439" y="182279"/>
                  </a:lnTo>
                  <a:lnTo>
                    <a:pt x="280471" y="200215"/>
                  </a:lnTo>
                  <a:lnTo>
                    <a:pt x="285516" y="216817"/>
                  </a:lnTo>
                  <a:lnTo>
                    <a:pt x="292646" y="224233"/>
                  </a:lnTo>
                  <a:lnTo>
                    <a:pt x="293514" y="229824"/>
                  </a:lnTo>
                  <a:lnTo>
                    <a:pt x="280802" y="242241"/>
                  </a:lnTo>
                  <a:lnTo>
                    <a:pt x="289899" y="247742"/>
                  </a:lnTo>
                  <a:lnTo>
                    <a:pt x="296573" y="256455"/>
                  </a:lnTo>
                  <a:lnTo>
                    <a:pt x="304221" y="281315"/>
                  </a:lnTo>
                  <a:lnTo>
                    <a:pt x="299480" y="284383"/>
                  </a:lnTo>
                  <a:lnTo>
                    <a:pt x="294596" y="269685"/>
                  </a:lnTo>
                  <a:lnTo>
                    <a:pt x="287627" y="261778"/>
                  </a:lnTo>
                  <a:lnTo>
                    <a:pt x="279326" y="270374"/>
                  </a:lnTo>
                  <a:lnTo>
                    <a:pt x="230466" y="269811"/>
                  </a:lnTo>
                  <a:lnTo>
                    <a:pt x="230770" y="285412"/>
                  </a:lnTo>
                  <a:lnTo>
                    <a:pt x="245467" y="287988"/>
                  </a:lnTo>
                  <a:lnTo>
                    <a:pt x="244617" y="297533"/>
                  </a:lnTo>
                  <a:lnTo>
                    <a:pt x="239608" y="294948"/>
                  </a:lnTo>
                  <a:lnTo>
                    <a:pt x="225474" y="299054"/>
                  </a:lnTo>
                  <a:lnTo>
                    <a:pt x="225349" y="317159"/>
                  </a:lnTo>
                  <a:lnTo>
                    <a:pt x="236477" y="326248"/>
                  </a:lnTo>
                  <a:lnTo>
                    <a:pt x="240404" y="340516"/>
                  </a:lnTo>
                  <a:lnTo>
                    <a:pt x="239814" y="351322"/>
                  </a:lnTo>
                  <a:lnTo>
                    <a:pt x="228542" y="419728"/>
                  </a:lnTo>
                  <a:lnTo>
                    <a:pt x="215983" y="406453"/>
                  </a:lnTo>
                  <a:lnTo>
                    <a:pt x="208495" y="405863"/>
                  </a:lnTo>
                  <a:lnTo>
                    <a:pt x="224678" y="380466"/>
                  </a:lnTo>
                  <a:lnTo>
                    <a:pt x="205472" y="368784"/>
                  </a:lnTo>
                  <a:lnTo>
                    <a:pt x="190416" y="370930"/>
                  </a:lnTo>
                  <a:lnTo>
                    <a:pt x="181355" y="366619"/>
                  </a:lnTo>
                  <a:lnTo>
                    <a:pt x="167534" y="373212"/>
                  </a:lnTo>
                  <a:lnTo>
                    <a:pt x="148865" y="370081"/>
                  </a:lnTo>
                  <a:lnTo>
                    <a:pt x="134087" y="343951"/>
                  </a:lnTo>
                  <a:lnTo>
                    <a:pt x="122475" y="337528"/>
                  </a:lnTo>
                  <a:lnTo>
                    <a:pt x="114469" y="325774"/>
                  </a:lnTo>
                  <a:lnTo>
                    <a:pt x="97786" y="31396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3682108" y="4379816"/>
              <a:ext cx="85170" cy="75652"/>
            </a:xfrm>
            <a:custGeom>
              <a:avLst/>
              <a:gdLst>
                <a:gd name="connsiteX0" fmla="*/ 74989 w 85170"/>
                <a:gd name="connsiteY0" fmla="*/ 75830 h 75652"/>
                <a:gd name="connsiteX1" fmla="*/ 61374 w 85170"/>
                <a:gd name="connsiteY1" fmla="*/ 70248 h 75652"/>
                <a:gd name="connsiteX2" fmla="*/ 56293 w 85170"/>
                <a:gd name="connsiteY2" fmla="*/ 64961 h 75652"/>
                <a:gd name="connsiteX3" fmla="*/ 59173 w 85170"/>
                <a:gd name="connsiteY3" fmla="*/ 60578 h 75652"/>
                <a:gd name="connsiteX4" fmla="*/ 58261 w 85170"/>
                <a:gd name="connsiteY4" fmla="*/ 55005 h 75652"/>
                <a:gd name="connsiteX5" fmla="*/ 51310 w 85170"/>
                <a:gd name="connsiteY5" fmla="*/ 48967 h 75652"/>
                <a:gd name="connsiteX6" fmla="*/ 41443 w 85170"/>
                <a:gd name="connsiteY6" fmla="*/ 44002 h 75652"/>
                <a:gd name="connsiteX7" fmla="*/ 32811 w 85170"/>
                <a:gd name="connsiteY7" fmla="*/ 40764 h 75652"/>
                <a:gd name="connsiteX8" fmla="*/ 31156 w 85170"/>
                <a:gd name="connsiteY8" fmla="*/ 33366 h 75652"/>
                <a:gd name="connsiteX9" fmla="*/ 24581 w 85170"/>
                <a:gd name="connsiteY9" fmla="*/ 28848 h 75652"/>
                <a:gd name="connsiteX10" fmla="*/ 26191 w 85170"/>
                <a:gd name="connsiteY10" fmla="*/ 36202 h 75652"/>
                <a:gd name="connsiteX11" fmla="*/ 21182 w 85170"/>
                <a:gd name="connsiteY11" fmla="*/ 42240 h 75652"/>
                <a:gd name="connsiteX12" fmla="*/ 15456 w 85170"/>
                <a:gd name="connsiteY12" fmla="*/ 35226 h 75652"/>
                <a:gd name="connsiteX13" fmla="*/ 7397 w 85170"/>
                <a:gd name="connsiteY13" fmla="*/ 32731 h 75652"/>
                <a:gd name="connsiteX14" fmla="*/ 3961 w 85170"/>
                <a:gd name="connsiteY14" fmla="*/ 27623 h 75652"/>
                <a:gd name="connsiteX15" fmla="*/ 4113 w 85170"/>
                <a:gd name="connsiteY15" fmla="*/ 19912 h 75652"/>
                <a:gd name="connsiteX16" fmla="*/ 7432 w 85170"/>
                <a:gd name="connsiteY16" fmla="*/ 11932 h 75652"/>
                <a:gd name="connsiteX17" fmla="*/ 348 w 85170"/>
                <a:gd name="connsiteY17" fmla="*/ 8354 h 75652"/>
                <a:gd name="connsiteX18" fmla="*/ 6099 w 85170"/>
                <a:gd name="connsiteY18" fmla="*/ 3452 h 75652"/>
                <a:gd name="connsiteX19" fmla="*/ 9874 w 85170"/>
                <a:gd name="connsiteY19" fmla="*/ 178 h 75652"/>
                <a:gd name="connsiteX20" fmla="*/ 26397 w 85170"/>
                <a:gd name="connsiteY20" fmla="*/ 6905 h 75652"/>
                <a:gd name="connsiteX21" fmla="*/ 32167 w 85170"/>
                <a:gd name="connsiteY21" fmla="*/ 3595 h 75652"/>
                <a:gd name="connsiteX22" fmla="*/ 40119 w 85170"/>
                <a:gd name="connsiteY22" fmla="*/ 5715 h 75652"/>
                <a:gd name="connsiteX23" fmla="*/ 44279 w 85170"/>
                <a:gd name="connsiteY23" fmla="*/ 10939 h 75652"/>
                <a:gd name="connsiteX24" fmla="*/ 51677 w 85170"/>
                <a:gd name="connsiteY24" fmla="*/ 12630 h 75652"/>
                <a:gd name="connsiteX25" fmla="*/ 57688 w 85170"/>
                <a:gd name="connsiteY25" fmla="*/ 7245 h 75652"/>
                <a:gd name="connsiteX26" fmla="*/ 64039 w 85170"/>
                <a:gd name="connsiteY26" fmla="*/ 21030 h 75652"/>
                <a:gd name="connsiteX27" fmla="*/ 73736 w 85170"/>
                <a:gd name="connsiteY27" fmla="*/ 31219 h 75652"/>
                <a:gd name="connsiteX28" fmla="*/ 85518 w 85170"/>
                <a:gd name="connsiteY28" fmla="*/ 42007 h 75652"/>
                <a:gd name="connsiteX29" fmla="*/ 75812 w 85170"/>
                <a:gd name="connsiteY29" fmla="*/ 44270 h 75652"/>
                <a:gd name="connsiteX30" fmla="*/ 75955 w 85170"/>
                <a:gd name="connsiteY30" fmla="*/ 54432 h 75652"/>
                <a:gd name="connsiteX31" fmla="*/ 81179 w 85170"/>
                <a:gd name="connsiteY31" fmla="*/ 58181 h 75652"/>
                <a:gd name="connsiteX32" fmla="*/ 77422 w 85170"/>
                <a:gd name="connsiteY32" fmla="*/ 61168 h 75652"/>
                <a:gd name="connsiteX33" fmla="*/ 78406 w 85170"/>
                <a:gd name="connsiteY33" fmla="*/ 65731 h 75652"/>
                <a:gd name="connsiteX34" fmla="*/ 76313 w 85170"/>
                <a:gd name="connsiteY34" fmla="*/ 70838 h 7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5170" h="75652">
                  <a:moveTo>
                    <a:pt x="74989" y="75830"/>
                  </a:moveTo>
                  <a:lnTo>
                    <a:pt x="61374" y="70248"/>
                  </a:lnTo>
                  <a:lnTo>
                    <a:pt x="56293" y="64961"/>
                  </a:lnTo>
                  <a:lnTo>
                    <a:pt x="59173" y="60578"/>
                  </a:lnTo>
                  <a:lnTo>
                    <a:pt x="58261" y="55005"/>
                  </a:lnTo>
                  <a:lnTo>
                    <a:pt x="51310" y="48967"/>
                  </a:lnTo>
                  <a:lnTo>
                    <a:pt x="41443" y="44002"/>
                  </a:lnTo>
                  <a:lnTo>
                    <a:pt x="32811" y="40764"/>
                  </a:lnTo>
                  <a:lnTo>
                    <a:pt x="31156" y="33366"/>
                  </a:lnTo>
                  <a:lnTo>
                    <a:pt x="24581" y="28848"/>
                  </a:lnTo>
                  <a:lnTo>
                    <a:pt x="26191" y="36202"/>
                  </a:lnTo>
                  <a:lnTo>
                    <a:pt x="21182" y="42240"/>
                  </a:lnTo>
                  <a:lnTo>
                    <a:pt x="15456" y="35226"/>
                  </a:lnTo>
                  <a:lnTo>
                    <a:pt x="7397" y="32731"/>
                  </a:lnTo>
                  <a:lnTo>
                    <a:pt x="3961" y="27623"/>
                  </a:lnTo>
                  <a:lnTo>
                    <a:pt x="4113" y="19912"/>
                  </a:lnTo>
                  <a:lnTo>
                    <a:pt x="7432" y="11932"/>
                  </a:lnTo>
                  <a:lnTo>
                    <a:pt x="348" y="8354"/>
                  </a:lnTo>
                  <a:lnTo>
                    <a:pt x="6099" y="3452"/>
                  </a:lnTo>
                  <a:lnTo>
                    <a:pt x="9874" y="178"/>
                  </a:lnTo>
                  <a:lnTo>
                    <a:pt x="26397" y="6905"/>
                  </a:lnTo>
                  <a:lnTo>
                    <a:pt x="32167" y="3595"/>
                  </a:lnTo>
                  <a:lnTo>
                    <a:pt x="40119" y="5715"/>
                  </a:lnTo>
                  <a:lnTo>
                    <a:pt x="44279" y="10939"/>
                  </a:lnTo>
                  <a:lnTo>
                    <a:pt x="51677" y="12630"/>
                  </a:lnTo>
                  <a:lnTo>
                    <a:pt x="57688" y="7245"/>
                  </a:lnTo>
                  <a:lnTo>
                    <a:pt x="64039" y="21030"/>
                  </a:lnTo>
                  <a:lnTo>
                    <a:pt x="73736" y="31219"/>
                  </a:lnTo>
                  <a:lnTo>
                    <a:pt x="85518" y="42007"/>
                  </a:lnTo>
                  <a:lnTo>
                    <a:pt x="75812" y="44270"/>
                  </a:lnTo>
                  <a:lnTo>
                    <a:pt x="75955" y="54432"/>
                  </a:lnTo>
                  <a:lnTo>
                    <a:pt x="81179" y="58181"/>
                  </a:lnTo>
                  <a:lnTo>
                    <a:pt x="77422" y="61168"/>
                  </a:lnTo>
                  <a:lnTo>
                    <a:pt x="78406" y="65731"/>
                  </a:lnTo>
                  <a:lnTo>
                    <a:pt x="76313" y="7083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3706360" y="4066724"/>
              <a:ext cx="270807" cy="89365"/>
            </a:xfrm>
            <a:custGeom>
              <a:avLst/>
              <a:gdLst>
                <a:gd name="connsiteX0" fmla="*/ 68240 w 270807"/>
                <a:gd name="connsiteY0" fmla="*/ 164 h 89365"/>
                <a:gd name="connsiteX1" fmla="*/ 89906 w 270807"/>
                <a:gd name="connsiteY1" fmla="*/ 2096 h 89365"/>
                <a:gd name="connsiteX2" fmla="*/ 109613 w 270807"/>
                <a:gd name="connsiteY2" fmla="*/ 2400 h 89365"/>
                <a:gd name="connsiteX3" fmla="*/ 133167 w 270807"/>
                <a:gd name="connsiteY3" fmla="*/ 11632 h 89365"/>
                <a:gd name="connsiteX4" fmla="*/ 143150 w 270807"/>
                <a:gd name="connsiteY4" fmla="*/ 21517 h 89365"/>
                <a:gd name="connsiteX5" fmla="*/ 166578 w 270807"/>
                <a:gd name="connsiteY5" fmla="*/ 18466 h 89365"/>
                <a:gd name="connsiteX6" fmla="*/ 175461 w 270807"/>
                <a:gd name="connsiteY6" fmla="*/ 24809 h 89365"/>
                <a:gd name="connsiteX7" fmla="*/ 196707 w 270807"/>
                <a:gd name="connsiteY7" fmla="*/ 41465 h 89365"/>
                <a:gd name="connsiteX8" fmla="*/ 212317 w 270807"/>
                <a:gd name="connsiteY8" fmla="*/ 53542 h 89365"/>
                <a:gd name="connsiteX9" fmla="*/ 220573 w 270807"/>
                <a:gd name="connsiteY9" fmla="*/ 53175 h 89365"/>
                <a:gd name="connsiteX10" fmla="*/ 235539 w 270807"/>
                <a:gd name="connsiteY10" fmla="*/ 58632 h 89365"/>
                <a:gd name="connsiteX11" fmla="*/ 233714 w 270807"/>
                <a:gd name="connsiteY11" fmla="*/ 66137 h 89365"/>
                <a:gd name="connsiteX12" fmla="*/ 252195 w 270807"/>
                <a:gd name="connsiteY12" fmla="*/ 67237 h 89365"/>
                <a:gd name="connsiteX13" fmla="*/ 271160 w 270807"/>
                <a:gd name="connsiteY13" fmla="*/ 78133 h 89365"/>
                <a:gd name="connsiteX14" fmla="*/ 268181 w 270807"/>
                <a:gd name="connsiteY14" fmla="*/ 84359 h 89365"/>
                <a:gd name="connsiteX15" fmla="*/ 251507 w 270807"/>
                <a:gd name="connsiteY15" fmla="*/ 87732 h 89365"/>
                <a:gd name="connsiteX16" fmla="*/ 234627 w 270807"/>
                <a:gd name="connsiteY16" fmla="*/ 89038 h 89365"/>
                <a:gd name="connsiteX17" fmla="*/ 217344 w 270807"/>
                <a:gd name="connsiteY17" fmla="*/ 86944 h 89365"/>
                <a:gd name="connsiteX18" fmla="*/ 181428 w 270807"/>
                <a:gd name="connsiteY18" fmla="*/ 89529 h 89365"/>
                <a:gd name="connsiteX19" fmla="*/ 198245 w 270807"/>
                <a:gd name="connsiteY19" fmla="*/ 74707 h 89365"/>
                <a:gd name="connsiteX20" fmla="*/ 188021 w 270807"/>
                <a:gd name="connsiteY20" fmla="*/ 67792 h 89365"/>
                <a:gd name="connsiteX21" fmla="*/ 171847 w 270807"/>
                <a:gd name="connsiteY21" fmla="*/ 66012 h 89365"/>
                <a:gd name="connsiteX22" fmla="*/ 163188 w 270807"/>
                <a:gd name="connsiteY22" fmla="*/ 58310 h 89365"/>
                <a:gd name="connsiteX23" fmla="*/ 157239 w 270807"/>
                <a:gd name="connsiteY23" fmla="*/ 43067 h 89365"/>
                <a:gd name="connsiteX24" fmla="*/ 143069 w 270807"/>
                <a:gd name="connsiteY24" fmla="*/ 44113 h 89365"/>
                <a:gd name="connsiteX25" fmla="*/ 119677 w 270807"/>
                <a:gd name="connsiteY25" fmla="*/ 36912 h 89365"/>
                <a:gd name="connsiteX26" fmla="*/ 112154 w 270807"/>
                <a:gd name="connsiteY26" fmla="*/ 31276 h 89365"/>
                <a:gd name="connsiteX27" fmla="*/ 79458 w 270807"/>
                <a:gd name="connsiteY27" fmla="*/ 27099 h 89365"/>
                <a:gd name="connsiteX28" fmla="*/ 70700 w 270807"/>
                <a:gd name="connsiteY28" fmla="*/ 21848 h 89365"/>
                <a:gd name="connsiteX29" fmla="*/ 80111 w 270807"/>
                <a:gd name="connsiteY29" fmla="*/ 15103 h 89365"/>
                <a:gd name="connsiteX30" fmla="*/ 55511 w 270807"/>
                <a:gd name="connsiteY30" fmla="*/ 13716 h 89365"/>
                <a:gd name="connsiteX31" fmla="*/ 37486 w 270807"/>
                <a:gd name="connsiteY31" fmla="*/ 27734 h 89365"/>
                <a:gd name="connsiteX32" fmla="*/ 27091 w 270807"/>
                <a:gd name="connsiteY32" fmla="*/ 28110 h 89365"/>
                <a:gd name="connsiteX33" fmla="*/ 23495 w 270807"/>
                <a:gd name="connsiteY33" fmla="*/ 34676 h 89365"/>
                <a:gd name="connsiteX34" fmla="*/ 11079 w 270807"/>
                <a:gd name="connsiteY34" fmla="*/ 37610 h 89365"/>
                <a:gd name="connsiteX35" fmla="*/ 353 w 270807"/>
                <a:gd name="connsiteY35" fmla="*/ 35069 h 89365"/>
                <a:gd name="connsiteX36" fmla="*/ 13592 w 270807"/>
                <a:gd name="connsiteY36" fmla="*/ 26759 h 89365"/>
                <a:gd name="connsiteX37" fmla="*/ 19022 w 270807"/>
                <a:gd name="connsiteY37" fmla="*/ 17026 h 89365"/>
                <a:gd name="connsiteX38" fmla="*/ 30365 w 270807"/>
                <a:gd name="connsiteY38" fmla="*/ 11015 h 89365"/>
                <a:gd name="connsiteX39" fmla="*/ 43175 w 270807"/>
                <a:gd name="connsiteY39" fmla="*/ 5737 h 89365"/>
                <a:gd name="connsiteX40" fmla="*/ 62166 w 270807"/>
                <a:gd name="connsiteY40" fmla="*/ 3143 h 8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70807" h="89365">
                  <a:moveTo>
                    <a:pt x="68240" y="164"/>
                  </a:moveTo>
                  <a:lnTo>
                    <a:pt x="89906" y="2096"/>
                  </a:lnTo>
                  <a:lnTo>
                    <a:pt x="109613" y="2400"/>
                  </a:lnTo>
                  <a:lnTo>
                    <a:pt x="133167" y="11632"/>
                  </a:lnTo>
                  <a:lnTo>
                    <a:pt x="143150" y="21517"/>
                  </a:lnTo>
                  <a:lnTo>
                    <a:pt x="166578" y="18466"/>
                  </a:lnTo>
                  <a:lnTo>
                    <a:pt x="175461" y="24809"/>
                  </a:lnTo>
                  <a:lnTo>
                    <a:pt x="196707" y="41465"/>
                  </a:lnTo>
                  <a:lnTo>
                    <a:pt x="212317" y="53542"/>
                  </a:lnTo>
                  <a:lnTo>
                    <a:pt x="220573" y="53175"/>
                  </a:lnTo>
                  <a:lnTo>
                    <a:pt x="235539" y="58632"/>
                  </a:lnTo>
                  <a:lnTo>
                    <a:pt x="233714" y="66137"/>
                  </a:lnTo>
                  <a:lnTo>
                    <a:pt x="252195" y="67237"/>
                  </a:lnTo>
                  <a:lnTo>
                    <a:pt x="271160" y="78133"/>
                  </a:lnTo>
                  <a:lnTo>
                    <a:pt x="268181" y="84359"/>
                  </a:lnTo>
                  <a:lnTo>
                    <a:pt x="251507" y="87732"/>
                  </a:lnTo>
                  <a:lnTo>
                    <a:pt x="234627" y="89038"/>
                  </a:lnTo>
                  <a:lnTo>
                    <a:pt x="217344" y="86944"/>
                  </a:lnTo>
                  <a:lnTo>
                    <a:pt x="181428" y="89529"/>
                  </a:lnTo>
                  <a:lnTo>
                    <a:pt x="198245" y="74707"/>
                  </a:lnTo>
                  <a:lnTo>
                    <a:pt x="188021" y="67792"/>
                  </a:lnTo>
                  <a:lnTo>
                    <a:pt x="171847" y="66012"/>
                  </a:lnTo>
                  <a:lnTo>
                    <a:pt x="163188" y="58310"/>
                  </a:lnTo>
                  <a:lnTo>
                    <a:pt x="157239" y="43067"/>
                  </a:lnTo>
                  <a:lnTo>
                    <a:pt x="143069" y="44113"/>
                  </a:lnTo>
                  <a:lnTo>
                    <a:pt x="119677" y="36912"/>
                  </a:lnTo>
                  <a:lnTo>
                    <a:pt x="112154" y="31276"/>
                  </a:lnTo>
                  <a:lnTo>
                    <a:pt x="79458" y="27099"/>
                  </a:lnTo>
                  <a:lnTo>
                    <a:pt x="70700" y="21848"/>
                  </a:lnTo>
                  <a:lnTo>
                    <a:pt x="80111" y="15103"/>
                  </a:lnTo>
                  <a:lnTo>
                    <a:pt x="55511" y="13716"/>
                  </a:lnTo>
                  <a:lnTo>
                    <a:pt x="37486" y="27734"/>
                  </a:lnTo>
                  <a:lnTo>
                    <a:pt x="27091" y="28110"/>
                  </a:lnTo>
                  <a:lnTo>
                    <a:pt x="23495" y="34676"/>
                  </a:lnTo>
                  <a:lnTo>
                    <a:pt x="11079" y="37610"/>
                  </a:lnTo>
                  <a:lnTo>
                    <a:pt x="353" y="35069"/>
                  </a:lnTo>
                  <a:lnTo>
                    <a:pt x="13592" y="26759"/>
                  </a:lnTo>
                  <a:lnTo>
                    <a:pt x="19022" y="17026"/>
                  </a:lnTo>
                  <a:lnTo>
                    <a:pt x="30365" y="11015"/>
                  </a:lnTo>
                  <a:lnTo>
                    <a:pt x="43175" y="5737"/>
                  </a:lnTo>
                  <a:lnTo>
                    <a:pt x="62166" y="314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6646745" y="3707893"/>
              <a:ext cx="58181" cy="33572"/>
            </a:xfrm>
            <a:custGeom>
              <a:avLst/>
              <a:gdLst>
                <a:gd name="connsiteX0" fmla="*/ 41722 w 58181"/>
                <a:gd name="connsiteY0" fmla="*/ 13198 h 33572"/>
                <a:gd name="connsiteX1" fmla="*/ 58664 w 58181"/>
                <a:gd name="connsiteY1" fmla="*/ 146 h 33572"/>
                <a:gd name="connsiteX2" fmla="*/ 35862 w 58181"/>
                <a:gd name="connsiteY2" fmla="*/ 9307 h 33572"/>
                <a:gd name="connsiteX3" fmla="*/ 17792 w 58181"/>
                <a:gd name="connsiteY3" fmla="*/ 8886 h 33572"/>
                <a:gd name="connsiteX4" fmla="*/ 14169 w 58181"/>
                <a:gd name="connsiteY4" fmla="*/ 16266 h 33572"/>
                <a:gd name="connsiteX5" fmla="*/ 12398 w 58181"/>
                <a:gd name="connsiteY5" fmla="*/ 16427 h 33572"/>
                <a:gd name="connsiteX6" fmla="*/ 482 w 58181"/>
                <a:gd name="connsiteY6" fmla="*/ 17554 h 33572"/>
                <a:gd name="connsiteX7" fmla="*/ 6342 w 58181"/>
                <a:gd name="connsiteY7" fmla="*/ 29783 h 33572"/>
                <a:gd name="connsiteX8" fmla="*/ 18624 w 58181"/>
                <a:gd name="connsiteY8" fmla="*/ 33719 h 33572"/>
                <a:gd name="connsiteX9" fmla="*/ 44334 w 58181"/>
                <a:gd name="connsiteY9" fmla="*/ 21374 h 33572"/>
                <a:gd name="connsiteX10" fmla="*/ 43546 w 58181"/>
                <a:gd name="connsiteY10" fmla="*/ 18923 h 3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181" h="33572">
                  <a:moveTo>
                    <a:pt x="41722" y="13198"/>
                  </a:moveTo>
                  <a:lnTo>
                    <a:pt x="58664" y="146"/>
                  </a:lnTo>
                  <a:lnTo>
                    <a:pt x="35862" y="9307"/>
                  </a:lnTo>
                  <a:lnTo>
                    <a:pt x="17792" y="8886"/>
                  </a:lnTo>
                  <a:lnTo>
                    <a:pt x="14169" y="16266"/>
                  </a:lnTo>
                  <a:lnTo>
                    <a:pt x="12398" y="16427"/>
                  </a:lnTo>
                  <a:lnTo>
                    <a:pt x="482" y="17554"/>
                  </a:lnTo>
                  <a:lnTo>
                    <a:pt x="6342" y="29783"/>
                  </a:lnTo>
                  <a:lnTo>
                    <a:pt x="18624" y="33719"/>
                  </a:lnTo>
                  <a:lnTo>
                    <a:pt x="44334" y="21374"/>
                  </a:lnTo>
                  <a:lnTo>
                    <a:pt x="43546" y="1892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6144688" y="3172058"/>
              <a:ext cx="165867" cy="99384"/>
            </a:xfrm>
            <a:custGeom>
              <a:avLst/>
              <a:gdLst>
                <a:gd name="connsiteX0" fmla="*/ 118856 w 165867"/>
                <a:gd name="connsiteY0" fmla="*/ 97933 h 99384"/>
                <a:gd name="connsiteX1" fmla="*/ 107298 w 165867"/>
                <a:gd name="connsiteY1" fmla="*/ 90777 h 99384"/>
                <a:gd name="connsiteX2" fmla="*/ 95517 w 165867"/>
                <a:gd name="connsiteY2" fmla="*/ 92745 h 99384"/>
                <a:gd name="connsiteX3" fmla="*/ 76042 w 165867"/>
                <a:gd name="connsiteY3" fmla="*/ 81134 h 99384"/>
                <a:gd name="connsiteX4" fmla="*/ 67213 w 165867"/>
                <a:gd name="connsiteY4" fmla="*/ 83987 h 99384"/>
                <a:gd name="connsiteX5" fmla="*/ 53106 w 165867"/>
                <a:gd name="connsiteY5" fmla="*/ 99508 h 99384"/>
                <a:gd name="connsiteX6" fmla="*/ 34473 w 165867"/>
                <a:gd name="connsiteY6" fmla="*/ 87306 h 99384"/>
                <a:gd name="connsiteX7" fmla="*/ 20312 w 165867"/>
                <a:gd name="connsiteY7" fmla="*/ 70882 h 99384"/>
                <a:gd name="connsiteX8" fmla="*/ 7511 w 165867"/>
                <a:gd name="connsiteY8" fmla="*/ 61641 h 99384"/>
                <a:gd name="connsiteX9" fmla="*/ 4854 w 165867"/>
                <a:gd name="connsiteY9" fmla="*/ 45316 h 99384"/>
                <a:gd name="connsiteX10" fmla="*/ 462 w 165867"/>
                <a:gd name="connsiteY10" fmla="*/ 33723 h 99384"/>
                <a:gd name="connsiteX11" fmla="*/ 18693 w 165867"/>
                <a:gd name="connsiteY11" fmla="*/ 25189 h 99384"/>
                <a:gd name="connsiteX12" fmla="*/ 28005 w 165867"/>
                <a:gd name="connsiteY12" fmla="*/ 15367 h 99384"/>
                <a:gd name="connsiteX13" fmla="*/ 46021 w 165867"/>
                <a:gd name="connsiteY13" fmla="*/ 7691 h 99384"/>
                <a:gd name="connsiteX14" fmla="*/ 52310 w 165867"/>
                <a:gd name="connsiteY14" fmla="*/ 123 h 99384"/>
                <a:gd name="connsiteX15" fmla="*/ 58921 w 165867"/>
                <a:gd name="connsiteY15" fmla="*/ 4694 h 99384"/>
                <a:gd name="connsiteX16" fmla="*/ 70111 w 165867"/>
                <a:gd name="connsiteY16" fmla="*/ 544 h 99384"/>
                <a:gd name="connsiteX17" fmla="*/ 82009 w 165867"/>
                <a:gd name="connsiteY17" fmla="*/ 13327 h 99384"/>
                <a:gd name="connsiteX18" fmla="*/ 100759 w 165867"/>
                <a:gd name="connsiteY18" fmla="*/ 16771 h 99384"/>
                <a:gd name="connsiteX19" fmla="*/ 99194 w 165867"/>
                <a:gd name="connsiteY19" fmla="*/ 27604 h 99384"/>
                <a:gd name="connsiteX20" fmla="*/ 112818 w 165867"/>
                <a:gd name="connsiteY20" fmla="*/ 35700 h 99384"/>
                <a:gd name="connsiteX21" fmla="*/ 116557 w 165867"/>
                <a:gd name="connsiteY21" fmla="*/ 25582 h 99384"/>
                <a:gd name="connsiteX22" fmla="*/ 133768 w 165867"/>
                <a:gd name="connsiteY22" fmla="*/ 29975 h 99384"/>
                <a:gd name="connsiteX23" fmla="*/ 136138 w 165867"/>
                <a:gd name="connsiteY23" fmla="*/ 42203 h 99384"/>
                <a:gd name="connsiteX24" fmla="*/ 154789 w 165867"/>
                <a:gd name="connsiteY24" fmla="*/ 44565 h 99384"/>
                <a:gd name="connsiteX25" fmla="*/ 166330 w 165867"/>
                <a:gd name="connsiteY25" fmla="*/ 63618 h 99384"/>
                <a:gd name="connsiteX26" fmla="*/ 158851 w 165867"/>
                <a:gd name="connsiteY26" fmla="*/ 63663 h 99384"/>
                <a:gd name="connsiteX27" fmla="*/ 154969 w 165867"/>
                <a:gd name="connsiteY27" fmla="*/ 70587 h 99384"/>
                <a:gd name="connsiteX28" fmla="*/ 149208 w 165867"/>
                <a:gd name="connsiteY28" fmla="*/ 72251 h 99384"/>
                <a:gd name="connsiteX29" fmla="*/ 147571 w 165867"/>
                <a:gd name="connsiteY29" fmla="*/ 80955 h 99384"/>
                <a:gd name="connsiteX30" fmla="*/ 142767 w 165867"/>
                <a:gd name="connsiteY30" fmla="*/ 82762 h 99384"/>
                <a:gd name="connsiteX31" fmla="*/ 142087 w 165867"/>
                <a:gd name="connsiteY31" fmla="*/ 86304 h 99384"/>
                <a:gd name="connsiteX32" fmla="*/ 133526 w 165867"/>
                <a:gd name="connsiteY32" fmla="*/ 90231 h 99384"/>
                <a:gd name="connsiteX33" fmla="*/ 122416 w 165867"/>
                <a:gd name="connsiteY33" fmla="*/ 89596 h 9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65867" h="99384">
                  <a:moveTo>
                    <a:pt x="118856" y="97933"/>
                  </a:moveTo>
                  <a:lnTo>
                    <a:pt x="107298" y="90777"/>
                  </a:lnTo>
                  <a:lnTo>
                    <a:pt x="95517" y="92745"/>
                  </a:lnTo>
                  <a:lnTo>
                    <a:pt x="76042" y="81134"/>
                  </a:lnTo>
                  <a:lnTo>
                    <a:pt x="67213" y="83987"/>
                  </a:lnTo>
                  <a:lnTo>
                    <a:pt x="53106" y="99508"/>
                  </a:lnTo>
                  <a:lnTo>
                    <a:pt x="34473" y="87306"/>
                  </a:lnTo>
                  <a:lnTo>
                    <a:pt x="20312" y="70882"/>
                  </a:lnTo>
                  <a:lnTo>
                    <a:pt x="7511" y="61641"/>
                  </a:lnTo>
                  <a:lnTo>
                    <a:pt x="4854" y="45316"/>
                  </a:lnTo>
                  <a:lnTo>
                    <a:pt x="462" y="33723"/>
                  </a:lnTo>
                  <a:lnTo>
                    <a:pt x="18693" y="25189"/>
                  </a:lnTo>
                  <a:lnTo>
                    <a:pt x="28005" y="15367"/>
                  </a:lnTo>
                  <a:lnTo>
                    <a:pt x="46021" y="7691"/>
                  </a:lnTo>
                  <a:lnTo>
                    <a:pt x="52310" y="123"/>
                  </a:lnTo>
                  <a:lnTo>
                    <a:pt x="58921" y="4694"/>
                  </a:lnTo>
                  <a:lnTo>
                    <a:pt x="70111" y="544"/>
                  </a:lnTo>
                  <a:lnTo>
                    <a:pt x="82009" y="13327"/>
                  </a:lnTo>
                  <a:lnTo>
                    <a:pt x="100759" y="16771"/>
                  </a:lnTo>
                  <a:lnTo>
                    <a:pt x="99194" y="27604"/>
                  </a:lnTo>
                  <a:lnTo>
                    <a:pt x="112818" y="35700"/>
                  </a:lnTo>
                  <a:lnTo>
                    <a:pt x="116557" y="25582"/>
                  </a:lnTo>
                  <a:lnTo>
                    <a:pt x="133768" y="29975"/>
                  </a:lnTo>
                  <a:lnTo>
                    <a:pt x="136138" y="42203"/>
                  </a:lnTo>
                  <a:lnTo>
                    <a:pt x="154789" y="44565"/>
                  </a:lnTo>
                  <a:lnTo>
                    <a:pt x="166330" y="63618"/>
                  </a:lnTo>
                  <a:lnTo>
                    <a:pt x="158851" y="63663"/>
                  </a:lnTo>
                  <a:lnTo>
                    <a:pt x="154969" y="70587"/>
                  </a:lnTo>
                  <a:lnTo>
                    <a:pt x="149208" y="72251"/>
                  </a:lnTo>
                  <a:lnTo>
                    <a:pt x="147571" y="80955"/>
                  </a:lnTo>
                  <a:lnTo>
                    <a:pt x="142767" y="82762"/>
                  </a:lnTo>
                  <a:lnTo>
                    <a:pt x="142087" y="86304"/>
                  </a:lnTo>
                  <a:lnTo>
                    <a:pt x="133526" y="90231"/>
                  </a:lnTo>
                  <a:lnTo>
                    <a:pt x="122416" y="8959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5987891" y="3011003"/>
              <a:ext cx="226446" cy="307197"/>
            </a:xfrm>
            <a:custGeom>
              <a:avLst/>
              <a:gdLst>
                <a:gd name="connsiteX0" fmla="*/ 99107 w 226446"/>
                <a:gd name="connsiteY0" fmla="*/ 121 h 307197"/>
                <a:gd name="connsiteX1" fmla="*/ 99554 w 226446"/>
                <a:gd name="connsiteY1" fmla="*/ 16894 h 307197"/>
                <a:gd name="connsiteX2" fmla="*/ 124906 w 226446"/>
                <a:gd name="connsiteY2" fmla="*/ 26931 h 307197"/>
                <a:gd name="connsiteX3" fmla="*/ 124637 w 226446"/>
                <a:gd name="connsiteY3" fmla="*/ 42111 h 307197"/>
                <a:gd name="connsiteX4" fmla="*/ 150132 w 226446"/>
                <a:gd name="connsiteY4" fmla="*/ 34096 h 307197"/>
                <a:gd name="connsiteX5" fmla="*/ 164239 w 226446"/>
                <a:gd name="connsiteY5" fmla="*/ 22341 h 307197"/>
                <a:gd name="connsiteX6" fmla="*/ 192560 w 226446"/>
                <a:gd name="connsiteY6" fmla="*/ 39266 h 307197"/>
                <a:gd name="connsiteX7" fmla="*/ 204395 w 226446"/>
                <a:gd name="connsiteY7" fmla="*/ 52801 h 307197"/>
                <a:gd name="connsiteX8" fmla="*/ 210264 w 226446"/>
                <a:gd name="connsiteY8" fmla="*/ 74207 h 307197"/>
                <a:gd name="connsiteX9" fmla="*/ 203268 w 226446"/>
                <a:gd name="connsiteY9" fmla="*/ 85336 h 307197"/>
                <a:gd name="connsiteX10" fmla="*/ 212375 w 226446"/>
                <a:gd name="connsiteY10" fmla="*/ 100087 h 307197"/>
                <a:gd name="connsiteX11" fmla="*/ 218583 w 226446"/>
                <a:gd name="connsiteY11" fmla="*/ 121994 h 307197"/>
                <a:gd name="connsiteX12" fmla="*/ 216624 w 226446"/>
                <a:gd name="connsiteY12" fmla="*/ 135976 h 307197"/>
                <a:gd name="connsiteX13" fmla="*/ 226902 w 226446"/>
                <a:gd name="connsiteY13" fmla="*/ 161596 h 307197"/>
                <a:gd name="connsiteX14" fmla="*/ 215712 w 226446"/>
                <a:gd name="connsiteY14" fmla="*/ 165747 h 307197"/>
                <a:gd name="connsiteX15" fmla="*/ 209101 w 226446"/>
                <a:gd name="connsiteY15" fmla="*/ 161176 h 307197"/>
                <a:gd name="connsiteX16" fmla="*/ 202812 w 226446"/>
                <a:gd name="connsiteY16" fmla="*/ 168743 h 307197"/>
                <a:gd name="connsiteX17" fmla="*/ 184796 w 226446"/>
                <a:gd name="connsiteY17" fmla="*/ 176419 h 307197"/>
                <a:gd name="connsiteX18" fmla="*/ 175484 w 226446"/>
                <a:gd name="connsiteY18" fmla="*/ 186241 h 307197"/>
                <a:gd name="connsiteX19" fmla="*/ 157253 w 226446"/>
                <a:gd name="connsiteY19" fmla="*/ 194775 h 307197"/>
                <a:gd name="connsiteX20" fmla="*/ 161645 w 226446"/>
                <a:gd name="connsiteY20" fmla="*/ 206368 h 307197"/>
                <a:gd name="connsiteX21" fmla="*/ 164302 w 226446"/>
                <a:gd name="connsiteY21" fmla="*/ 222694 h 307197"/>
                <a:gd name="connsiteX22" fmla="*/ 177103 w 226446"/>
                <a:gd name="connsiteY22" fmla="*/ 231934 h 307197"/>
                <a:gd name="connsiteX23" fmla="*/ 191264 w 226446"/>
                <a:gd name="connsiteY23" fmla="*/ 248358 h 307197"/>
                <a:gd name="connsiteX24" fmla="*/ 182417 w 226446"/>
                <a:gd name="connsiteY24" fmla="*/ 265811 h 307197"/>
                <a:gd name="connsiteX25" fmla="*/ 173408 w 226446"/>
                <a:gd name="connsiteY25" fmla="*/ 270588 h 307197"/>
                <a:gd name="connsiteX26" fmla="*/ 176960 w 226446"/>
                <a:gd name="connsiteY26" fmla="*/ 294920 h 307197"/>
                <a:gd name="connsiteX27" fmla="*/ 174625 w 226446"/>
                <a:gd name="connsiteY27" fmla="*/ 301217 h 307197"/>
                <a:gd name="connsiteX28" fmla="*/ 166807 w 226446"/>
                <a:gd name="connsiteY28" fmla="*/ 293623 h 307197"/>
                <a:gd name="connsiteX29" fmla="*/ 154775 w 226446"/>
                <a:gd name="connsiteY29" fmla="*/ 292486 h 307197"/>
                <a:gd name="connsiteX30" fmla="*/ 136848 w 226446"/>
                <a:gd name="connsiteY30" fmla="*/ 299142 h 307197"/>
                <a:gd name="connsiteX31" fmla="*/ 114726 w 226446"/>
                <a:gd name="connsiteY31" fmla="*/ 297559 h 307197"/>
                <a:gd name="connsiteX32" fmla="*/ 111157 w 226446"/>
                <a:gd name="connsiteY32" fmla="*/ 307318 h 307197"/>
                <a:gd name="connsiteX33" fmla="*/ 98463 w 226446"/>
                <a:gd name="connsiteY33" fmla="*/ 297049 h 307197"/>
                <a:gd name="connsiteX34" fmla="*/ 90895 w 226446"/>
                <a:gd name="connsiteY34" fmla="*/ 299088 h 307197"/>
                <a:gd name="connsiteX35" fmla="*/ 64014 w 226446"/>
                <a:gd name="connsiteY35" fmla="*/ 287737 h 307197"/>
                <a:gd name="connsiteX36" fmla="*/ 58861 w 226446"/>
                <a:gd name="connsiteY36" fmla="*/ 295814 h 307197"/>
                <a:gd name="connsiteX37" fmla="*/ 37526 w 226446"/>
                <a:gd name="connsiteY37" fmla="*/ 295555 h 307197"/>
                <a:gd name="connsiteX38" fmla="*/ 40711 w 226446"/>
                <a:gd name="connsiteY38" fmla="*/ 268942 h 307197"/>
                <a:gd name="connsiteX39" fmla="*/ 53396 w 226446"/>
                <a:gd name="connsiteY39" fmla="*/ 243000 h 307197"/>
                <a:gd name="connsiteX40" fmla="*/ 17256 w 226446"/>
                <a:gd name="connsiteY40" fmla="*/ 235969 h 307197"/>
                <a:gd name="connsiteX41" fmla="*/ 5421 w 226446"/>
                <a:gd name="connsiteY41" fmla="*/ 225923 h 307197"/>
                <a:gd name="connsiteX42" fmla="*/ 6834 w 226446"/>
                <a:gd name="connsiteY42" fmla="*/ 208971 h 307197"/>
                <a:gd name="connsiteX43" fmla="*/ 1825 w 226446"/>
                <a:gd name="connsiteY43" fmla="*/ 200178 h 307197"/>
                <a:gd name="connsiteX44" fmla="*/ 4670 w 226446"/>
                <a:gd name="connsiteY44" fmla="*/ 173628 h 307197"/>
                <a:gd name="connsiteX45" fmla="*/ 456 w 226446"/>
                <a:gd name="connsiteY45" fmla="*/ 131673 h 307197"/>
                <a:gd name="connsiteX46" fmla="*/ 15529 w 226446"/>
                <a:gd name="connsiteY46" fmla="*/ 131655 h 307197"/>
                <a:gd name="connsiteX47" fmla="*/ 21880 w 226446"/>
                <a:gd name="connsiteY47" fmla="*/ 116349 h 307197"/>
                <a:gd name="connsiteX48" fmla="*/ 28133 w 226446"/>
                <a:gd name="connsiteY48" fmla="*/ 78555 h 307197"/>
                <a:gd name="connsiteX49" fmla="*/ 23446 w 226446"/>
                <a:gd name="connsiteY49" fmla="*/ 64394 h 307197"/>
                <a:gd name="connsiteX50" fmla="*/ 28348 w 226446"/>
                <a:gd name="connsiteY50" fmla="*/ 55466 h 307197"/>
                <a:gd name="connsiteX51" fmla="*/ 49307 w 226446"/>
                <a:gd name="connsiteY51" fmla="*/ 53168 h 307197"/>
                <a:gd name="connsiteX52" fmla="*/ 53959 w 226446"/>
                <a:gd name="connsiteY52" fmla="*/ 62471 h 307197"/>
                <a:gd name="connsiteX53" fmla="*/ 70991 w 226446"/>
                <a:gd name="connsiteY53" fmla="*/ 41601 h 307197"/>
                <a:gd name="connsiteX54" fmla="*/ 65257 w 226446"/>
                <a:gd name="connsiteY54" fmla="*/ 25562 h 307197"/>
                <a:gd name="connsiteX55" fmla="*/ 64103 w 226446"/>
                <a:gd name="connsiteY55" fmla="*/ 1006 h 307197"/>
                <a:gd name="connsiteX56" fmla="*/ 83059 w 226446"/>
                <a:gd name="connsiteY56" fmla="*/ 6749 h 30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26446" h="307197">
                  <a:moveTo>
                    <a:pt x="99107" y="121"/>
                  </a:moveTo>
                  <a:lnTo>
                    <a:pt x="99554" y="16894"/>
                  </a:lnTo>
                  <a:lnTo>
                    <a:pt x="124906" y="26931"/>
                  </a:lnTo>
                  <a:lnTo>
                    <a:pt x="124637" y="42111"/>
                  </a:lnTo>
                  <a:lnTo>
                    <a:pt x="150132" y="34096"/>
                  </a:lnTo>
                  <a:lnTo>
                    <a:pt x="164239" y="22341"/>
                  </a:lnTo>
                  <a:lnTo>
                    <a:pt x="192560" y="39266"/>
                  </a:lnTo>
                  <a:lnTo>
                    <a:pt x="204395" y="52801"/>
                  </a:lnTo>
                  <a:lnTo>
                    <a:pt x="210264" y="74207"/>
                  </a:lnTo>
                  <a:lnTo>
                    <a:pt x="203268" y="85336"/>
                  </a:lnTo>
                  <a:lnTo>
                    <a:pt x="212375" y="100087"/>
                  </a:lnTo>
                  <a:lnTo>
                    <a:pt x="218583" y="121994"/>
                  </a:lnTo>
                  <a:lnTo>
                    <a:pt x="216624" y="135976"/>
                  </a:lnTo>
                  <a:lnTo>
                    <a:pt x="226902" y="161596"/>
                  </a:lnTo>
                  <a:lnTo>
                    <a:pt x="215712" y="165747"/>
                  </a:lnTo>
                  <a:lnTo>
                    <a:pt x="209101" y="161176"/>
                  </a:lnTo>
                  <a:lnTo>
                    <a:pt x="202812" y="168743"/>
                  </a:lnTo>
                  <a:lnTo>
                    <a:pt x="184796" y="176419"/>
                  </a:lnTo>
                  <a:lnTo>
                    <a:pt x="175484" y="186241"/>
                  </a:lnTo>
                  <a:lnTo>
                    <a:pt x="157253" y="194775"/>
                  </a:lnTo>
                  <a:lnTo>
                    <a:pt x="161645" y="206368"/>
                  </a:lnTo>
                  <a:lnTo>
                    <a:pt x="164302" y="222694"/>
                  </a:lnTo>
                  <a:lnTo>
                    <a:pt x="177103" y="231934"/>
                  </a:lnTo>
                  <a:lnTo>
                    <a:pt x="191264" y="248358"/>
                  </a:lnTo>
                  <a:lnTo>
                    <a:pt x="182417" y="265811"/>
                  </a:lnTo>
                  <a:lnTo>
                    <a:pt x="173408" y="270588"/>
                  </a:lnTo>
                  <a:lnTo>
                    <a:pt x="176960" y="294920"/>
                  </a:lnTo>
                  <a:lnTo>
                    <a:pt x="174625" y="301217"/>
                  </a:lnTo>
                  <a:lnTo>
                    <a:pt x="166807" y="293623"/>
                  </a:lnTo>
                  <a:lnTo>
                    <a:pt x="154775" y="292486"/>
                  </a:lnTo>
                  <a:lnTo>
                    <a:pt x="136848" y="299142"/>
                  </a:lnTo>
                  <a:lnTo>
                    <a:pt x="114726" y="297559"/>
                  </a:lnTo>
                  <a:lnTo>
                    <a:pt x="111157" y="307318"/>
                  </a:lnTo>
                  <a:lnTo>
                    <a:pt x="98463" y="297049"/>
                  </a:lnTo>
                  <a:lnTo>
                    <a:pt x="90895" y="299088"/>
                  </a:lnTo>
                  <a:lnTo>
                    <a:pt x="64014" y="287737"/>
                  </a:lnTo>
                  <a:lnTo>
                    <a:pt x="58861" y="295814"/>
                  </a:lnTo>
                  <a:lnTo>
                    <a:pt x="37526" y="295555"/>
                  </a:lnTo>
                  <a:lnTo>
                    <a:pt x="40711" y="268942"/>
                  </a:lnTo>
                  <a:lnTo>
                    <a:pt x="53396" y="243000"/>
                  </a:lnTo>
                  <a:lnTo>
                    <a:pt x="17256" y="235969"/>
                  </a:lnTo>
                  <a:lnTo>
                    <a:pt x="5421" y="225923"/>
                  </a:lnTo>
                  <a:lnTo>
                    <a:pt x="6834" y="208971"/>
                  </a:lnTo>
                  <a:lnTo>
                    <a:pt x="1825" y="200178"/>
                  </a:lnTo>
                  <a:lnTo>
                    <a:pt x="4670" y="173628"/>
                  </a:lnTo>
                  <a:lnTo>
                    <a:pt x="456" y="131673"/>
                  </a:lnTo>
                  <a:lnTo>
                    <a:pt x="15529" y="131655"/>
                  </a:lnTo>
                  <a:lnTo>
                    <a:pt x="21880" y="116349"/>
                  </a:lnTo>
                  <a:lnTo>
                    <a:pt x="28133" y="78555"/>
                  </a:lnTo>
                  <a:lnTo>
                    <a:pt x="23446" y="64394"/>
                  </a:lnTo>
                  <a:lnTo>
                    <a:pt x="28348" y="55466"/>
                  </a:lnTo>
                  <a:lnTo>
                    <a:pt x="49307" y="53168"/>
                  </a:lnTo>
                  <a:lnTo>
                    <a:pt x="53959" y="62471"/>
                  </a:lnTo>
                  <a:lnTo>
                    <a:pt x="70991" y="41601"/>
                  </a:lnTo>
                  <a:lnTo>
                    <a:pt x="65257" y="25562"/>
                  </a:lnTo>
                  <a:lnTo>
                    <a:pt x="64103" y="1006"/>
                  </a:lnTo>
                  <a:lnTo>
                    <a:pt x="83059" y="674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6882638" y="4342057"/>
              <a:ext cx="41543" cy="45130"/>
            </a:xfrm>
            <a:custGeom>
              <a:avLst/>
              <a:gdLst>
                <a:gd name="connsiteX0" fmla="*/ 36096 w 41543"/>
                <a:gd name="connsiteY0" fmla="*/ 176 h 45130"/>
                <a:gd name="connsiteX1" fmla="*/ 42036 w 41543"/>
                <a:gd name="connsiteY1" fmla="*/ 8074 h 45130"/>
                <a:gd name="connsiteX2" fmla="*/ 41249 w 41543"/>
                <a:gd name="connsiteY2" fmla="*/ 18657 h 45130"/>
                <a:gd name="connsiteX3" fmla="*/ 26936 w 41543"/>
                <a:gd name="connsiteY3" fmla="*/ 24749 h 45130"/>
                <a:gd name="connsiteX4" fmla="*/ 37706 w 41543"/>
                <a:gd name="connsiteY4" fmla="*/ 31717 h 45130"/>
                <a:gd name="connsiteX5" fmla="*/ 28465 w 41543"/>
                <a:gd name="connsiteY5" fmla="*/ 45306 h 45130"/>
                <a:gd name="connsiteX6" fmla="*/ 22901 w 41543"/>
                <a:gd name="connsiteY6" fmla="*/ 40779 h 45130"/>
                <a:gd name="connsiteX7" fmla="*/ 16863 w 41543"/>
                <a:gd name="connsiteY7" fmla="*/ 42586 h 45130"/>
                <a:gd name="connsiteX8" fmla="*/ 2855 w 41543"/>
                <a:gd name="connsiteY8" fmla="*/ 42157 h 45130"/>
                <a:gd name="connsiteX9" fmla="*/ 2452 w 41543"/>
                <a:gd name="connsiteY9" fmla="*/ 34428 h 45130"/>
                <a:gd name="connsiteX10" fmla="*/ 493 w 41543"/>
                <a:gd name="connsiteY10" fmla="*/ 27415 h 45130"/>
                <a:gd name="connsiteX11" fmla="*/ 8982 w 41543"/>
                <a:gd name="connsiteY11" fmla="*/ 15472 h 45130"/>
                <a:gd name="connsiteX12" fmla="*/ 17794 w 41543"/>
                <a:gd name="connsiteY12" fmla="*/ 4192 h 45130"/>
                <a:gd name="connsiteX13" fmla="*/ 28537 w 41543"/>
                <a:gd name="connsiteY13" fmla="*/ 6411 h 4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43" h="45130">
                  <a:moveTo>
                    <a:pt x="36096" y="176"/>
                  </a:moveTo>
                  <a:lnTo>
                    <a:pt x="42036" y="8074"/>
                  </a:lnTo>
                  <a:lnTo>
                    <a:pt x="41249" y="18657"/>
                  </a:lnTo>
                  <a:lnTo>
                    <a:pt x="26936" y="24749"/>
                  </a:lnTo>
                  <a:lnTo>
                    <a:pt x="37706" y="31717"/>
                  </a:lnTo>
                  <a:lnTo>
                    <a:pt x="28465" y="45306"/>
                  </a:lnTo>
                  <a:lnTo>
                    <a:pt x="22901" y="40779"/>
                  </a:lnTo>
                  <a:lnTo>
                    <a:pt x="16863" y="42586"/>
                  </a:lnTo>
                  <a:lnTo>
                    <a:pt x="2855" y="42157"/>
                  </a:lnTo>
                  <a:lnTo>
                    <a:pt x="2452" y="34428"/>
                  </a:lnTo>
                  <a:lnTo>
                    <a:pt x="493" y="27415"/>
                  </a:lnTo>
                  <a:lnTo>
                    <a:pt x="8982" y="15472"/>
                  </a:lnTo>
                  <a:lnTo>
                    <a:pt x="17794" y="4192"/>
                  </a:lnTo>
                  <a:lnTo>
                    <a:pt x="28537" y="641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6040598" y="2886840"/>
              <a:ext cx="115379" cy="132133"/>
            </a:xfrm>
            <a:custGeom>
              <a:avLst/>
              <a:gdLst>
                <a:gd name="connsiteX0" fmla="*/ 115835 w 115379"/>
                <a:gd name="connsiteY0" fmla="*/ 96722 h 132133"/>
                <a:gd name="connsiteX1" fmla="*/ 100780 w 115379"/>
                <a:gd name="connsiteY1" fmla="*/ 132245 h 132133"/>
                <a:gd name="connsiteX2" fmla="*/ 74534 w 115379"/>
                <a:gd name="connsiteY2" fmla="*/ 107547 h 132133"/>
                <a:gd name="connsiteX3" fmla="*/ 71036 w 115379"/>
                <a:gd name="connsiteY3" fmla="*/ 89172 h 132133"/>
                <a:gd name="connsiteX4" fmla="*/ 107829 w 115379"/>
                <a:gd name="connsiteY4" fmla="*/ 74359 h 132133"/>
                <a:gd name="connsiteX5" fmla="*/ 115835 w 115379"/>
                <a:gd name="connsiteY5" fmla="*/ 96722 h 132133"/>
                <a:gd name="connsiteX6" fmla="*/ 71242 w 115379"/>
                <a:gd name="connsiteY6" fmla="*/ 58695 h 132133"/>
                <a:gd name="connsiteX7" fmla="*/ 65114 w 115379"/>
                <a:gd name="connsiteY7" fmla="*/ 75701 h 132133"/>
                <a:gd name="connsiteX8" fmla="*/ 57645 w 115379"/>
                <a:gd name="connsiteY8" fmla="*/ 70825 h 132133"/>
                <a:gd name="connsiteX9" fmla="*/ 39584 w 115379"/>
                <a:gd name="connsiteY9" fmla="*/ 102913 h 132133"/>
                <a:gd name="connsiteX10" fmla="*/ 46400 w 115379"/>
                <a:gd name="connsiteY10" fmla="*/ 124284 h 132133"/>
                <a:gd name="connsiteX11" fmla="*/ 30352 w 115379"/>
                <a:gd name="connsiteY11" fmla="*/ 130912 h 132133"/>
                <a:gd name="connsiteX12" fmla="*/ 11396 w 115379"/>
                <a:gd name="connsiteY12" fmla="*/ 125169 h 132133"/>
                <a:gd name="connsiteX13" fmla="*/ 1216 w 115379"/>
                <a:gd name="connsiteY13" fmla="*/ 100810 h 132133"/>
                <a:gd name="connsiteX14" fmla="*/ 456 w 115379"/>
                <a:gd name="connsiteY14" fmla="*/ 55010 h 132133"/>
                <a:gd name="connsiteX15" fmla="*/ 4634 w 115379"/>
                <a:gd name="connsiteY15" fmla="*/ 42710 h 132133"/>
                <a:gd name="connsiteX16" fmla="*/ 11826 w 115379"/>
                <a:gd name="connsiteY16" fmla="*/ 28934 h 132133"/>
                <a:gd name="connsiteX17" fmla="*/ 33921 w 115379"/>
                <a:gd name="connsiteY17" fmla="*/ 26071 h 132133"/>
                <a:gd name="connsiteX18" fmla="*/ 42724 w 115379"/>
                <a:gd name="connsiteY18" fmla="*/ 13288 h 132133"/>
                <a:gd name="connsiteX19" fmla="*/ 62904 w 115379"/>
                <a:gd name="connsiteY19" fmla="*/ 111 h 132133"/>
                <a:gd name="connsiteX20" fmla="*/ 62055 w 115379"/>
                <a:gd name="connsiteY20" fmla="*/ 24049 h 132133"/>
                <a:gd name="connsiteX21" fmla="*/ 54630 w 115379"/>
                <a:gd name="connsiteY21" fmla="*/ 39042 h 132133"/>
                <a:gd name="connsiteX22" fmla="*/ 57636 w 115379"/>
                <a:gd name="connsiteY22" fmla="*/ 51825 h 132133"/>
                <a:gd name="connsiteX23" fmla="*/ 71242 w 115379"/>
                <a:gd name="connsiteY23" fmla="*/ 58695 h 13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5379" h="132133">
                  <a:moveTo>
                    <a:pt x="115835" y="96722"/>
                  </a:moveTo>
                  <a:lnTo>
                    <a:pt x="100780" y="132245"/>
                  </a:lnTo>
                  <a:lnTo>
                    <a:pt x="74534" y="107547"/>
                  </a:lnTo>
                  <a:lnTo>
                    <a:pt x="71036" y="89172"/>
                  </a:lnTo>
                  <a:lnTo>
                    <a:pt x="107829" y="74359"/>
                  </a:lnTo>
                  <a:lnTo>
                    <a:pt x="115835" y="96722"/>
                  </a:lnTo>
                  <a:close/>
                  <a:moveTo>
                    <a:pt x="71242" y="58695"/>
                  </a:moveTo>
                  <a:lnTo>
                    <a:pt x="65114" y="75701"/>
                  </a:lnTo>
                  <a:lnTo>
                    <a:pt x="57645" y="70825"/>
                  </a:lnTo>
                  <a:lnTo>
                    <a:pt x="39584" y="102913"/>
                  </a:lnTo>
                  <a:lnTo>
                    <a:pt x="46400" y="124284"/>
                  </a:lnTo>
                  <a:lnTo>
                    <a:pt x="30352" y="130912"/>
                  </a:lnTo>
                  <a:lnTo>
                    <a:pt x="11396" y="125169"/>
                  </a:lnTo>
                  <a:lnTo>
                    <a:pt x="1216" y="100810"/>
                  </a:lnTo>
                  <a:lnTo>
                    <a:pt x="456" y="55010"/>
                  </a:lnTo>
                  <a:lnTo>
                    <a:pt x="4634" y="42710"/>
                  </a:lnTo>
                  <a:lnTo>
                    <a:pt x="11826" y="28934"/>
                  </a:lnTo>
                  <a:lnTo>
                    <a:pt x="33921" y="26071"/>
                  </a:lnTo>
                  <a:lnTo>
                    <a:pt x="42724" y="13288"/>
                  </a:lnTo>
                  <a:lnTo>
                    <a:pt x="62904" y="111"/>
                  </a:lnTo>
                  <a:lnTo>
                    <a:pt x="62055" y="24049"/>
                  </a:lnTo>
                  <a:lnTo>
                    <a:pt x="54630" y="39042"/>
                  </a:lnTo>
                  <a:lnTo>
                    <a:pt x="57636" y="51825"/>
                  </a:lnTo>
                  <a:lnTo>
                    <a:pt x="71242" y="5869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4033165" y="4155311"/>
              <a:ext cx="90984" cy="60194"/>
            </a:xfrm>
            <a:custGeom>
              <a:avLst/>
              <a:gdLst>
                <a:gd name="connsiteX0" fmla="*/ 6205 w 90984"/>
                <a:gd name="connsiteY0" fmla="*/ 4685 h 60194"/>
                <a:gd name="connsiteX1" fmla="*/ 9345 w 90984"/>
                <a:gd name="connsiteY1" fmla="*/ 167 h 60194"/>
                <a:gd name="connsiteX2" fmla="*/ 28918 w 90984"/>
                <a:gd name="connsiteY2" fmla="*/ 284 h 60194"/>
                <a:gd name="connsiteX3" fmla="*/ 43776 w 90984"/>
                <a:gd name="connsiteY3" fmla="*/ 7109 h 60194"/>
                <a:gd name="connsiteX4" fmla="*/ 50387 w 90984"/>
                <a:gd name="connsiteY4" fmla="*/ 6438 h 60194"/>
                <a:gd name="connsiteX5" fmla="*/ 54940 w 90984"/>
                <a:gd name="connsiteY5" fmla="*/ 15822 h 60194"/>
                <a:gd name="connsiteX6" fmla="*/ 68672 w 90984"/>
                <a:gd name="connsiteY6" fmla="*/ 15294 h 60194"/>
                <a:gd name="connsiteX7" fmla="*/ 67858 w 90984"/>
                <a:gd name="connsiteY7" fmla="*/ 23157 h 60194"/>
                <a:gd name="connsiteX8" fmla="*/ 79013 w 90984"/>
                <a:gd name="connsiteY8" fmla="*/ 24115 h 60194"/>
                <a:gd name="connsiteX9" fmla="*/ 91349 w 90984"/>
                <a:gd name="connsiteY9" fmla="*/ 33776 h 60194"/>
                <a:gd name="connsiteX10" fmla="*/ 82027 w 90984"/>
                <a:gd name="connsiteY10" fmla="*/ 44466 h 60194"/>
                <a:gd name="connsiteX11" fmla="*/ 70103 w 90984"/>
                <a:gd name="connsiteY11" fmla="*/ 38759 h 60194"/>
                <a:gd name="connsiteX12" fmla="*/ 58590 w 90984"/>
                <a:gd name="connsiteY12" fmla="*/ 39859 h 60194"/>
                <a:gd name="connsiteX13" fmla="*/ 50333 w 90984"/>
                <a:gd name="connsiteY13" fmla="*/ 38606 h 60194"/>
                <a:gd name="connsiteX14" fmla="*/ 45816 w 90984"/>
                <a:gd name="connsiteY14" fmla="*/ 43401 h 60194"/>
                <a:gd name="connsiteX15" fmla="*/ 36181 w 90984"/>
                <a:gd name="connsiteY15" fmla="*/ 45011 h 60194"/>
                <a:gd name="connsiteX16" fmla="*/ 32362 w 90984"/>
                <a:gd name="connsiteY16" fmla="*/ 38651 h 60194"/>
                <a:gd name="connsiteX17" fmla="*/ 24078 w 90984"/>
                <a:gd name="connsiteY17" fmla="*/ 42417 h 60194"/>
                <a:gd name="connsiteX18" fmla="*/ 14033 w 90984"/>
                <a:gd name="connsiteY18" fmla="*/ 60362 h 60194"/>
                <a:gd name="connsiteX19" fmla="*/ 7574 w 90984"/>
                <a:gd name="connsiteY19" fmla="*/ 56202 h 60194"/>
                <a:gd name="connsiteX20" fmla="*/ 6304 w 90984"/>
                <a:gd name="connsiteY20" fmla="*/ 48670 h 60194"/>
                <a:gd name="connsiteX21" fmla="*/ 6822 w 90984"/>
                <a:gd name="connsiteY21" fmla="*/ 41540 h 60194"/>
                <a:gd name="connsiteX22" fmla="*/ 364 w 90984"/>
                <a:gd name="connsiteY22" fmla="*/ 33651 h 60194"/>
                <a:gd name="connsiteX23" fmla="*/ 6483 w 90984"/>
                <a:gd name="connsiteY23" fmla="*/ 29214 h 60194"/>
                <a:gd name="connsiteX24" fmla="*/ 8397 w 90984"/>
                <a:gd name="connsiteY24" fmla="*/ 19078 h 6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0984" h="60194">
                  <a:moveTo>
                    <a:pt x="6205" y="4685"/>
                  </a:moveTo>
                  <a:lnTo>
                    <a:pt x="9345" y="167"/>
                  </a:lnTo>
                  <a:lnTo>
                    <a:pt x="28918" y="284"/>
                  </a:lnTo>
                  <a:lnTo>
                    <a:pt x="43776" y="7109"/>
                  </a:lnTo>
                  <a:lnTo>
                    <a:pt x="50387" y="6438"/>
                  </a:lnTo>
                  <a:lnTo>
                    <a:pt x="54940" y="15822"/>
                  </a:lnTo>
                  <a:lnTo>
                    <a:pt x="68672" y="15294"/>
                  </a:lnTo>
                  <a:lnTo>
                    <a:pt x="67858" y="23157"/>
                  </a:lnTo>
                  <a:lnTo>
                    <a:pt x="79013" y="24115"/>
                  </a:lnTo>
                  <a:lnTo>
                    <a:pt x="91349" y="33776"/>
                  </a:lnTo>
                  <a:lnTo>
                    <a:pt x="82027" y="44466"/>
                  </a:lnTo>
                  <a:lnTo>
                    <a:pt x="70103" y="38759"/>
                  </a:lnTo>
                  <a:lnTo>
                    <a:pt x="58590" y="39859"/>
                  </a:lnTo>
                  <a:lnTo>
                    <a:pt x="50333" y="38606"/>
                  </a:lnTo>
                  <a:lnTo>
                    <a:pt x="45816" y="43401"/>
                  </a:lnTo>
                  <a:lnTo>
                    <a:pt x="36181" y="45011"/>
                  </a:lnTo>
                  <a:lnTo>
                    <a:pt x="32362" y="38651"/>
                  </a:lnTo>
                  <a:lnTo>
                    <a:pt x="24078" y="42417"/>
                  </a:lnTo>
                  <a:lnTo>
                    <a:pt x="14033" y="60362"/>
                  </a:lnTo>
                  <a:lnTo>
                    <a:pt x="7574" y="56202"/>
                  </a:lnTo>
                  <a:lnTo>
                    <a:pt x="6304" y="48670"/>
                  </a:lnTo>
                  <a:lnTo>
                    <a:pt x="6822" y="41540"/>
                  </a:lnTo>
                  <a:lnTo>
                    <a:pt x="364" y="33651"/>
                  </a:lnTo>
                  <a:lnTo>
                    <a:pt x="6483" y="29214"/>
                  </a:lnTo>
                  <a:lnTo>
                    <a:pt x="8397" y="1907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5619865" y="3663005"/>
              <a:ext cx="518794" cy="514187"/>
            </a:xfrm>
            <a:custGeom>
              <a:avLst/>
              <a:gdLst>
                <a:gd name="connsiteX0" fmla="*/ 519240 w 518794"/>
                <a:gd name="connsiteY0" fmla="*/ 396190 h 514187"/>
                <a:gd name="connsiteX1" fmla="*/ 433292 w 518794"/>
                <a:gd name="connsiteY1" fmla="*/ 447645 h 514187"/>
                <a:gd name="connsiteX2" fmla="*/ 360672 w 518794"/>
                <a:gd name="connsiteY2" fmla="*/ 499976 h 514187"/>
                <a:gd name="connsiteX3" fmla="*/ 325302 w 518794"/>
                <a:gd name="connsiteY3" fmla="*/ 511757 h 514187"/>
                <a:gd name="connsiteX4" fmla="*/ 297481 w 518794"/>
                <a:gd name="connsiteY4" fmla="*/ 514343 h 514187"/>
                <a:gd name="connsiteX5" fmla="*/ 297195 w 518794"/>
                <a:gd name="connsiteY5" fmla="*/ 497525 h 514187"/>
                <a:gd name="connsiteX6" fmla="*/ 285575 w 518794"/>
                <a:gd name="connsiteY6" fmla="*/ 493222 h 514187"/>
                <a:gd name="connsiteX7" fmla="*/ 269965 w 518794"/>
                <a:gd name="connsiteY7" fmla="*/ 485628 h 514187"/>
                <a:gd name="connsiteX8" fmla="*/ 263998 w 518794"/>
                <a:gd name="connsiteY8" fmla="*/ 473167 h 514187"/>
                <a:gd name="connsiteX9" fmla="*/ 179392 w 518794"/>
                <a:gd name="connsiteY9" fmla="*/ 414600 h 514187"/>
                <a:gd name="connsiteX10" fmla="*/ 94785 w 518794"/>
                <a:gd name="connsiteY10" fmla="*/ 355077 h 514187"/>
                <a:gd name="connsiteX11" fmla="*/ 446 w 518794"/>
                <a:gd name="connsiteY11" fmla="*/ 287762 h 514187"/>
                <a:gd name="connsiteX12" fmla="*/ 929 w 518794"/>
                <a:gd name="connsiteY12" fmla="*/ 282323 h 514187"/>
                <a:gd name="connsiteX13" fmla="*/ 920 w 518794"/>
                <a:gd name="connsiteY13" fmla="*/ 280436 h 514187"/>
                <a:gd name="connsiteX14" fmla="*/ 705 w 518794"/>
                <a:gd name="connsiteY14" fmla="*/ 246872 h 514187"/>
                <a:gd name="connsiteX15" fmla="*/ 41210 w 518794"/>
                <a:gd name="connsiteY15" fmla="*/ 225770 h 514187"/>
                <a:gd name="connsiteX16" fmla="*/ 66258 w 518794"/>
                <a:gd name="connsiteY16" fmla="*/ 221395 h 514187"/>
                <a:gd name="connsiteX17" fmla="*/ 86788 w 518794"/>
                <a:gd name="connsiteY17" fmla="*/ 213658 h 514187"/>
                <a:gd name="connsiteX18" fmla="*/ 96377 w 518794"/>
                <a:gd name="connsiteY18" fmla="*/ 199193 h 514187"/>
                <a:gd name="connsiteX19" fmla="*/ 125701 w 518794"/>
                <a:gd name="connsiteY19" fmla="*/ 187707 h 514187"/>
                <a:gd name="connsiteX20" fmla="*/ 126783 w 518794"/>
                <a:gd name="connsiteY20" fmla="*/ 166085 h 514187"/>
                <a:gd name="connsiteX21" fmla="*/ 141293 w 518794"/>
                <a:gd name="connsiteY21" fmla="*/ 163527 h 514187"/>
                <a:gd name="connsiteX22" fmla="*/ 152644 w 518794"/>
                <a:gd name="connsiteY22" fmla="*/ 152649 h 514187"/>
                <a:gd name="connsiteX23" fmla="*/ 185466 w 518794"/>
                <a:gd name="connsiteY23" fmla="*/ 147685 h 514187"/>
                <a:gd name="connsiteX24" fmla="*/ 190064 w 518794"/>
                <a:gd name="connsiteY24" fmla="*/ 136190 h 514187"/>
                <a:gd name="connsiteX25" fmla="*/ 183453 w 518794"/>
                <a:gd name="connsiteY25" fmla="*/ 129883 h 514187"/>
                <a:gd name="connsiteX26" fmla="*/ 174794 w 518794"/>
                <a:gd name="connsiteY26" fmla="*/ 98314 h 514187"/>
                <a:gd name="connsiteX27" fmla="*/ 173300 w 518794"/>
                <a:gd name="connsiteY27" fmla="*/ 79949 h 514187"/>
                <a:gd name="connsiteX28" fmla="*/ 163844 w 518794"/>
                <a:gd name="connsiteY28" fmla="*/ 60466 h 514187"/>
                <a:gd name="connsiteX29" fmla="*/ 187953 w 518794"/>
                <a:gd name="connsiteY29" fmla="*/ 43711 h 514187"/>
                <a:gd name="connsiteX30" fmla="*/ 215075 w 518794"/>
                <a:gd name="connsiteY30" fmla="*/ 38361 h 514187"/>
                <a:gd name="connsiteX31" fmla="*/ 230909 w 518794"/>
                <a:gd name="connsiteY31" fmla="*/ 25614 h 514187"/>
                <a:gd name="connsiteX32" fmla="*/ 255062 w 518794"/>
                <a:gd name="connsiteY32" fmla="*/ 16159 h 514187"/>
                <a:gd name="connsiteX33" fmla="*/ 297571 w 518794"/>
                <a:gd name="connsiteY33" fmla="*/ 10613 h 514187"/>
                <a:gd name="connsiteX34" fmla="*/ 339060 w 518794"/>
                <a:gd name="connsiteY34" fmla="*/ 8072 h 514187"/>
                <a:gd name="connsiteX35" fmla="*/ 351709 w 518794"/>
                <a:gd name="connsiteY35" fmla="*/ 12706 h 514187"/>
                <a:gd name="connsiteX36" fmla="*/ 375325 w 518794"/>
                <a:gd name="connsiteY36" fmla="*/ 397 h 514187"/>
                <a:gd name="connsiteX37" fmla="*/ 402126 w 518794"/>
                <a:gd name="connsiteY37" fmla="*/ 155 h 514187"/>
                <a:gd name="connsiteX38" fmla="*/ 412332 w 518794"/>
                <a:gd name="connsiteY38" fmla="*/ 7437 h 514187"/>
                <a:gd name="connsiteX39" fmla="*/ 429481 w 518794"/>
                <a:gd name="connsiteY39" fmla="*/ 5532 h 514187"/>
                <a:gd name="connsiteX40" fmla="*/ 424382 w 518794"/>
                <a:gd name="connsiteY40" fmla="*/ 21517 h 514187"/>
                <a:gd name="connsiteX41" fmla="*/ 428363 w 518794"/>
                <a:gd name="connsiteY41" fmla="*/ 50930 h 514187"/>
                <a:gd name="connsiteX42" fmla="*/ 422459 w 518794"/>
                <a:gd name="connsiteY42" fmla="*/ 76085 h 514187"/>
                <a:gd name="connsiteX43" fmla="*/ 407001 w 518794"/>
                <a:gd name="connsiteY43" fmla="*/ 92965 h 514187"/>
                <a:gd name="connsiteX44" fmla="*/ 409210 w 518794"/>
                <a:gd name="connsiteY44" fmla="*/ 115570 h 514187"/>
                <a:gd name="connsiteX45" fmla="*/ 429722 w 518794"/>
                <a:gd name="connsiteY45" fmla="*/ 133318 h 514187"/>
                <a:gd name="connsiteX46" fmla="*/ 429937 w 518794"/>
                <a:gd name="connsiteY46" fmla="*/ 140492 h 514187"/>
                <a:gd name="connsiteX47" fmla="*/ 445404 w 518794"/>
                <a:gd name="connsiteY47" fmla="*/ 152408 h 514187"/>
                <a:gd name="connsiteX48" fmla="*/ 456094 w 518794"/>
                <a:gd name="connsiteY48" fmla="*/ 204802 h 514187"/>
                <a:gd name="connsiteX49" fmla="*/ 464216 w 518794"/>
                <a:gd name="connsiteY49" fmla="*/ 230207 h 514187"/>
                <a:gd name="connsiteX50" fmla="*/ 465576 w 518794"/>
                <a:gd name="connsiteY50" fmla="*/ 243491 h 514187"/>
                <a:gd name="connsiteX51" fmla="*/ 461157 w 518794"/>
                <a:gd name="connsiteY51" fmla="*/ 266660 h 514187"/>
                <a:gd name="connsiteX52" fmla="*/ 462973 w 518794"/>
                <a:gd name="connsiteY52" fmla="*/ 279541 h 514187"/>
                <a:gd name="connsiteX53" fmla="*/ 459779 w 518794"/>
                <a:gd name="connsiteY53" fmla="*/ 294919 h 514187"/>
                <a:gd name="connsiteX54" fmla="*/ 461971 w 518794"/>
                <a:gd name="connsiteY54" fmla="*/ 312496 h 514187"/>
                <a:gd name="connsiteX55" fmla="*/ 452015 w 518794"/>
                <a:gd name="connsiteY55" fmla="*/ 324126 h 514187"/>
                <a:gd name="connsiteX56" fmla="*/ 466846 w 518794"/>
                <a:gd name="connsiteY56" fmla="*/ 344307 h 514187"/>
                <a:gd name="connsiteX57" fmla="*/ 467786 w 518794"/>
                <a:gd name="connsiteY57" fmla="*/ 356115 h 514187"/>
                <a:gd name="connsiteX58" fmla="*/ 476713 w 518794"/>
                <a:gd name="connsiteY58" fmla="*/ 371421 h 514187"/>
                <a:gd name="connsiteX59" fmla="*/ 488432 w 518794"/>
                <a:gd name="connsiteY59" fmla="*/ 366402 h 514187"/>
                <a:gd name="connsiteX60" fmla="*/ 508228 w 518794"/>
                <a:gd name="connsiteY60" fmla="*/ 379114 h 514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18794" h="514187">
                  <a:moveTo>
                    <a:pt x="519240" y="396190"/>
                  </a:moveTo>
                  <a:lnTo>
                    <a:pt x="433292" y="447645"/>
                  </a:lnTo>
                  <a:lnTo>
                    <a:pt x="360672" y="499976"/>
                  </a:lnTo>
                  <a:lnTo>
                    <a:pt x="325302" y="511757"/>
                  </a:lnTo>
                  <a:lnTo>
                    <a:pt x="297481" y="514343"/>
                  </a:lnTo>
                  <a:lnTo>
                    <a:pt x="297195" y="497525"/>
                  </a:lnTo>
                  <a:lnTo>
                    <a:pt x="285575" y="493222"/>
                  </a:lnTo>
                  <a:lnTo>
                    <a:pt x="269965" y="485628"/>
                  </a:lnTo>
                  <a:lnTo>
                    <a:pt x="263998" y="473167"/>
                  </a:lnTo>
                  <a:lnTo>
                    <a:pt x="179392" y="414600"/>
                  </a:lnTo>
                  <a:lnTo>
                    <a:pt x="94785" y="355077"/>
                  </a:lnTo>
                  <a:lnTo>
                    <a:pt x="446" y="287762"/>
                  </a:lnTo>
                  <a:lnTo>
                    <a:pt x="929" y="282323"/>
                  </a:lnTo>
                  <a:lnTo>
                    <a:pt x="920" y="280436"/>
                  </a:lnTo>
                  <a:lnTo>
                    <a:pt x="705" y="246872"/>
                  </a:lnTo>
                  <a:lnTo>
                    <a:pt x="41210" y="225770"/>
                  </a:lnTo>
                  <a:lnTo>
                    <a:pt x="66258" y="221395"/>
                  </a:lnTo>
                  <a:lnTo>
                    <a:pt x="86788" y="213658"/>
                  </a:lnTo>
                  <a:lnTo>
                    <a:pt x="96377" y="199193"/>
                  </a:lnTo>
                  <a:lnTo>
                    <a:pt x="125701" y="187707"/>
                  </a:lnTo>
                  <a:lnTo>
                    <a:pt x="126783" y="166085"/>
                  </a:lnTo>
                  <a:lnTo>
                    <a:pt x="141293" y="163527"/>
                  </a:lnTo>
                  <a:lnTo>
                    <a:pt x="152644" y="152649"/>
                  </a:lnTo>
                  <a:lnTo>
                    <a:pt x="185466" y="147685"/>
                  </a:lnTo>
                  <a:lnTo>
                    <a:pt x="190064" y="136190"/>
                  </a:lnTo>
                  <a:lnTo>
                    <a:pt x="183453" y="129883"/>
                  </a:lnTo>
                  <a:lnTo>
                    <a:pt x="174794" y="98314"/>
                  </a:lnTo>
                  <a:lnTo>
                    <a:pt x="173300" y="79949"/>
                  </a:lnTo>
                  <a:lnTo>
                    <a:pt x="163844" y="60466"/>
                  </a:lnTo>
                  <a:lnTo>
                    <a:pt x="187953" y="43711"/>
                  </a:lnTo>
                  <a:lnTo>
                    <a:pt x="215075" y="38361"/>
                  </a:lnTo>
                  <a:lnTo>
                    <a:pt x="230909" y="25614"/>
                  </a:lnTo>
                  <a:lnTo>
                    <a:pt x="255062" y="16159"/>
                  </a:lnTo>
                  <a:lnTo>
                    <a:pt x="297571" y="10613"/>
                  </a:lnTo>
                  <a:lnTo>
                    <a:pt x="339060" y="8072"/>
                  </a:lnTo>
                  <a:lnTo>
                    <a:pt x="351709" y="12706"/>
                  </a:lnTo>
                  <a:lnTo>
                    <a:pt x="375325" y="397"/>
                  </a:lnTo>
                  <a:lnTo>
                    <a:pt x="402126" y="155"/>
                  </a:lnTo>
                  <a:lnTo>
                    <a:pt x="412332" y="7437"/>
                  </a:lnTo>
                  <a:lnTo>
                    <a:pt x="429481" y="5532"/>
                  </a:lnTo>
                  <a:lnTo>
                    <a:pt x="424382" y="21517"/>
                  </a:lnTo>
                  <a:lnTo>
                    <a:pt x="428363" y="50930"/>
                  </a:lnTo>
                  <a:lnTo>
                    <a:pt x="422459" y="76085"/>
                  </a:lnTo>
                  <a:lnTo>
                    <a:pt x="407001" y="92965"/>
                  </a:lnTo>
                  <a:lnTo>
                    <a:pt x="409210" y="115570"/>
                  </a:lnTo>
                  <a:lnTo>
                    <a:pt x="429722" y="133318"/>
                  </a:lnTo>
                  <a:lnTo>
                    <a:pt x="429937" y="140492"/>
                  </a:lnTo>
                  <a:lnTo>
                    <a:pt x="445404" y="152408"/>
                  </a:lnTo>
                  <a:lnTo>
                    <a:pt x="456094" y="204802"/>
                  </a:lnTo>
                  <a:lnTo>
                    <a:pt x="464216" y="230207"/>
                  </a:lnTo>
                  <a:lnTo>
                    <a:pt x="465576" y="243491"/>
                  </a:lnTo>
                  <a:lnTo>
                    <a:pt x="461157" y="266660"/>
                  </a:lnTo>
                  <a:lnTo>
                    <a:pt x="462973" y="279541"/>
                  </a:lnTo>
                  <a:lnTo>
                    <a:pt x="459779" y="294919"/>
                  </a:lnTo>
                  <a:lnTo>
                    <a:pt x="461971" y="312496"/>
                  </a:lnTo>
                  <a:lnTo>
                    <a:pt x="452015" y="324126"/>
                  </a:lnTo>
                  <a:lnTo>
                    <a:pt x="466846" y="344307"/>
                  </a:lnTo>
                  <a:lnTo>
                    <a:pt x="467786" y="356115"/>
                  </a:lnTo>
                  <a:lnTo>
                    <a:pt x="476713" y="371421"/>
                  </a:lnTo>
                  <a:lnTo>
                    <a:pt x="488432" y="366402"/>
                  </a:lnTo>
                  <a:lnTo>
                    <a:pt x="508228" y="37911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3806862" y="4626703"/>
              <a:ext cx="143825" cy="158111"/>
            </a:xfrm>
            <a:custGeom>
              <a:avLst/>
              <a:gdLst>
                <a:gd name="connsiteX0" fmla="*/ 17047 w 143825"/>
                <a:gd name="connsiteY0" fmla="*/ 119479 h 158111"/>
                <a:gd name="connsiteX1" fmla="*/ 30394 w 143825"/>
                <a:gd name="connsiteY1" fmla="*/ 100828 h 158111"/>
                <a:gd name="connsiteX2" fmla="*/ 24964 w 143825"/>
                <a:gd name="connsiteY2" fmla="*/ 89941 h 158111"/>
                <a:gd name="connsiteX3" fmla="*/ 15383 w 143825"/>
                <a:gd name="connsiteY3" fmla="*/ 101517 h 158111"/>
                <a:gd name="connsiteX4" fmla="*/ 355 w 143825"/>
                <a:gd name="connsiteY4" fmla="*/ 90594 h 158111"/>
                <a:gd name="connsiteX5" fmla="*/ 5445 w 143825"/>
                <a:gd name="connsiteY5" fmla="*/ 83563 h 158111"/>
                <a:gd name="connsiteX6" fmla="*/ 1213 w 143825"/>
                <a:gd name="connsiteY6" fmla="*/ 60949 h 158111"/>
                <a:gd name="connsiteX7" fmla="*/ 9998 w 143825"/>
                <a:gd name="connsiteY7" fmla="*/ 57183 h 158111"/>
                <a:gd name="connsiteX8" fmla="*/ 14614 w 143825"/>
                <a:gd name="connsiteY8" fmla="*/ 41662 h 158111"/>
                <a:gd name="connsiteX9" fmla="*/ 24105 w 143825"/>
                <a:gd name="connsiteY9" fmla="*/ 25623 h 158111"/>
                <a:gd name="connsiteX10" fmla="*/ 22360 w 143825"/>
                <a:gd name="connsiteY10" fmla="*/ 15452 h 158111"/>
                <a:gd name="connsiteX11" fmla="*/ 36101 w 143825"/>
                <a:gd name="connsiteY11" fmla="*/ 10103 h 158111"/>
                <a:gd name="connsiteX12" fmla="*/ 53339 w 143825"/>
                <a:gd name="connsiteY12" fmla="*/ 191 h 158111"/>
                <a:gd name="connsiteX13" fmla="*/ 78431 w 143825"/>
                <a:gd name="connsiteY13" fmla="*/ 14414 h 158111"/>
                <a:gd name="connsiteX14" fmla="*/ 83100 w 143825"/>
                <a:gd name="connsiteY14" fmla="*/ 14021 h 158111"/>
                <a:gd name="connsiteX15" fmla="*/ 89219 w 143825"/>
                <a:gd name="connsiteY15" fmla="*/ 24738 h 158111"/>
                <a:gd name="connsiteX16" fmla="*/ 110501 w 143825"/>
                <a:gd name="connsiteY16" fmla="*/ 28191 h 158111"/>
                <a:gd name="connsiteX17" fmla="*/ 117630 w 143825"/>
                <a:gd name="connsiteY17" fmla="*/ 24237 h 158111"/>
                <a:gd name="connsiteX18" fmla="*/ 129939 w 143825"/>
                <a:gd name="connsiteY18" fmla="*/ 32484 h 158111"/>
                <a:gd name="connsiteX19" fmla="*/ 140674 w 143825"/>
                <a:gd name="connsiteY19" fmla="*/ 38388 h 158111"/>
                <a:gd name="connsiteX20" fmla="*/ 144180 w 143825"/>
                <a:gd name="connsiteY20" fmla="*/ 57308 h 158111"/>
                <a:gd name="connsiteX21" fmla="*/ 136371 w 143825"/>
                <a:gd name="connsiteY21" fmla="*/ 73508 h 158111"/>
                <a:gd name="connsiteX22" fmla="*/ 109015 w 143825"/>
                <a:gd name="connsiteY22" fmla="*/ 99612 h 158111"/>
                <a:gd name="connsiteX23" fmla="*/ 78860 w 143825"/>
                <a:gd name="connsiteY23" fmla="*/ 109451 h 158111"/>
                <a:gd name="connsiteX24" fmla="*/ 63492 w 143825"/>
                <a:gd name="connsiteY24" fmla="*/ 131171 h 158111"/>
                <a:gd name="connsiteX25" fmla="*/ 58742 w 143825"/>
                <a:gd name="connsiteY25" fmla="*/ 148016 h 158111"/>
                <a:gd name="connsiteX26" fmla="*/ 44563 w 143825"/>
                <a:gd name="connsiteY26" fmla="*/ 158303 h 158111"/>
                <a:gd name="connsiteX27" fmla="*/ 34034 w 143825"/>
                <a:gd name="connsiteY27" fmla="*/ 145681 h 158111"/>
                <a:gd name="connsiteX28" fmla="*/ 23908 w 143825"/>
                <a:gd name="connsiteY28" fmla="*/ 142979 h 158111"/>
                <a:gd name="connsiteX29" fmla="*/ 13540 w 143825"/>
                <a:gd name="connsiteY29" fmla="*/ 144974 h 158111"/>
                <a:gd name="connsiteX30" fmla="*/ 12860 w 143825"/>
                <a:gd name="connsiteY30" fmla="*/ 135814 h 158111"/>
                <a:gd name="connsiteX31" fmla="*/ 20017 w 143825"/>
                <a:gd name="connsiteY31" fmla="*/ 129865 h 158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3825" h="158111">
                  <a:moveTo>
                    <a:pt x="17047" y="119479"/>
                  </a:moveTo>
                  <a:lnTo>
                    <a:pt x="30394" y="100828"/>
                  </a:lnTo>
                  <a:lnTo>
                    <a:pt x="24964" y="89941"/>
                  </a:lnTo>
                  <a:lnTo>
                    <a:pt x="15383" y="101517"/>
                  </a:lnTo>
                  <a:lnTo>
                    <a:pt x="355" y="90594"/>
                  </a:lnTo>
                  <a:lnTo>
                    <a:pt x="5445" y="83563"/>
                  </a:lnTo>
                  <a:lnTo>
                    <a:pt x="1213" y="60949"/>
                  </a:lnTo>
                  <a:lnTo>
                    <a:pt x="9998" y="57183"/>
                  </a:lnTo>
                  <a:lnTo>
                    <a:pt x="14614" y="41662"/>
                  </a:lnTo>
                  <a:lnTo>
                    <a:pt x="24105" y="25623"/>
                  </a:lnTo>
                  <a:lnTo>
                    <a:pt x="22360" y="15452"/>
                  </a:lnTo>
                  <a:lnTo>
                    <a:pt x="36101" y="10103"/>
                  </a:lnTo>
                  <a:lnTo>
                    <a:pt x="53339" y="191"/>
                  </a:lnTo>
                  <a:lnTo>
                    <a:pt x="78431" y="14414"/>
                  </a:lnTo>
                  <a:lnTo>
                    <a:pt x="83100" y="14021"/>
                  </a:lnTo>
                  <a:lnTo>
                    <a:pt x="89219" y="24738"/>
                  </a:lnTo>
                  <a:lnTo>
                    <a:pt x="110501" y="28191"/>
                  </a:lnTo>
                  <a:lnTo>
                    <a:pt x="117630" y="24237"/>
                  </a:lnTo>
                  <a:lnTo>
                    <a:pt x="129939" y="32484"/>
                  </a:lnTo>
                  <a:lnTo>
                    <a:pt x="140674" y="38388"/>
                  </a:lnTo>
                  <a:lnTo>
                    <a:pt x="144180" y="57308"/>
                  </a:lnTo>
                  <a:lnTo>
                    <a:pt x="136371" y="73508"/>
                  </a:lnTo>
                  <a:lnTo>
                    <a:pt x="109015" y="99612"/>
                  </a:lnTo>
                  <a:lnTo>
                    <a:pt x="78860" y="109451"/>
                  </a:lnTo>
                  <a:lnTo>
                    <a:pt x="63492" y="131171"/>
                  </a:lnTo>
                  <a:lnTo>
                    <a:pt x="58742" y="148016"/>
                  </a:lnTo>
                  <a:lnTo>
                    <a:pt x="44563" y="158303"/>
                  </a:lnTo>
                  <a:lnTo>
                    <a:pt x="34034" y="145681"/>
                  </a:lnTo>
                  <a:lnTo>
                    <a:pt x="23908" y="142979"/>
                  </a:lnTo>
                  <a:lnTo>
                    <a:pt x="13540" y="144974"/>
                  </a:lnTo>
                  <a:lnTo>
                    <a:pt x="12860" y="135814"/>
                  </a:lnTo>
                  <a:lnTo>
                    <a:pt x="20017" y="12986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6423089" y="2796239"/>
              <a:ext cx="120192" cy="102533"/>
            </a:xfrm>
            <a:custGeom>
              <a:avLst/>
              <a:gdLst>
                <a:gd name="connsiteX0" fmla="*/ 24886 w 120192"/>
                <a:gd name="connsiteY0" fmla="*/ 87727 h 102533"/>
                <a:gd name="connsiteX1" fmla="*/ 27793 w 120192"/>
                <a:gd name="connsiteY1" fmla="*/ 59782 h 102533"/>
                <a:gd name="connsiteX2" fmla="*/ 18570 w 120192"/>
                <a:gd name="connsiteY2" fmla="*/ 65793 h 102533"/>
                <a:gd name="connsiteX3" fmla="*/ 2656 w 120192"/>
                <a:gd name="connsiteY3" fmla="*/ 48797 h 102533"/>
                <a:gd name="connsiteX4" fmla="*/ 474 w 120192"/>
                <a:gd name="connsiteY4" fmla="*/ 20949 h 102533"/>
                <a:gd name="connsiteX5" fmla="*/ 32194 w 120192"/>
                <a:gd name="connsiteY5" fmla="*/ 7281 h 102533"/>
                <a:gd name="connsiteX6" fmla="*/ 63790 w 120192"/>
                <a:gd name="connsiteY6" fmla="*/ 106 h 102533"/>
                <a:gd name="connsiteX7" fmla="*/ 91003 w 120192"/>
                <a:gd name="connsiteY7" fmla="*/ 8265 h 102533"/>
                <a:gd name="connsiteX8" fmla="*/ 116891 w 120192"/>
                <a:gd name="connsiteY8" fmla="*/ 6807 h 102533"/>
                <a:gd name="connsiteX9" fmla="*/ 120666 w 120192"/>
                <a:gd name="connsiteY9" fmla="*/ 15394 h 102533"/>
                <a:gd name="connsiteX10" fmla="*/ 102819 w 120192"/>
                <a:gd name="connsiteY10" fmla="*/ 43412 h 102533"/>
                <a:gd name="connsiteX11" fmla="*/ 110253 w 120192"/>
                <a:gd name="connsiteY11" fmla="*/ 87799 h 102533"/>
                <a:gd name="connsiteX12" fmla="*/ 99510 w 120192"/>
                <a:gd name="connsiteY12" fmla="*/ 102640 h 102533"/>
                <a:gd name="connsiteX13" fmla="*/ 78827 w 120192"/>
                <a:gd name="connsiteY13" fmla="*/ 102559 h 102533"/>
                <a:gd name="connsiteX14" fmla="*/ 57242 w 120192"/>
                <a:gd name="connsiteY14" fmla="*/ 85187 h 102533"/>
                <a:gd name="connsiteX15" fmla="*/ 46248 w 120192"/>
                <a:gd name="connsiteY15" fmla="*/ 79408 h 102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192" h="102533">
                  <a:moveTo>
                    <a:pt x="24886" y="87727"/>
                  </a:moveTo>
                  <a:lnTo>
                    <a:pt x="27793" y="59782"/>
                  </a:lnTo>
                  <a:lnTo>
                    <a:pt x="18570" y="65793"/>
                  </a:lnTo>
                  <a:lnTo>
                    <a:pt x="2656" y="48797"/>
                  </a:lnTo>
                  <a:lnTo>
                    <a:pt x="474" y="20949"/>
                  </a:lnTo>
                  <a:lnTo>
                    <a:pt x="32194" y="7281"/>
                  </a:lnTo>
                  <a:lnTo>
                    <a:pt x="63790" y="106"/>
                  </a:lnTo>
                  <a:lnTo>
                    <a:pt x="91003" y="8265"/>
                  </a:lnTo>
                  <a:lnTo>
                    <a:pt x="116891" y="6807"/>
                  </a:lnTo>
                  <a:lnTo>
                    <a:pt x="120666" y="15394"/>
                  </a:lnTo>
                  <a:lnTo>
                    <a:pt x="102819" y="43412"/>
                  </a:lnTo>
                  <a:lnTo>
                    <a:pt x="110253" y="87799"/>
                  </a:lnTo>
                  <a:lnTo>
                    <a:pt x="99510" y="102640"/>
                  </a:lnTo>
                  <a:lnTo>
                    <a:pt x="78827" y="102559"/>
                  </a:lnTo>
                  <a:lnTo>
                    <a:pt x="57242" y="85187"/>
                  </a:lnTo>
                  <a:lnTo>
                    <a:pt x="46248" y="7940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6457208" y="3830447"/>
              <a:ext cx="305157" cy="268382"/>
            </a:xfrm>
            <a:custGeom>
              <a:avLst/>
              <a:gdLst>
                <a:gd name="connsiteX0" fmla="*/ 256884 w 305157"/>
                <a:gd name="connsiteY0" fmla="*/ 60566 h 268382"/>
                <a:gd name="connsiteX1" fmla="*/ 249835 w 305157"/>
                <a:gd name="connsiteY1" fmla="*/ 72070 h 268382"/>
                <a:gd name="connsiteX2" fmla="*/ 244441 w 305157"/>
                <a:gd name="connsiteY2" fmla="*/ 93566 h 268382"/>
                <a:gd name="connsiteX3" fmla="*/ 237616 w 305157"/>
                <a:gd name="connsiteY3" fmla="*/ 108290 h 268382"/>
                <a:gd name="connsiteX4" fmla="*/ 231765 w 305157"/>
                <a:gd name="connsiteY4" fmla="*/ 113211 h 268382"/>
                <a:gd name="connsiteX5" fmla="*/ 223410 w 305157"/>
                <a:gd name="connsiteY5" fmla="*/ 104104 h 268382"/>
                <a:gd name="connsiteX6" fmla="*/ 212094 w 305157"/>
                <a:gd name="connsiteY6" fmla="*/ 91473 h 268382"/>
                <a:gd name="connsiteX7" fmla="*/ 194194 w 305157"/>
                <a:gd name="connsiteY7" fmla="*/ 50521 h 268382"/>
                <a:gd name="connsiteX8" fmla="*/ 191618 w 305157"/>
                <a:gd name="connsiteY8" fmla="*/ 53133 h 268382"/>
                <a:gd name="connsiteX9" fmla="*/ 202012 w 305157"/>
                <a:gd name="connsiteY9" fmla="*/ 83306 h 268382"/>
                <a:gd name="connsiteX10" fmla="*/ 217408 w 305157"/>
                <a:gd name="connsiteY10" fmla="*/ 111770 h 268382"/>
                <a:gd name="connsiteX11" fmla="*/ 236363 w 305157"/>
                <a:gd name="connsiteY11" fmla="*/ 155353 h 268382"/>
                <a:gd name="connsiteX12" fmla="*/ 245631 w 305157"/>
                <a:gd name="connsiteY12" fmla="*/ 170426 h 268382"/>
                <a:gd name="connsiteX13" fmla="*/ 253682 w 305157"/>
                <a:gd name="connsiteY13" fmla="*/ 186009 h 268382"/>
                <a:gd name="connsiteX14" fmla="*/ 276188 w 305157"/>
                <a:gd name="connsiteY14" fmla="*/ 216352 h 268382"/>
                <a:gd name="connsiteX15" fmla="*/ 271206 w 305157"/>
                <a:gd name="connsiteY15" fmla="*/ 221111 h 268382"/>
                <a:gd name="connsiteX16" fmla="*/ 272011 w 305157"/>
                <a:gd name="connsiteY16" fmla="*/ 238769 h 268382"/>
                <a:gd name="connsiteX17" fmla="*/ 301227 w 305157"/>
                <a:gd name="connsiteY17" fmla="*/ 263030 h 268382"/>
                <a:gd name="connsiteX18" fmla="*/ 305637 w 305157"/>
                <a:gd name="connsiteY18" fmla="*/ 268540 h 268382"/>
                <a:gd name="connsiteX19" fmla="*/ 206154 w 305157"/>
                <a:gd name="connsiteY19" fmla="*/ 268540 h 268382"/>
                <a:gd name="connsiteX20" fmla="*/ 108836 w 305157"/>
                <a:gd name="connsiteY20" fmla="*/ 268540 h 268382"/>
                <a:gd name="connsiteX21" fmla="*/ 8003 w 305157"/>
                <a:gd name="connsiteY21" fmla="*/ 268540 h 268382"/>
                <a:gd name="connsiteX22" fmla="*/ 8003 w 305157"/>
                <a:gd name="connsiteY22" fmla="*/ 168100 h 268382"/>
                <a:gd name="connsiteX23" fmla="*/ 8003 w 305157"/>
                <a:gd name="connsiteY23" fmla="*/ 68089 h 268382"/>
                <a:gd name="connsiteX24" fmla="*/ 479 w 305157"/>
                <a:gd name="connsiteY24" fmla="*/ 44956 h 268382"/>
                <a:gd name="connsiteX25" fmla="*/ 6938 w 305157"/>
                <a:gd name="connsiteY25" fmla="*/ 27101 h 268382"/>
                <a:gd name="connsiteX26" fmla="*/ 3056 w 305157"/>
                <a:gd name="connsiteY26" fmla="*/ 14667 h 268382"/>
                <a:gd name="connsiteX27" fmla="*/ 12144 w 305157"/>
                <a:gd name="connsiteY27" fmla="*/ 649 h 268382"/>
                <a:gd name="connsiteX28" fmla="*/ 45511 w 305157"/>
                <a:gd name="connsiteY28" fmla="*/ 157 h 268382"/>
                <a:gd name="connsiteX29" fmla="*/ 69646 w 305157"/>
                <a:gd name="connsiteY29" fmla="*/ 7895 h 268382"/>
                <a:gd name="connsiteX30" fmla="*/ 94550 w 305157"/>
                <a:gd name="connsiteY30" fmla="*/ 16518 h 268382"/>
                <a:gd name="connsiteX31" fmla="*/ 106162 w 305157"/>
                <a:gd name="connsiteY31" fmla="*/ 21045 h 268382"/>
                <a:gd name="connsiteX32" fmla="*/ 125475 w 305157"/>
                <a:gd name="connsiteY32" fmla="*/ 11822 h 268382"/>
                <a:gd name="connsiteX33" fmla="*/ 135798 w 305157"/>
                <a:gd name="connsiteY33" fmla="*/ 3449 h 268382"/>
                <a:gd name="connsiteX34" fmla="*/ 157920 w 305157"/>
                <a:gd name="connsiteY34" fmla="*/ 1034 h 268382"/>
                <a:gd name="connsiteX35" fmla="*/ 175757 w 305157"/>
                <a:gd name="connsiteY35" fmla="*/ 4728 h 268382"/>
                <a:gd name="connsiteX36" fmla="*/ 182583 w 305157"/>
                <a:gd name="connsiteY36" fmla="*/ 19202 h 268382"/>
                <a:gd name="connsiteX37" fmla="*/ 188406 w 305157"/>
                <a:gd name="connsiteY37" fmla="*/ 9675 h 268382"/>
                <a:gd name="connsiteX38" fmla="*/ 208507 w 305157"/>
                <a:gd name="connsiteY38" fmla="*/ 16563 h 268382"/>
                <a:gd name="connsiteX39" fmla="*/ 228062 w 305157"/>
                <a:gd name="connsiteY39" fmla="*/ 18218 h 268382"/>
                <a:gd name="connsiteX40" fmla="*/ 240398 w 305157"/>
                <a:gd name="connsiteY40" fmla="*/ 10874 h 2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05157" h="268382">
                  <a:moveTo>
                    <a:pt x="256884" y="60566"/>
                  </a:moveTo>
                  <a:lnTo>
                    <a:pt x="249835" y="72070"/>
                  </a:lnTo>
                  <a:lnTo>
                    <a:pt x="244441" y="93566"/>
                  </a:lnTo>
                  <a:lnTo>
                    <a:pt x="237616" y="108290"/>
                  </a:lnTo>
                  <a:lnTo>
                    <a:pt x="231765" y="113211"/>
                  </a:lnTo>
                  <a:lnTo>
                    <a:pt x="223410" y="104104"/>
                  </a:lnTo>
                  <a:lnTo>
                    <a:pt x="212094" y="91473"/>
                  </a:lnTo>
                  <a:lnTo>
                    <a:pt x="194194" y="50521"/>
                  </a:lnTo>
                  <a:lnTo>
                    <a:pt x="191618" y="53133"/>
                  </a:lnTo>
                  <a:lnTo>
                    <a:pt x="202012" y="83306"/>
                  </a:lnTo>
                  <a:lnTo>
                    <a:pt x="217408" y="111770"/>
                  </a:lnTo>
                  <a:lnTo>
                    <a:pt x="236363" y="155353"/>
                  </a:lnTo>
                  <a:lnTo>
                    <a:pt x="245631" y="170426"/>
                  </a:lnTo>
                  <a:lnTo>
                    <a:pt x="253682" y="186009"/>
                  </a:lnTo>
                  <a:lnTo>
                    <a:pt x="276188" y="216352"/>
                  </a:lnTo>
                  <a:lnTo>
                    <a:pt x="271206" y="221111"/>
                  </a:lnTo>
                  <a:lnTo>
                    <a:pt x="272011" y="238769"/>
                  </a:lnTo>
                  <a:lnTo>
                    <a:pt x="301227" y="263030"/>
                  </a:lnTo>
                  <a:lnTo>
                    <a:pt x="305637" y="268540"/>
                  </a:lnTo>
                  <a:lnTo>
                    <a:pt x="206154" y="268540"/>
                  </a:lnTo>
                  <a:lnTo>
                    <a:pt x="108836" y="268540"/>
                  </a:lnTo>
                  <a:lnTo>
                    <a:pt x="8003" y="268540"/>
                  </a:lnTo>
                  <a:lnTo>
                    <a:pt x="8003" y="168100"/>
                  </a:lnTo>
                  <a:lnTo>
                    <a:pt x="8003" y="68089"/>
                  </a:lnTo>
                  <a:lnTo>
                    <a:pt x="479" y="44956"/>
                  </a:lnTo>
                  <a:lnTo>
                    <a:pt x="6938" y="27101"/>
                  </a:lnTo>
                  <a:lnTo>
                    <a:pt x="3056" y="14667"/>
                  </a:lnTo>
                  <a:lnTo>
                    <a:pt x="12144" y="649"/>
                  </a:lnTo>
                  <a:lnTo>
                    <a:pt x="45511" y="157"/>
                  </a:lnTo>
                  <a:lnTo>
                    <a:pt x="69646" y="7895"/>
                  </a:lnTo>
                  <a:lnTo>
                    <a:pt x="94550" y="16518"/>
                  </a:lnTo>
                  <a:lnTo>
                    <a:pt x="106162" y="21045"/>
                  </a:lnTo>
                  <a:lnTo>
                    <a:pt x="125475" y="11822"/>
                  </a:lnTo>
                  <a:lnTo>
                    <a:pt x="135798" y="3449"/>
                  </a:lnTo>
                  <a:lnTo>
                    <a:pt x="157920" y="1034"/>
                  </a:lnTo>
                  <a:lnTo>
                    <a:pt x="175757" y="4728"/>
                  </a:lnTo>
                  <a:lnTo>
                    <a:pt x="182583" y="19202"/>
                  </a:lnTo>
                  <a:lnTo>
                    <a:pt x="188406" y="9675"/>
                  </a:lnTo>
                  <a:lnTo>
                    <a:pt x="208507" y="16563"/>
                  </a:lnTo>
                  <a:lnTo>
                    <a:pt x="228062" y="18218"/>
                  </a:lnTo>
                  <a:lnTo>
                    <a:pt x="240398" y="1087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5409708" y="3943348"/>
              <a:ext cx="210639" cy="182291"/>
            </a:xfrm>
            <a:custGeom>
              <a:avLst/>
              <a:gdLst>
                <a:gd name="connsiteX0" fmla="*/ 98839 w 210639"/>
                <a:gd name="connsiteY0" fmla="*/ 554 h 182291"/>
                <a:gd name="connsiteX1" fmla="*/ 82934 w 210639"/>
                <a:gd name="connsiteY1" fmla="*/ 29180 h 182291"/>
                <a:gd name="connsiteX2" fmla="*/ 66232 w 210639"/>
                <a:gd name="connsiteY2" fmla="*/ 39333 h 182291"/>
                <a:gd name="connsiteX3" fmla="*/ 57171 w 210639"/>
                <a:gd name="connsiteY3" fmla="*/ 56481 h 182291"/>
                <a:gd name="connsiteX4" fmla="*/ 56580 w 210639"/>
                <a:gd name="connsiteY4" fmla="*/ 71188 h 182291"/>
                <a:gd name="connsiteX5" fmla="*/ 49943 w 210639"/>
                <a:gd name="connsiteY5" fmla="*/ 87218 h 182291"/>
                <a:gd name="connsiteX6" fmla="*/ 41498 w 210639"/>
                <a:gd name="connsiteY6" fmla="*/ 91637 h 182291"/>
                <a:gd name="connsiteX7" fmla="*/ 27534 w 210639"/>
                <a:gd name="connsiteY7" fmla="*/ 109000 h 182291"/>
                <a:gd name="connsiteX8" fmla="*/ 18911 w 210639"/>
                <a:gd name="connsiteY8" fmla="*/ 128171 h 182291"/>
                <a:gd name="connsiteX9" fmla="*/ 20530 w 210639"/>
                <a:gd name="connsiteY9" fmla="*/ 137331 h 182291"/>
                <a:gd name="connsiteX10" fmla="*/ 12318 w 210639"/>
                <a:gd name="connsiteY10" fmla="*/ 151384 h 182291"/>
                <a:gd name="connsiteX11" fmla="*/ 2692 w 210639"/>
                <a:gd name="connsiteY11" fmla="*/ 158719 h 182291"/>
                <a:gd name="connsiteX12" fmla="*/ 1503 w 210639"/>
                <a:gd name="connsiteY12" fmla="*/ 171154 h 182291"/>
                <a:gd name="connsiteX13" fmla="*/ 429 w 210639"/>
                <a:gd name="connsiteY13" fmla="*/ 182452 h 182291"/>
                <a:gd name="connsiteX14" fmla="*/ 5895 w 210639"/>
                <a:gd name="connsiteY14" fmla="*/ 173533 h 182291"/>
                <a:gd name="connsiteX15" fmla="*/ 104117 w 210639"/>
                <a:gd name="connsiteY15" fmla="*/ 173703 h 182291"/>
                <a:gd name="connsiteX16" fmla="*/ 99367 w 210639"/>
                <a:gd name="connsiteY16" fmla="*/ 134844 h 182291"/>
                <a:gd name="connsiteX17" fmla="*/ 105503 w 210639"/>
                <a:gd name="connsiteY17" fmla="*/ 120925 h 182291"/>
                <a:gd name="connsiteX18" fmla="*/ 129003 w 210639"/>
                <a:gd name="connsiteY18" fmla="*/ 118483 h 182291"/>
                <a:gd name="connsiteX19" fmla="*/ 128189 w 210639"/>
                <a:gd name="connsiteY19" fmla="*/ 48251 h 182291"/>
                <a:gd name="connsiteX20" fmla="*/ 210514 w 210639"/>
                <a:gd name="connsiteY20" fmla="*/ 49710 h 182291"/>
                <a:gd name="connsiteX21" fmla="*/ 210586 w 210639"/>
                <a:gd name="connsiteY21" fmla="*/ 7424 h 182291"/>
                <a:gd name="connsiteX22" fmla="*/ 211069 w 210639"/>
                <a:gd name="connsiteY22" fmla="*/ 1985 h 182291"/>
                <a:gd name="connsiteX23" fmla="*/ 211060 w 210639"/>
                <a:gd name="connsiteY23" fmla="*/ 161 h 182291"/>
                <a:gd name="connsiteX24" fmla="*/ 99152 w 210639"/>
                <a:gd name="connsiteY24" fmla="*/ 286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0639" h="182291">
                  <a:moveTo>
                    <a:pt x="98839" y="554"/>
                  </a:moveTo>
                  <a:lnTo>
                    <a:pt x="82934" y="29180"/>
                  </a:lnTo>
                  <a:lnTo>
                    <a:pt x="66232" y="39333"/>
                  </a:lnTo>
                  <a:lnTo>
                    <a:pt x="57171" y="56481"/>
                  </a:lnTo>
                  <a:lnTo>
                    <a:pt x="56580" y="71188"/>
                  </a:lnTo>
                  <a:lnTo>
                    <a:pt x="49943" y="87218"/>
                  </a:lnTo>
                  <a:lnTo>
                    <a:pt x="41498" y="91637"/>
                  </a:lnTo>
                  <a:lnTo>
                    <a:pt x="27534" y="109000"/>
                  </a:lnTo>
                  <a:lnTo>
                    <a:pt x="18911" y="128171"/>
                  </a:lnTo>
                  <a:lnTo>
                    <a:pt x="20530" y="137331"/>
                  </a:lnTo>
                  <a:lnTo>
                    <a:pt x="12318" y="151384"/>
                  </a:lnTo>
                  <a:lnTo>
                    <a:pt x="2692" y="158719"/>
                  </a:lnTo>
                  <a:lnTo>
                    <a:pt x="1503" y="171154"/>
                  </a:lnTo>
                  <a:lnTo>
                    <a:pt x="429" y="182452"/>
                  </a:lnTo>
                  <a:lnTo>
                    <a:pt x="5895" y="173533"/>
                  </a:lnTo>
                  <a:lnTo>
                    <a:pt x="104117" y="173703"/>
                  </a:lnTo>
                  <a:lnTo>
                    <a:pt x="99367" y="134844"/>
                  </a:lnTo>
                  <a:lnTo>
                    <a:pt x="105503" y="120925"/>
                  </a:lnTo>
                  <a:lnTo>
                    <a:pt x="129003" y="118483"/>
                  </a:lnTo>
                  <a:lnTo>
                    <a:pt x="128189" y="48251"/>
                  </a:lnTo>
                  <a:lnTo>
                    <a:pt x="210514" y="49710"/>
                  </a:lnTo>
                  <a:lnTo>
                    <a:pt x="210586" y="7424"/>
                  </a:lnTo>
                  <a:lnTo>
                    <a:pt x="211069" y="1985"/>
                  </a:lnTo>
                  <a:lnTo>
                    <a:pt x="211060" y="161"/>
                  </a:lnTo>
                  <a:lnTo>
                    <a:pt x="99152" y="28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6748742" y="4205039"/>
              <a:ext cx="169499" cy="143253"/>
            </a:xfrm>
            <a:custGeom>
              <a:avLst/>
              <a:gdLst>
                <a:gd name="connsiteX0" fmla="*/ 151686 w 169499"/>
                <a:gd name="connsiteY0" fmla="*/ 141206 h 143253"/>
                <a:gd name="connsiteX1" fmla="*/ 143116 w 169499"/>
                <a:gd name="connsiteY1" fmla="*/ 132941 h 143253"/>
                <a:gd name="connsiteX2" fmla="*/ 132802 w 169499"/>
                <a:gd name="connsiteY2" fmla="*/ 117930 h 143253"/>
                <a:gd name="connsiteX3" fmla="*/ 121683 w 169499"/>
                <a:gd name="connsiteY3" fmla="*/ 109700 h 143253"/>
                <a:gd name="connsiteX4" fmla="*/ 115198 w 169499"/>
                <a:gd name="connsiteY4" fmla="*/ 100826 h 143253"/>
                <a:gd name="connsiteX5" fmla="*/ 93361 w 169499"/>
                <a:gd name="connsiteY5" fmla="*/ 90512 h 143253"/>
                <a:gd name="connsiteX6" fmla="*/ 76168 w 169499"/>
                <a:gd name="connsiteY6" fmla="*/ 90208 h 143253"/>
                <a:gd name="connsiteX7" fmla="*/ 70121 w 169499"/>
                <a:gd name="connsiteY7" fmla="*/ 84823 h 143253"/>
                <a:gd name="connsiteX8" fmla="*/ 55415 w 169499"/>
                <a:gd name="connsiteY8" fmla="*/ 90879 h 143253"/>
                <a:gd name="connsiteX9" fmla="*/ 40190 w 169499"/>
                <a:gd name="connsiteY9" fmla="*/ 79178 h 143253"/>
                <a:gd name="connsiteX10" fmla="*/ 32353 w 169499"/>
                <a:gd name="connsiteY10" fmla="*/ 98402 h 143253"/>
                <a:gd name="connsiteX11" fmla="*/ 3155 w 169499"/>
                <a:gd name="connsiteY11" fmla="*/ 93026 h 143253"/>
                <a:gd name="connsiteX12" fmla="*/ 490 w 169499"/>
                <a:gd name="connsiteY12" fmla="*/ 82712 h 143253"/>
                <a:gd name="connsiteX13" fmla="*/ 11287 w 169499"/>
                <a:gd name="connsiteY13" fmla="*/ 44684 h 143253"/>
                <a:gd name="connsiteX14" fmla="*/ 13764 w 169499"/>
                <a:gd name="connsiteY14" fmla="*/ 27402 h 143253"/>
                <a:gd name="connsiteX15" fmla="*/ 21664 w 169499"/>
                <a:gd name="connsiteY15" fmla="*/ 19404 h 143253"/>
                <a:gd name="connsiteX16" fmla="*/ 40136 w 169499"/>
                <a:gd name="connsiteY16" fmla="*/ 15110 h 143253"/>
                <a:gd name="connsiteX17" fmla="*/ 52829 w 169499"/>
                <a:gd name="connsiteY17" fmla="*/ 172 h 143253"/>
                <a:gd name="connsiteX18" fmla="*/ 67393 w 169499"/>
                <a:gd name="connsiteY18" fmla="*/ 30416 h 143253"/>
                <a:gd name="connsiteX19" fmla="*/ 74307 w 169499"/>
                <a:gd name="connsiteY19" fmla="*/ 54265 h 143253"/>
                <a:gd name="connsiteX20" fmla="*/ 88048 w 169499"/>
                <a:gd name="connsiteY20" fmla="*/ 66878 h 143253"/>
                <a:gd name="connsiteX21" fmla="*/ 122282 w 169499"/>
                <a:gd name="connsiteY21" fmla="*/ 91246 h 143253"/>
                <a:gd name="connsiteX22" fmla="*/ 136219 w 169499"/>
                <a:gd name="connsiteY22" fmla="*/ 105907 h 143253"/>
                <a:gd name="connsiteX23" fmla="*/ 149817 w 169499"/>
                <a:gd name="connsiteY23" fmla="*/ 120703 h 143253"/>
                <a:gd name="connsiteX24" fmla="*/ 157662 w 169499"/>
                <a:gd name="connsiteY24" fmla="*/ 129497 h 143253"/>
                <a:gd name="connsiteX25" fmla="*/ 169989 w 169499"/>
                <a:gd name="connsiteY25" fmla="*/ 137190 h 143253"/>
                <a:gd name="connsiteX26" fmla="*/ 162430 w 169499"/>
                <a:gd name="connsiteY26" fmla="*/ 143425 h 14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9499" h="143253">
                  <a:moveTo>
                    <a:pt x="151686" y="141206"/>
                  </a:moveTo>
                  <a:lnTo>
                    <a:pt x="143116" y="132941"/>
                  </a:lnTo>
                  <a:lnTo>
                    <a:pt x="132802" y="117930"/>
                  </a:lnTo>
                  <a:lnTo>
                    <a:pt x="121683" y="109700"/>
                  </a:lnTo>
                  <a:lnTo>
                    <a:pt x="115198" y="100826"/>
                  </a:lnTo>
                  <a:lnTo>
                    <a:pt x="93361" y="90512"/>
                  </a:lnTo>
                  <a:lnTo>
                    <a:pt x="76168" y="90208"/>
                  </a:lnTo>
                  <a:lnTo>
                    <a:pt x="70121" y="84823"/>
                  </a:lnTo>
                  <a:lnTo>
                    <a:pt x="55415" y="90879"/>
                  </a:lnTo>
                  <a:lnTo>
                    <a:pt x="40190" y="79178"/>
                  </a:lnTo>
                  <a:lnTo>
                    <a:pt x="32353" y="98402"/>
                  </a:lnTo>
                  <a:lnTo>
                    <a:pt x="3155" y="93026"/>
                  </a:lnTo>
                  <a:lnTo>
                    <a:pt x="490" y="82712"/>
                  </a:lnTo>
                  <a:lnTo>
                    <a:pt x="11287" y="44684"/>
                  </a:lnTo>
                  <a:lnTo>
                    <a:pt x="13764" y="27402"/>
                  </a:lnTo>
                  <a:lnTo>
                    <a:pt x="21664" y="19404"/>
                  </a:lnTo>
                  <a:lnTo>
                    <a:pt x="40136" y="15110"/>
                  </a:lnTo>
                  <a:lnTo>
                    <a:pt x="52829" y="172"/>
                  </a:lnTo>
                  <a:lnTo>
                    <a:pt x="67393" y="30416"/>
                  </a:lnTo>
                  <a:lnTo>
                    <a:pt x="74307" y="54265"/>
                  </a:lnTo>
                  <a:lnTo>
                    <a:pt x="88048" y="66878"/>
                  </a:lnTo>
                  <a:lnTo>
                    <a:pt x="122282" y="91246"/>
                  </a:lnTo>
                  <a:lnTo>
                    <a:pt x="136219" y="105907"/>
                  </a:lnTo>
                  <a:lnTo>
                    <a:pt x="149817" y="120703"/>
                  </a:lnTo>
                  <a:lnTo>
                    <a:pt x="157662" y="129497"/>
                  </a:lnTo>
                  <a:lnTo>
                    <a:pt x="169989" y="137190"/>
                  </a:lnTo>
                  <a:lnTo>
                    <a:pt x="162430" y="14342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5602099" y="3445083"/>
              <a:ext cx="311822" cy="254329"/>
            </a:xfrm>
            <a:custGeom>
              <a:avLst/>
              <a:gdLst>
                <a:gd name="connsiteX0" fmla="*/ 9422 w 311822"/>
                <a:gd name="connsiteY0" fmla="*/ 63778 h 254329"/>
                <a:gd name="connsiteX1" fmla="*/ 10683 w 311822"/>
                <a:gd name="connsiteY1" fmla="*/ 39741 h 254329"/>
                <a:gd name="connsiteX2" fmla="*/ 440 w 311822"/>
                <a:gd name="connsiteY2" fmla="*/ 24963 h 254329"/>
                <a:gd name="connsiteX3" fmla="*/ 35918 w 311822"/>
                <a:gd name="connsiteY3" fmla="*/ 139 h 254329"/>
                <a:gd name="connsiteX4" fmla="*/ 66610 w 311822"/>
                <a:gd name="connsiteY4" fmla="*/ 6374 h 254329"/>
                <a:gd name="connsiteX5" fmla="*/ 100290 w 311822"/>
                <a:gd name="connsiteY5" fmla="*/ 6160 h 254329"/>
                <a:gd name="connsiteX6" fmla="*/ 126983 w 311822"/>
                <a:gd name="connsiteY6" fmla="*/ 12037 h 254329"/>
                <a:gd name="connsiteX7" fmla="*/ 147800 w 311822"/>
                <a:gd name="connsiteY7" fmla="*/ 10230 h 254329"/>
                <a:gd name="connsiteX8" fmla="*/ 188341 w 311822"/>
                <a:gd name="connsiteY8" fmla="*/ 11375 h 254329"/>
                <a:gd name="connsiteX9" fmla="*/ 198342 w 311822"/>
                <a:gd name="connsiteY9" fmla="*/ 24704 h 254329"/>
                <a:gd name="connsiteX10" fmla="*/ 244509 w 311822"/>
                <a:gd name="connsiteY10" fmla="*/ 40188 h 254329"/>
                <a:gd name="connsiteX11" fmla="*/ 253625 w 311822"/>
                <a:gd name="connsiteY11" fmla="*/ 32844 h 254329"/>
                <a:gd name="connsiteX12" fmla="*/ 281848 w 311822"/>
                <a:gd name="connsiteY12" fmla="*/ 48186 h 254329"/>
                <a:gd name="connsiteX13" fmla="*/ 310921 w 311822"/>
                <a:gd name="connsiteY13" fmla="*/ 43802 h 254329"/>
                <a:gd name="connsiteX14" fmla="*/ 312263 w 311822"/>
                <a:gd name="connsiteY14" fmla="*/ 63393 h 254329"/>
                <a:gd name="connsiteX15" fmla="*/ 288495 w 311822"/>
                <a:gd name="connsiteY15" fmla="*/ 85632 h 254329"/>
                <a:gd name="connsiteX16" fmla="*/ 256353 w 311822"/>
                <a:gd name="connsiteY16" fmla="*/ 92645 h 254329"/>
                <a:gd name="connsiteX17" fmla="*/ 254117 w 311822"/>
                <a:gd name="connsiteY17" fmla="*/ 103755 h 254329"/>
                <a:gd name="connsiteX18" fmla="*/ 238704 w 311822"/>
                <a:gd name="connsiteY18" fmla="*/ 121941 h 254329"/>
                <a:gd name="connsiteX19" fmla="*/ 229043 w 311822"/>
                <a:gd name="connsiteY19" fmla="*/ 148384 h 254329"/>
                <a:gd name="connsiteX20" fmla="*/ 238820 w 311822"/>
                <a:gd name="connsiteY20" fmla="*/ 166758 h 254329"/>
                <a:gd name="connsiteX21" fmla="*/ 224311 w 311822"/>
                <a:gd name="connsiteY21" fmla="*/ 180999 h 254329"/>
                <a:gd name="connsiteX22" fmla="*/ 218890 w 311822"/>
                <a:gd name="connsiteY22" fmla="*/ 201592 h 254329"/>
                <a:gd name="connsiteX23" fmla="*/ 199952 w 311822"/>
                <a:gd name="connsiteY23" fmla="*/ 207872 h 254329"/>
                <a:gd name="connsiteX24" fmla="*/ 182186 w 311822"/>
                <a:gd name="connsiteY24" fmla="*/ 231935 h 254329"/>
                <a:gd name="connsiteX25" fmla="*/ 150358 w 311822"/>
                <a:gd name="connsiteY25" fmla="*/ 232409 h 254329"/>
                <a:gd name="connsiteX26" fmla="*/ 126447 w 311822"/>
                <a:gd name="connsiteY26" fmla="*/ 231819 h 254329"/>
                <a:gd name="connsiteX27" fmla="*/ 110739 w 311822"/>
                <a:gd name="connsiteY27" fmla="*/ 242786 h 254329"/>
                <a:gd name="connsiteX28" fmla="*/ 101158 w 311822"/>
                <a:gd name="connsiteY28" fmla="*/ 254469 h 254329"/>
                <a:gd name="connsiteX29" fmla="*/ 88885 w 311822"/>
                <a:gd name="connsiteY29" fmla="*/ 251910 h 254329"/>
                <a:gd name="connsiteX30" fmla="*/ 79599 w 311822"/>
                <a:gd name="connsiteY30" fmla="*/ 241453 h 254329"/>
                <a:gd name="connsiteX31" fmla="*/ 72488 w 311822"/>
                <a:gd name="connsiteY31" fmla="*/ 223553 h 254329"/>
                <a:gd name="connsiteX32" fmla="*/ 49077 w 311822"/>
                <a:gd name="connsiteY32" fmla="*/ 218705 h 254329"/>
                <a:gd name="connsiteX33" fmla="*/ 46984 w 311822"/>
                <a:gd name="connsiteY33" fmla="*/ 208319 h 254329"/>
                <a:gd name="connsiteX34" fmla="*/ 56278 w 311822"/>
                <a:gd name="connsiteY34" fmla="*/ 196493 h 254329"/>
                <a:gd name="connsiteX35" fmla="*/ 59722 w 311822"/>
                <a:gd name="connsiteY35" fmla="*/ 187879 h 254329"/>
                <a:gd name="connsiteX36" fmla="*/ 51072 w 311822"/>
                <a:gd name="connsiteY36" fmla="*/ 178423 h 254329"/>
                <a:gd name="connsiteX37" fmla="*/ 57996 w 311822"/>
                <a:gd name="connsiteY37" fmla="*/ 157401 h 254329"/>
                <a:gd name="connsiteX38" fmla="*/ 47950 w 311822"/>
                <a:gd name="connsiteY38" fmla="*/ 138034 h 254329"/>
                <a:gd name="connsiteX39" fmla="*/ 58783 w 311822"/>
                <a:gd name="connsiteY39" fmla="*/ 135360 h 254329"/>
                <a:gd name="connsiteX40" fmla="*/ 59794 w 311822"/>
                <a:gd name="connsiteY40" fmla="*/ 119964 h 254329"/>
                <a:gd name="connsiteX41" fmla="*/ 63864 w 311822"/>
                <a:gd name="connsiteY41" fmla="*/ 115170 h 254329"/>
                <a:gd name="connsiteX42" fmla="*/ 64186 w 311822"/>
                <a:gd name="connsiteY42" fmla="*/ 89451 h 254329"/>
                <a:gd name="connsiteX43" fmla="*/ 75779 w 311822"/>
                <a:gd name="connsiteY43" fmla="*/ 80452 h 254329"/>
                <a:gd name="connsiteX44" fmla="*/ 68766 w 311822"/>
                <a:gd name="connsiteY44" fmla="*/ 63688 h 254329"/>
                <a:gd name="connsiteX45" fmla="*/ 54149 w 311822"/>
                <a:gd name="connsiteY45" fmla="*/ 62508 h 254329"/>
                <a:gd name="connsiteX46" fmla="*/ 49856 w 311822"/>
                <a:gd name="connsiteY46" fmla="*/ 66748 h 254329"/>
                <a:gd name="connsiteX47" fmla="*/ 35042 w 311822"/>
                <a:gd name="connsiteY47" fmla="*/ 66783 h 254329"/>
                <a:gd name="connsiteX48" fmla="*/ 28762 w 311822"/>
                <a:gd name="connsiteY48" fmla="*/ 50315 h 254329"/>
                <a:gd name="connsiteX49" fmla="*/ 18519 w 311822"/>
                <a:gd name="connsiteY49" fmla="*/ 55235 h 25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11822" h="254329">
                  <a:moveTo>
                    <a:pt x="9422" y="63778"/>
                  </a:moveTo>
                  <a:lnTo>
                    <a:pt x="10683" y="39741"/>
                  </a:lnTo>
                  <a:lnTo>
                    <a:pt x="440" y="24963"/>
                  </a:lnTo>
                  <a:lnTo>
                    <a:pt x="35918" y="139"/>
                  </a:lnTo>
                  <a:lnTo>
                    <a:pt x="66610" y="6374"/>
                  </a:lnTo>
                  <a:lnTo>
                    <a:pt x="100290" y="6160"/>
                  </a:lnTo>
                  <a:lnTo>
                    <a:pt x="126983" y="12037"/>
                  </a:lnTo>
                  <a:lnTo>
                    <a:pt x="147800" y="10230"/>
                  </a:lnTo>
                  <a:lnTo>
                    <a:pt x="188341" y="11375"/>
                  </a:lnTo>
                  <a:lnTo>
                    <a:pt x="198342" y="24704"/>
                  </a:lnTo>
                  <a:lnTo>
                    <a:pt x="244509" y="40188"/>
                  </a:lnTo>
                  <a:lnTo>
                    <a:pt x="253625" y="32844"/>
                  </a:lnTo>
                  <a:lnTo>
                    <a:pt x="281848" y="48186"/>
                  </a:lnTo>
                  <a:lnTo>
                    <a:pt x="310921" y="43802"/>
                  </a:lnTo>
                  <a:lnTo>
                    <a:pt x="312263" y="63393"/>
                  </a:lnTo>
                  <a:lnTo>
                    <a:pt x="288495" y="85632"/>
                  </a:lnTo>
                  <a:lnTo>
                    <a:pt x="256353" y="92645"/>
                  </a:lnTo>
                  <a:lnTo>
                    <a:pt x="254117" y="103755"/>
                  </a:lnTo>
                  <a:lnTo>
                    <a:pt x="238704" y="121941"/>
                  </a:lnTo>
                  <a:lnTo>
                    <a:pt x="229043" y="148384"/>
                  </a:lnTo>
                  <a:lnTo>
                    <a:pt x="238820" y="166758"/>
                  </a:lnTo>
                  <a:lnTo>
                    <a:pt x="224311" y="180999"/>
                  </a:lnTo>
                  <a:lnTo>
                    <a:pt x="218890" y="201592"/>
                  </a:lnTo>
                  <a:lnTo>
                    <a:pt x="199952" y="207872"/>
                  </a:lnTo>
                  <a:lnTo>
                    <a:pt x="182186" y="231935"/>
                  </a:lnTo>
                  <a:lnTo>
                    <a:pt x="150358" y="232409"/>
                  </a:lnTo>
                  <a:lnTo>
                    <a:pt x="126447" y="231819"/>
                  </a:lnTo>
                  <a:lnTo>
                    <a:pt x="110739" y="242786"/>
                  </a:lnTo>
                  <a:lnTo>
                    <a:pt x="101158" y="254469"/>
                  </a:lnTo>
                  <a:lnTo>
                    <a:pt x="88885" y="251910"/>
                  </a:lnTo>
                  <a:lnTo>
                    <a:pt x="79599" y="241453"/>
                  </a:lnTo>
                  <a:lnTo>
                    <a:pt x="72488" y="223553"/>
                  </a:lnTo>
                  <a:lnTo>
                    <a:pt x="49077" y="218705"/>
                  </a:lnTo>
                  <a:lnTo>
                    <a:pt x="46984" y="208319"/>
                  </a:lnTo>
                  <a:lnTo>
                    <a:pt x="56278" y="196493"/>
                  </a:lnTo>
                  <a:lnTo>
                    <a:pt x="59722" y="187879"/>
                  </a:lnTo>
                  <a:lnTo>
                    <a:pt x="51072" y="178423"/>
                  </a:lnTo>
                  <a:lnTo>
                    <a:pt x="57996" y="157401"/>
                  </a:lnTo>
                  <a:lnTo>
                    <a:pt x="47950" y="138034"/>
                  </a:lnTo>
                  <a:lnTo>
                    <a:pt x="58783" y="135360"/>
                  </a:lnTo>
                  <a:lnTo>
                    <a:pt x="59794" y="119964"/>
                  </a:lnTo>
                  <a:lnTo>
                    <a:pt x="63864" y="115170"/>
                  </a:lnTo>
                  <a:lnTo>
                    <a:pt x="64186" y="89451"/>
                  </a:lnTo>
                  <a:lnTo>
                    <a:pt x="75779" y="80452"/>
                  </a:lnTo>
                  <a:lnTo>
                    <a:pt x="68766" y="63688"/>
                  </a:lnTo>
                  <a:lnTo>
                    <a:pt x="54149" y="62508"/>
                  </a:lnTo>
                  <a:lnTo>
                    <a:pt x="49856" y="66748"/>
                  </a:lnTo>
                  <a:lnTo>
                    <a:pt x="35042" y="66783"/>
                  </a:lnTo>
                  <a:lnTo>
                    <a:pt x="28762" y="50315"/>
                  </a:lnTo>
                  <a:lnTo>
                    <a:pt x="18519" y="5523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6664234" y="4284046"/>
              <a:ext cx="372105" cy="291757"/>
            </a:xfrm>
            <a:custGeom>
              <a:avLst/>
              <a:gdLst>
                <a:gd name="connsiteX0" fmla="*/ 124699 w 372105"/>
                <a:gd name="connsiteY0" fmla="*/ 179 h 291757"/>
                <a:gd name="connsiteX1" fmla="*/ 139924 w 372105"/>
                <a:gd name="connsiteY1" fmla="*/ 11879 h 291757"/>
                <a:gd name="connsiteX2" fmla="*/ 154630 w 372105"/>
                <a:gd name="connsiteY2" fmla="*/ 5823 h 291757"/>
                <a:gd name="connsiteX3" fmla="*/ 160677 w 372105"/>
                <a:gd name="connsiteY3" fmla="*/ 11208 h 291757"/>
                <a:gd name="connsiteX4" fmla="*/ 177870 w 372105"/>
                <a:gd name="connsiteY4" fmla="*/ 11513 h 291757"/>
                <a:gd name="connsiteX5" fmla="*/ 199707 w 372105"/>
                <a:gd name="connsiteY5" fmla="*/ 21827 h 291757"/>
                <a:gd name="connsiteX6" fmla="*/ 206192 w 372105"/>
                <a:gd name="connsiteY6" fmla="*/ 30701 h 291757"/>
                <a:gd name="connsiteX7" fmla="*/ 217311 w 372105"/>
                <a:gd name="connsiteY7" fmla="*/ 38930 h 291757"/>
                <a:gd name="connsiteX8" fmla="*/ 227625 w 372105"/>
                <a:gd name="connsiteY8" fmla="*/ 53941 h 291757"/>
                <a:gd name="connsiteX9" fmla="*/ 236195 w 372105"/>
                <a:gd name="connsiteY9" fmla="*/ 62207 h 291757"/>
                <a:gd name="connsiteX10" fmla="*/ 227384 w 372105"/>
                <a:gd name="connsiteY10" fmla="*/ 73487 h 291757"/>
                <a:gd name="connsiteX11" fmla="*/ 218895 w 372105"/>
                <a:gd name="connsiteY11" fmla="*/ 85429 h 291757"/>
                <a:gd name="connsiteX12" fmla="*/ 220854 w 372105"/>
                <a:gd name="connsiteY12" fmla="*/ 92442 h 291757"/>
                <a:gd name="connsiteX13" fmla="*/ 221256 w 372105"/>
                <a:gd name="connsiteY13" fmla="*/ 100171 h 291757"/>
                <a:gd name="connsiteX14" fmla="*/ 235265 w 372105"/>
                <a:gd name="connsiteY14" fmla="*/ 100601 h 291757"/>
                <a:gd name="connsiteX15" fmla="*/ 241303 w 372105"/>
                <a:gd name="connsiteY15" fmla="*/ 98794 h 291757"/>
                <a:gd name="connsiteX16" fmla="*/ 246867 w 372105"/>
                <a:gd name="connsiteY16" fmla="*/ 103320 h 291757"/>
                <a:gd name="connsiteX17" fmla="*/ 241401 w 372105"/>
                <a:gd name="connsiteY17" fmla="*/ 112310 h 291757"/>
                <a:gd name="connsiteX18" fmla="*/ 250660 w 372105"/>
                <a:gd name="connsiteY18" fmla="*/ 126256 h 291757"/>
                <a:gd name="connsiteX19" fmla="*/ 259910 w 372105"/>
                <a:gd name="connsiteY19" fmla="*/ 138431 h 291757"/>
                <a:gd name="connsiteX20" fmla="*/ 269490 w 372105"/>
                <a:gd name="connsiteY20" fmla="*/ 147439 h 291757"/>
                <a:gd name="connsiteX21" fmla="*/ 351494 w 372105"/>
                <a:gd name="connsiteY21" fmla="*/ 177353 h 291757"/>
                <a:gd name="connsiteX22" fmla="*/ 372596 w 372105"/>
                <a:gd name="connsiteY22" fmla="*/ 177192 h 291757"/>
                <a:gd name="connsiteX23" fmla="*/ 301712 w 372105"/>
                <a:gd name="connsiteY23" fmla="*/ 252477 h 291757"/>
                <a:gd name="connsiteX24" fmla="*/ 269043 w 372105"/>
                <a:gd name="connsiteY24" fmla="*/ 253578 h 291757"/>
                <a:gd name="connsiteX25" fmla="*/ 246688 w 372105"/>
                <a:gd name="connsiteY25" fmla="*/ 271191 h 291757"/>
                <a:gd name="connsiteX26" fmla="*/ 230604 w 372105"/>
                <a:gd name="connsiteY26" fmla="*/ 271657 h 291757"/>
                <a:gd name="connsiteX27" fmla="*/ 223743 w 372105"/>
                <a:gd name="connsiteY27" fmla="*/ 279529 h 291757"/>
                <a:gd name="connsiteX28" fmla="*/ 206604 w 372105"/>
                <a:gd name="connsiteY28" fmla="*/ 279520 h 291757"/>
                <a:gd name="connsiteX29" fmla="*/ 196495 w 372105"/>
                <a:gd name="connsiteY29" fmla="*/ 271084 h 291757"/>
                <a:gd name="connsiteX30" fmla="*/ 173577 w 372105"/>
                <a:gd name="connsiteY30" fmla="*/ 281532 h 291757"/>
                <a:gd name="connsiteX31" fmla="*/ 166170 w 372105"/>
                <a:gd name="connsiteY31" fmla="*/ 291936 h 291757"/>
                <a:gd name="connsiteX32" fmla="*/ 149442 w 372105"/>
                <a:gd name="connsiteY32" fmla="*/ 289968 h 291757"/>
                <a:gd name="connsiteX33" fmla="*/ 143887 w 372105"/>
                <a:gd name="connsiteY33" fmla="*/ 287088 h 291757"/>
                <a:gd name="connsiteX34" fmla="*/ 138009 w 372105"/>
                <a:gd name="connsiteY34" fmla="*/ 287776 h 291757"/>
                <a:gd name="connsiteX35" fmla="*/ 130084 w 372105"/>
                <a:gd name="connsiteY35" fmla="*/ 287526 h 291757"/>
                <a:gd name="connsiteX36" fmla="*/ 98336 w 372105"/>
                <a:gd name="connsiteY36" fmla="*/ 266316 h 291757"/>
                <a:gd name="connsiteX37" fmla="*/ 80884 w 372105"/>
                <a:gd name="connsiteY37" fmla="*/ 266316 h 291757"/>
                <a:gd name="connsiteX38" fmla="*/ 72314 w 372105"/>
                <a:gd name="connsiteY38" fmla="*/ 258086 h 291757"/>
                <a:gd name="connsiteX39" fmla="*/ 72314 w 372105"/>
                <a:gd name="connsiteY39" fmla="*/ 244051 h 291757"/>
                <a:gd name="connsiteX40" fmla="*/ 59289 w 372105"/>
                <a:gd name="connsiteY40" fmla="*/ 239846 h 291757"/>
                <a:gd name="connsiteX41" fmla="*/ 44457 w 372105"/>
                <a:gd name="connsiteY41" fmla="*/ 212589 h 291757"/>
                <a:gd name="connsiteX42" fmla="*/ 33007 w 372105"/>
                <a:gd name="connsiteY42" fmla="*/ 206766 h 291757"/>
                <a:gd name="connsiteX43" fmla="*/ 28606 w 372105"/>
                <a:gd name="connsiteY43" fmla="*/ 196729 h 291757"/>
                <a:gd name="connsiteX44" fmla="*/ 15904 w 372105"/>
                <a:gd name="connsiteY44" fmla="*/ 184483 h 291757"/>
                <a:gd name="connsiteX45" fmla="*/ 490 w 372105"/>
                <a:gd name="connsiteY45" fmla="*/ 182676 h 291757"/>
                <a:gd name="connsiteX46" fmla="*/ 9033 w 372105"/>
                <a:gd name="connsiteY46" fmla="*/ 168345 h 291757"/>
                <a:gd name="connsiteX47" fmla="*/ 22353 w 372105"/>
                <a:gd name="connsiteY47" fmla="*/ 167728 h 291757"/>
                <a:gd name="connsiteX48" fmla="*/ 26101 w 372105"/>
                <a:gd name="connsiteY48" fmla="*/ 160035 h 291757"/>
                <a:gd name="connsiteX49" fmla="*/ 25770 w 372105"/>
                <a:gd name="connsiteY49" fmla="*/ 137340 h 291757"/>
                <a:gd name="connsiteX50" fmla="*/ 33186 w 372105"/>
                <a:gd name="connsiteY50" fmla="*/ 110852 h 291757"/>
                <a:gd name="connsiteX51" fmla="*/ 45066 w 372105"/>
                <a:gd name="connsiteY51" fmla="*/ 103750 h 291757"/>
                <a:gd name="connsiteX52" fmla="*/ 47589 w 372105"/>
                <a:gd name="connsiteY52" fmla="*/ 93364 h 291757"/>
                <a:gd name="connsiteX53" fmla="*/ 58341 w 372105"/>
                <a:gd name="connsiteY53" fmla="*/ 73925 h 291757"/>
                <a:gd name="connsiteX54" fmla="*/ 73468 w 372105"/>
                <a:gd name="connsiteY54" fmla="*/ 61285 h 291757"/>
                <a:gd name="connsiteX55" fmla="*/ 83665 w 372105"/>
                <a:gd name="connsiteY55" fmla="*/ 36086 h 291757"/>
                <a:gd name="connsiteX56" fmla="*/ 87664 w 372105"/>
                <a:gd name="connsiteY56" fmla="*/ 14026 h 291757"/>
                <a:gd name="connsiteX57" fmla="*/ 116862 w 372105"/>
                <a:gd name="connsiteY57" fmla="*/ 19402 h 29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72105" h="291757">
                  <a:moveTo>
                    <a:pt x="124699" y="179"/>
                  </a:moveTo>
                  <a:lnTo>
                    <a:pt x="139924" y="11879"/>
                  </a:lnTo>
                  <a:lnTo>
                    <a:pt x="154630" y="5823"/>
                  </a:lnTo>
                  <a:lnTo>
                    <a:pt x="160677" y="11208"/>
                  </a:lnTo>
                  <a:lnTo>
                    <a:pt x="177870" y="11513"/>
                  </a:lnTo>
                  <a:lnTo>
                    <a:pt x="199707" y="21827"/>
                  </a:lnTo>
                  <a:lnTo>
                    <a:pt x="206192" y="30701"/>
                  </a:lnTo>
                  <a:lnTo>
                    <a:pt x="217311" y="38930"/>
                  </a:lnTo>
                  <a:lnTo>
                    <a:pt x="227625" y="53941"/>
                  </a:lnTo>
                  <a:lnTo>
                    <a:pt x="236195" y="62207"/>
                  </a:lnTo>
                  <a:lnTo>
                    <a:pt x="227384" y="73487"/>
                  </a:lnTo>
                  <a:lnTo>
                    <a:pt x="218895" y="85429"/>
                  </a:lnTo>
                  <a:lnTo>
                    <a:pt x="220854" y="92442"/>
                  </a:lnTo>
                  <a:lnTo>
                    <a:pt x="221256" y="100171"/>
                  </a:lnTo>
                  <a:lnTo>
                    <a:pt x="235265" y="100601"/>
                  </a:lnTo>
                  <a:lnTo>
                    <a:pt x="241303" y="98794"/>
                  </a:lnTo>
                  <a:lnTo>
                    <a:pt x="246867" y="103320"/>
                  </a:lnTo>
                  <a:lnTo>
                    <a:pt x="241401" y="112310"/>
                  </a:lnTo>
                  <a:lnTo>
                    <a:pt x="250660" y="126256"/>
                  </a:lnTo>
                  <a:lnTo>
                    <a:pt x="259910" y="138431"/>
                  </a:lnTo>
                  <a:lnTo>
                    <a:pt x="269490" y="147439"/>
                  </a:lnTo>
                  <a:lnTo>
                    <a:pt x="351494" y="177353"/>
                  </a:lnTo>
                  <a:lnTo>
                    <a:pt x="372596" y="177192"/>
                  </a:lnTo>
                  <a:lnTo>
                    <a:pt x="301712" y="252477"/>
                  </a:lnTo>
                  <a:lnTo>
                    <a:pt x="269043" y="253578"/>
                  </a:lnTo>
                  <a:lnTo>
                    <a:pt x="246688" y="271191"/>
                  </a:lnTo>
                  <a:lnTo>
                    <a:pt x="230604" y="271657"/>
                  </a:lnTo>
                  <a:lnTo>
                    <a:pt x="223743" y="279529"/>
                  </a:lnTo>
                  <a:lnTo>
                    <a:pt x="206604" y="279520"/>
                  </a:lnTo>
                  <a:lnTo>
                    <a:pt x="196495" y="271084"/>
                  </a:lnTo>
                  <a:lnTo>
                    <a:pt x="173577" y="281532"/>
                  </a:lnTo>
                  <a:lnTo>
                    <a:pt x="166170" y="291936"/>
                  </a:lnTo>
                  <a:lnTo>
                    <a:pt x="149442" y="289968"/>
                  </a:lnTo>
                  <a:lnTo>
                    <a:pt x="143887" y="287088"/>
                  </a:lnTo>
                  <a:lnTo>
                    <a:pt x="138009" y="287776"/>
                  </a:lnTo>
                  <a:lnTo>
                    <a:pt x="130084" y="287526"/>
                  </a:lnTo>
                  <a:lnTo>
                    <a:pt x="98336" y="266316"/>
                  </a:lnTo>
                  <a:lnTo>
                    <a:pt x="80884" y="266316"/>
                  </a:lnTo>
                  <a:lnTo>
                    <a:pt x="72314" y="258086"/>
                  </a:lnTo>
                  <a:lnTo>
                    <a:pt x="72314" y="244051"/>
                  </a:lnTo>
                  <a:lnTo>
                    <a:pt x="59289" y="239846"/>
                  </a:lnTo>
                  <a:lnTo>
                    <a:pt x="44457" y="212589"/>
                  </a:lnTo>
                  <a:lnTo>
                    <a:pt x="33007" y="206766"/>
                  </a:lnTo>
                  <a:lnTo>
                    <a:pt x="28606" y="196729"/>
                  </a:lnTo>
                  <a:lnTo>
                    <a:pt x="15904" y="184483"/>
                  </a:lnTo>
                  <a:lnTo>
                    <a:pt x="490" y="182676"/>
                  </a:lnTo>
                  <a:lnTo>
                    <a:pt x="9033" y="168345"/>
                  </a:lnTo>
                  <a:lnTo>
                    <a:pt x="22353" y="167728"/>
                  </a:lnTo>
                  <a:lnTo>
                    <a:pt x="26101" y="160035"/>
                  </a:lnTo>
                  <a:lnTo>
                    <a:pt x="25770" y="137340"/>
                  </a:lnTo>
                  <a:lnTo>
                    <a:pt x="33186" y="110852"/>
                  </a:lnTo>
                  <a:lnTo>
                    <a:pt x="45066" y="103750"/>
                  </a:lnTo>
                  <a:lnTo>
                    <a:pt x="47589" y="93364"/>
                  </a:lnTo>
                  <a:lnTo>
                    <a:pt x="58341" y="73925"/>
                  </a:lnTo>
                  <a:lnTo>
                    <a:pt x="73468" y="61285"/>
                  </a:lnTo>
                  <a:lnTo>
                    <a:pt x="83665" y="36086"/>
                  </a:lnTo>
                  <a:lnTo>
                    <a:pt x="87664" y="14026"/>
                  </a:lnTo>
                  <a:lnTo>
                    <a:pt x="116862" y="1940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4302676" y="6149478"/>
              <a:ext cx="86538" cy="48439"/>
            </a:xfrm>
            <a:custGeom>
              <a:avLst/>
              <a:gdLst>
                <a:gd name="connsiteX0" fmla="*/ 376 w 86538"/>
                <a:gd name="connsiteY0" fmla="*/ 30377 h 48439"/>
                <a:gd name="connsiteX1" fmla="*/ 30477 w 86538"/>
                <a:gd name="connsiteY1" fmla="*/ 6242 h 48439"/>
                <a:gd name="connsiteX2" fmla="*/ 51795 w 86538"/>
                <a:gd name="connsiteY2" fmla="*/ 16262 h 48439"/>
                <a:gd name="connsiteX3" fmla="*/ 66841 w 86538"/>
                <a:gd name="connsiteY3" fmla="*/ 258 h 48439"/>
                <a:gd name="connsiteX4" fmla="*/ 86914 w 86538"/>
                <a:gd name="connsiteY4" fmla="*/ 18266 h 48439"/>
                <a:gd name="connsiteX5" fmla="*/ 79383 w 86538"/>
                <a:gd name="connsiteY5" fmla="*/ 32399 h 48439"/>
                <a:gd name="connsiteX6" fmla="*/ 45524 w 86538"/>
                <a:gd name="connsiteY6" fmla="*/ 44610 h 48439"/>
                <a:gd name="connsiteX7" fmla="*/ 34234 w 86538"/>
                <a:gd name="connsiteY7" fmla="*/ 30377 h 48439"/>
                <a:gd name="connsiteX8" fmla="*/ 12917 w 86538"/>
                <a:gd name="connsiteY8" fmla="*/ 48698 h 4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538" h="48439">
                  <a:moveTo>
                    <a:pt x="376" y="30377"/>
                  </a:moveTo>
                  <a:lnTo>
                    <a:pt x="30477" y="6242"/>
                  </a:lnTo>
                  <a:lnTo>
                    <a:pt x="51795" y="16262"/>
                  </a:lnTo>
                  <a:lnTo>
                    <a:pt x="66841" y="258"/>
                  </a:lnTo>
                  <a:lnTo>
                    <a:pt x="86914" y="18266"/>
                  </a:lnTo>
                  <a:lnTo>
                    <a:pt x="79383" y="32399"/>
                  </a:lnTo>
                  <a:lnTo>
                    <a:pt x="45524" y="44610"/>
                  </a:lnTo>
                  <a:lnTo>
                    <a:pt x="34234" y="30377"/>
                  </a:lnTo>
                  <a:lnTo>
                    <a:pt x="12917" y="4869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6355516" y="2164151"/>
              <a:ext cx="272658" cy="620397"/>
            </a:xfrm>
            <a:custGeom>
              <a:avLst/>
              <a:gdLst>
                <a:gd name="connsiteX0" fmla="*/ 199779 w 272658"/>
                <a:gd name="connsiteY0" fmla="*/ 79203 h 620397"/>
                <a:gd name="connsiteX1" fmla="*/ 196121 w 272658"/>
                <a:gd name="connsiteY1" fmla="*/ 127545 h 620397"/>
                <a:gd name="connsiteX2" fmla="*/ 234533 w 272658"/>
                <a:gd name="connsiteY2" fmla="*/ 172183 h 620397"/>
                <a:gd name="connsiteX3" fmla="*/ 211391 w 272658"/>
                <a:gd name="connsiteY3" fmla="*/ 221186 h 620397"/>
                <a:gd name="connsiteX4" fmla="*/ 240562 w 272658"/>
                <a:gd name="connsiteY4" fmla="*/ 292365 h 620397"/>
                <a:gd name="connsiteX5" fmla="*/ 223673 w 272658"/>
                <a:gd name="connsiteY5" fmla="*/ 343918 h 620397"/>
                <a:gd name="connsiteX6" fmla="*/ 246251 w 272658"/>
                <a:gd name="connsiteY6" fmla="*/ 387349 h 620397"/>
                <a:gd name="connsiteX7" fmla="*/ 236000 w 272658"/>
                <a:gd name="connsiteY7" fmla="*/ 424428 h 620397"/>
                <a:gd name="connsiteX8" fmla="*/ 273133 w 272658"/>
                <a:gd name="connsiteY8" fmla="*/ 462500 h 620397"/>
                <a:gd name="connsiteX9" fmla="*/ 263695 w 272658"/>
                <a:gd name="connsiteY9" fmla="*/ 490276 h 620397"/>
                <a:gd name="connsiteX10" fmla="*/ 240392 w 272658"/>
                <a:gd name="connsiteY10" fmla="*/ 521156 h 620397"/>
                <a:gd name="connsiteX11" fmla="*/ 186692 w 272658"/>
                <a:gd name="connsiteY11" fmla="*/ 587406 h 620397"/>
                <a:gd name="connsiteX12" fmla="*/ 141178 w 272658"/>
                <a:gd name="connsiteY12" fmla="*/ 591440 h 620397"/>
                <a:gd name="connsiteX13" fmla="*/ 97067 w 272658"/>
                <a:gd name="connsiteY13" fmla="*/ 609940 h 620397"/>
                <a:gd name="connsiteX14" fmla="*/ 56258 w 272658"/>
                <a:gd name="connsiteY14" fmla="*/ 620486 h 620397"/>
                <a:gd name="connsiteX15" fmla="*/ 41739 w 272658"/>
                <a:gd name="connsiteY15" fmla="*/ 593068 h 620397"/>
                <a:gd name="connsiteX16" fmla="*/ 17453 w 272658"/>
                <a:gd name="connsiteY16" fmla="*/ 576349 h 620397"/>
                <a:gd name="connsiteX17" fmla="*/ 23034 w 272658"/>
                <a:gd name="connsiteY17" fmla="*/ 525109 h 620397"/>
                <a:gd name="connsiteX18" fmla="*/ 10850 w 272658"/>
                <a:gd name="connsiteY18" fmla="*/ 476732 h 620397"/>
                <a:gd name="connsiteX19" fmla="*/ 22811 w 272658"/>
                <a:gd name="connsiteY19" fmla="*/ 444716 h 620397"/>
                <a:gd name="connsiteX20" fmla="*/ 45550 w 272658"/>
                <a:gd name="connsiteY20" fmla="*/ 409453 h 620397"/>
                <a:gd name="connsiteX21" fmla="*/ 102936 w 272658"/>
                <a:gd name="connsiteY21" fmla="*/ 346656 h 620397"/>
                <a:gd name="connsiteX22" fmla="*/ 119673 w 272658"/>
                <a:gd name="connsiteY22" fmla="*/ 334257 h 620397"/>
                <a:gd name="connsiteX23" fmla="*/ 117070 w 272658"/>
                <a:gd name="connsiteY23" fmla="*/ 308879 h 620397"/>
                <a:gd name="connsiteX24" fmla="*/ 82182 w 272658"/>
                <a:gd name="connsiteY24" fmla="*/ 280030 h 620397"/>
                <a:gd name="connsiteX25" fmla="*/ 73720 w 272658"/>
                <a:gd name="connsiteY25" fmla="*/ 255877 h 620397"/>
                <a:gd name="connsiteX26" fmla="*/ 73058 w 272658"/>
                <a:gd name="connsiteY26" fmla="*/ 156403 h 620397"/>
                <a:gd name="connsiteX27" fmla="*/ 33903 w 272658"/>
                <a:gd name="connsiteY27" fmla="*/ 110307 h 620397"/>
                <a:gd name="connsiteX28" fmla="*/ 474 w 272658"/>
                <a:gd name="connsiteY28" fmla="*/ 76296 h 620397"/>
                <a:gd name="connsiteX29" fmla="*/ 15511 w 272658"/>
                <a:gd name="connsiteY29" fmla="*/ 57618 h 620397"/>
                <a:gd name="connsiteX30" fmla="*/ 43385 w 272658"/>
                <a:gd name="connsiteY30" fmla="*/ 94768 h 620397"/>
                <a:gd name="connsiteX31" fmla="*/ 76135 w 272658"/>
                <a:gd name="connsiteY31" fmla="*/ 91333 h 620397"/>
                <a:gd name="connsiteX32" fmla="*/ 103061 w 272658"/>
                <a:gd name="connsiteY32" fmla="*/ 108052 h 620397"/>
                <a:gd name="connsiteX33" fmla="*/ 126981 w 272658"/>
                <a:gd name="connsiteY33" fmla="*/ 77289 h 620397"/>
                <a:gd name="connsiteX34" fmla="*/ 139281 w 272658"/>
                <a:gd name="connsiteY34" fmla="*/ 24913 h 620397"/>
                <a:gd name="connsiteX35" fmla="*/ 178221 w 272658"/>
                <a:gd name="connsiteY35" fmla="*/ 89 h 620397"/>
                <a:gd name="connsiteX36" fmla="*/ 210407 w 272658"/>
                <a:gd name="connsiteY36" fmla="*/ 29180 h 62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72658" h="620397">
                  <a:moveTo>
                    <a:pt x="199779" y="79203"/>
                  </a:moveTo>
                  <a:lnTo>
                    <a:pt x="196121" y="127545"/>
                  </a:lnTo>
                  <a:lnTo>
                    <a:pt x="234533" y="172183"/>
                  </a:lnTo>
                  <a:lnTo>
                    <a:pt x="211391" y="221186"/>
                  </a:lnTo>
                  <a:lnTo>
                    <a:pt x="240562" y="292365"/>
                  </a:lnTo>
                  <a:lnTo>
                    <a:pt x="223673" y="343918"/>
                  </a:lnTo>
                  <a:lnTo>
                    <a:pt x="246251" y="387349"/>
                  </a:lnTo>
                  <a:lnTo>
                    <a:pt x="236000" y="424428"/>
                  </a:lnTo>
                  <a:lnTo>
                    <a:pt x="273133" y="462500"/>
                  </a:lnTo>
                  <a:lnTo>
                    <a:pt x="263695" y="490276"/>
                  </a:lnTo>
                  <a:lnTo>
                    <a:pt x="240392" y="521156"/>
                  </a:lnTo>
                  <a:lnTo>
                    <a:pt x="186692" y="587406"/>
                  </a:lnTo>
                  <a:lnTo>
                    <a:pt x="141178" y="591440"/>
                  </a:lnTo>
                  <a:lnTo>
                    <a:pt x="97067" y="609940"/>
                  </a:lnTo>
                  <a:lnTo>
                    <a:pt x="56258" y="620486"/>
                  </a:lnTo>
                  <a:lnTo>
                    <a:pt x="41739" y="593068"/>
                  </a:lnTo>
                  <a:lnTo>
                    <a:pt x="17453" y="576349"/>
                  </a:lnTo>
                  <a:lnTo>
                    <a:pt x="23034" y="525109"/>
                  </a:lnTo>
                  <a:lnTo>
                    <a:pt x="10850" y="476732"/>
                  </a:lnTo>
                  <a:lnTo>
                    <a:pt x="22811" y="444716"/>
                  </a:lnTo>
                  <a:lnTo>
                    <a:pt x="45550" y="409453"/>
                  </a:lnTo>
                  <a:lnTo>
                    <a:pt x="102936" y="346656"/>
                  </a:lnTo>
                  <a:lnTo>
                    <a:pt x="119673" y="334257"/>
                  </a:lnTo>
                  <a:lnTo>
                    <a:pt x="117070" y="308879"/>
                  </a:lnTo>
                  <a:lnTo>
                    <a:pt x="82182" y="280030"/>
                  </a:lnTo>
                  <a:lnTo>
                    <a:pt x="73720" y="255877"/>
                  </a:lnTo>
                  <a:lnTo>
                    <a:pt x="73058" y="156403"/>
                  </a:lnTo>
                  <a:lnTo>
                    <a:pt x="33903" y="110307"/>
                  </a:lnTo>
                  <a:lnTo>
                    <a:pt x="474" y="76296"/>
                  </a:lnTo>
                  <a:lnTo>
                    <a:pt x="15511" y="57618"/>
                  </a:lnTo>
                  <a:lnTo>
                    <a:pt x="43385" y="94768"/>
                  </a:lnTo>
                  <a:lnTo>
                    <a:pt x="76135" y="91333"/>
                  </a:lnTo>
                  <a:lnTo>
                    <a:pt x="103061" y="108052"/>
                  </a:lnTo>
                  <a:lnTo>
                    <a:pt x="126981" y="77289"/>
                  </a:lnTo>
                  <a:lnTo>
                    <a:pt x="139281" y="24913"/>
                  </a:lnTo>
                  <a:lnTo>
                    <a:pt x="178221" y="89"/>
                  </a:lnTo>
                  <a:lnTo>
                    <a:pt x="210407" y="2918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10284325" y="5065623"/>
              <a:ext cx="73272" cy="59156"/>
            </a:xfrm>
            <a:custGeom>
              <a:avLst/>
              <a:gdLst>
                <a:gd name="connsiteX0" fmla="*/ 73922 w 73272"/>
                <a:gd name="connsiteY0" fmla="*/ 209 h 59156"/>
                <a:gd name="connsiteX1" fmla="*/ 70809 w 73272"/>
                <a:gd name="connsiteY1" fmla="*/ 12697 h 59156"/>
                <a:gd name="connsiteX2" fmla="*/ 68742 w 73272"/>
                <a:gd name="connsiteY2" fmla="*/ 14083 h 59156"/>
                <a:gd name="connsiteX3" fmla="*/ 52801 w 73272"/>
                <a:gd name="connsiteY3" fmla="*/ 20488 h 59156"/>
                <a:gd name="connsiteX4" fmla="*/ 36771 w 73272"/>
                <a:gd name="connsiteY4" fmla="*/ 25972 h 59156"/>
                <a:gd name="connsiteX5" fmla="*/ 33551 w 73272"/>
                <a:gd name="connsiteY5" fmla="*/ 16266 h 59156"/>
                <a:gd name="connsiteX6" fmla="*/ 46083 w 73272"/>
                <a:gd name="connsiteY6" fmla="*/ 10934 h 59156"/>
                <a:gd name="connsiteX7" fmla="*/ 54036 w 73272"/>
                <a:gd name="connsiteY7" fmla="*/ 9503 h 59156"/>
                <a:gd name="connsiteX8" fmla="*/ 68751 w 73272"/>
                <a:gd name="connsiteY8" fmla="*/ 1408 h 59156"/>
                <a:gd name="connsiteX9" fmla="*/ 73922 w 73272"/>
                <a:gd name="connsiteY9" fmla="*/ 209 h 59156"/>
                <a:gd name="connsiteX10" fmla="*/ 21725 w 73272"/>
                <a:gd name="connsiteY10" fmla="*/ 38845 h 59156"/>
                <a:gd name="connsiteX11" fmla="*/ 10328 w 73272"/>
                <a:gd name="connsiteY11" fmla="*/ 35615 h 59156"/>
                <a:gd name="connsiteX12" fmla="*/ 649 w 73272"/>
                <a:gd name="connsiteY12" fmla="*/ 44597 h 59156"/>
                <a:gd name="connsiteX13" fmla="*/ 3073 w 73272"/>
                <a:gd name="connsiteY13" fmla="*/ 56118 h 59156"/>
                <a:gd name="connsiteX14" fmla="*/ 16903 w 73272"/>
                <a:gd name="connsiteY14" fmla="*/ 59366 h 59156"/>
                <a:gd name="connsiteX15" fmla="*/ 32450 w 73272"/>
                <a:gd name="connsiteY15" fmla="*/ 55760 h 59156"/>
                <a:gd name="connsiteX16" fmla="*/ 36592 w 73272"/>
                <a:gd name="connsiteY16" fmla="*/ 42083 h 59156"/>
                <a:gd name="connsiteX17" fmla="*/ 27960 w 73272"/>
                <a:gd name="connsiteY17" fmla="*/ 34542 h 59156"/>
                <a:gd name="connsiteX18" fmla="*/ 21725 w 73272"/>
                <a:gd name="connsiteY18" fmla="*/ 38845 h 59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3272" h="59156">
                  <a:moveTo>
                    <a:pt x="73922" y="209"/>
                  </a:moveTo>
                  <a:lnTo>
                    <a:pt x="70809" y="12697"/>
                  </a:lnTo>
                  <a:lnTo>
                    <a:pt x="68742" y="14083"/>
                  </a:lnTo>
                  <a:lnTo>
                    <a:pt x="52801" y="20488"/>
                  </a:lnTo>
                  <a:lnTo>
                    <a:pt x="36771" y="25972"/>
                  </a:lnTo>
                  <a:lnTo>
                    <a:pt x="33551" y="16266"/>
                  </a:lnTo>
                  <a:lnTo>
                    <a:pt x="46083" y="10934"/>
                  </a:lnTo>
                  <a:lnTo>
                    <a:pt x="54036" y="9503"/>
                  </a:lnTo>
                  <a:lnTo>
                    <a:pt x="68751" y="1408"/>
                  </a:lnTo>
                  <a:lnTo>
                    <a:pt x="73922" y="209"/>
                  </a:lnTo>
                  <a:close/>
                  <a:moveTo>
                    <a:pt x="21725" y="38845"/>
                  </a:moveTo>
                  <a:lnTo>
                    <a:pt x="10328" y="35615"/>
                  </a:lnTo>
                  <a:lnTo>
                    <a:pt x="649" y="44597"/>
                  </a:lnTo>
                  <a:lnTo>
                    <a:pt x="3073" y="56118"/>
                  </a:lnTo>
                  <a:lnTo>
                    <a:pt x="16903" y="59366"/>
                  </a:lnTo>
                  <a:lnTo>
                    <a:pt x="32450" y="55760"/>
                  </a:lnTo>
                  <a:lnTo>
                    <a:pt x="36592" y="42083"/>
                  </a:lnTo>
                  <a:lnTo>
                    <a:pt x="27960" y="34542"/>
                  </a:lnTo>
                  <a:lnTo>
                    <a:pt x="21725" y="3884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5722487" y="3170814"/>
              <a:ext cx="354984" cy="354644"/>
            </a:xfrm>
            <a:custGeom>
              <a:avLst/>
              <a:gdLst>
                <a:gd name="connsiteX0" fmla="*/ 355431 w 354984"/>
                <a:gd name="connsiteY0" fmla="*/ 328894 h 354644"/>
                <a:gd name="connsiteX1" fmla="*/ 347148 w 354984"/>
                <a:gd name="connsiteY1" fmla="*/ 354774 h 354644"/>
                <a:gd name="connsiteX2" fmla="*/ 335760 w 354984"/>
                <a:gd name="connsiteY2" fmla="*/ 347984 h 354644"/>
                <a:gd name="connsiteX3" fmla="*/ 329954 w 354984"/>
                <a:gd name="connsiteY3" fmla="*/ 325388 h 354644"/>
                <a:gd name="connsiteX4" fmla="*/ 335018 w 354984"/>
                <a:gd name="connsiteY4" fmla="*/ 312801 h 354644"/>
                <a:gd name="connsiteX5" fmla="*/ 351173 w 354984"/>
                <a:gd name="connsiteY5" fmla="*/ 299786 h 354644"/>
                <a:gd name="connsiteX6" fmla="*/ 355431 w 354984"/>
                <a:gd name="connsiteY6" fmla="*/ 328894 h 354644"/>
                <a:gd name="connsiteX7" fmla="*/ 205639 w 354984"/>
                <a:gd name="connsiteY7" fmla="*/ 30562 h 354644"/>
                <a:gd name="connsiteX8" fmla="*/ 223145 w 354984"/>
                <a:gd name="connsiteY8" fmla="*/ 48963 h 354644"/>
                <a:gd name="connsiteX9" fmla="*/ 236018 w 354984"/>
                <a:gd name="connsiteY9" fmla="*/ 45939 h 354644"/>
                <a:gd name="connsiteX10" fmla="*/ 257961 w 354984"/>
                <a:gd name="connsiteY10" fmla="*/ 63588 h 354644"/>
                <a:gd name="connsiteX11" fmla="*/ 263570 w 354984"/>
                <a:gd name="connsiteY11" fmla="*/ 66934 h 354644"/>
                <a:gd name="connsiteX12" fmla="*/ 270807 w 354984"/>
                <a:gd name="connsiteY12" fmla="*/ 66120 h 354644"/>
                <a:gd name="connsiteX13" fmla="*/ 282642 w 354984"/>
                <a:gd name="connsiteY13" fmla="*/ 76166 h 354644"/>
                <a:gd name="connsiteX14" fmla="*/ 318781 w 354984"/>
                <a:gd name="connsiteY14" fmla="*/ 83206 h 354644"/>
                <a:gd name="connsiteX15" fmla="*/ 306106 w 354984"/>
                <a:gd name="connsiteY15" fmla="*/ 109139 h 354644"/>
                <a:gd name="connsiteX16" fmla="*/ 302921 w 354984"/>
                <a:gd name="connsiteY16" fmla="*/ 135752 h 354644"/>
                <a:gd name="connsiteX17" fmla="*/ 296033 w 354984"/>
                <a:gd name="connsiteY17" fmla="*/ 142076 h 354644"/>
                <a:gd name="connsiteX18" fmla="*/ 284601 w 354984"/>
                <a:gd name="connsiteY18" fmla="*/ 138668 h 354644"/>
                <a:gd name="connsiteX19" fmla="*/ 285406 w 354984"/>
                <a:gd name="connsiteY19" fmla="*/ 148061 h 354644"/>
                <a:gd name="connsiteX20" fmla="*/ 267058 w 354984"/>
                <a:gd name="connsiteY20" fmla="*/ 168662 h 354644"/>
                <a:gd name="connsiteX21" fmla="*/ 266692 w 354984"/>
                <a:gd name="connsiteY21" fmla="*/ 185104 h 354644"/>
                <a:gd name="connsiteX22" fmla="*/ 278670 w 354984"/>
                <a:gd name="connsiteY22" fmla="*/ 179433 h 354644"/>
                <a:gd name="connsiteX23" fmla="*/ 287284 w 354984"/>
                <a:gd name="connsiteY23" fmla="*/ 195275 h 354644"/>
                <a:gd name="connsiteX24" fmla="*/ 286247 w 354984"/>
                <a:gd name="connsiteY24" fmla="*/ 205419 h 354644"/>
                <a:gd name="connsiteX25" fmla="*/ 293627 w 354984"/>
                <a:gd name="connsiteY25" fmla="*/ 218820 h 354644"/>
                <a:gd name="connsiteX26" fmla="*/ 284932 w 354984"/>
                <a:gd name="connsiteY26" fmla="*/ 229626 h 354644"/>
                <a:gd name="connsiteX27" fmla="*/ 291399 w 354984"/>
                <a:gd name="connsiteY27" fmla="*/ 256811 h 354644"/>
                <a:gd name="connsiteX28" fmla="*/ 304997 w 354984"/>
                <a:gd name="connsiteY28" fmla="*/ 261231 h 354644"/>
                <a:gd name="connsiteX29" fmla="*/ 302125 w 354984"/>
                <a:gd name="connsiteY29" fmla="*/ 276295 h 354644"/>
                <a:gd name="connsiteX30" fmla="*/ 279403 w 354984"/>
                <a:gd name="connsiteY30" fmla="*/ 295733 h 354644"/>
                <a:gd name="connsiteX31" fmla="*/ 229935 w 354984"/>
                <a:gd name="connsiteY31" fmla="*/ 286439 h 354644"/>
                <a:gd name="connsiteX32" fmla="*/ 193410 w 354984"/>
                <a:gd name="connsiteY32" fmla="*/ 297567 h 354644"/>
                <a:gd name="connsiteX33" fmla="*/ 190539 w 354984"/>
                <a:gd name="connsiteY33" fmla="*/ 318070 h 354644"/>
                <a:gd name="connsiteX34" fmla="*/ 161466 w 354984"/>
                <a:gd name="connsiteY34" fmla="*/ 322454 h 354644"/>
                <a:gd name="connsiteX35" fmla="*/ 133243 w 354984"/>
                <a:gd name="connsiteY35" fmla="*/ 307103 h 354644"/>
                <a:gd name="connsiteX36" fmla="*/ 124119 w 354984"/>
                <a:gd name="connsiteY36" fmla="*/ 314447 h 354644"/>
                <a:gd name="connsiteX37" fmla="*/ 77951 w 354984"/>
                <a:gd name="connsiteY37" fmla="*/ 298972 h 354644"/>
                <a:gd name="connsiteX38" fmla="*/ 67950 w 354984"/>
                <a:gd name="connsiteY38" fmla="*/ 285634 h 354644"/>
                <a:gd name="connsiteX39" fmla="*/ 80921 w 354984"/>
                <a:gd name="connsiteY39" fmla="*/ 264889 h 354644"/>
                <a:gd name="connsiteX40" fmla="*/ 85698 w 354984"/>
                <a:gd name="connsiteY40" fmla="*/ 194425 h 354644"/>
                <a:gd name="connsiteX41" fmla="*/ 59809 w 354984"/>
                <a:gd name="connsiteY41" fmla="*/ 156282 h 354644"/>
                <a:gd name="connsiteX42" fmla="*/ 41310 w 354984"/>
                <a:gd name="connsiteY42" fmla="*/ 137621 h 354644"/>
                <a:gd name="connsiteX43" fmla="*/ 2978 w 354984"/>
                <a:gd name="connsiteY43" fmla="*/ 123318 h 354644"/>
                <a:gd name="connsiteX44" fmla="*/ 447 w 354984"/>
                <a:gd name="connsiteY44" fmla="*/ 95891 h 354644"/>
                <a:gd name="connsiteX45" fmla="*/ 32973 w 354984"/>
                <a:gd name="connsiteY45" fmla="*/ 87634 h 354644"/>
                <a:gd name="connsiteX46" fmla="*/ 75088 w 354984"/>
                <a:gd name="connsiteY46" fmla="*/ 97394 h 354644"/>
                <a:gd name="connsiteX47" fmla="*/ 67135 w 354984"/>
                <a:gd name="connsiteY47" fmla="*/ 54053 h 354644"/>
                <a:gd name="connsiteX48" fmla="*/ 90814 w 354984"/>
                <a:gd name="connsiteY48" fmla="*/ 70593 h 354644"/>
                <a:gd name="connsiteX49" fmla="*/ 149211 w 354984"/>
                <a:gd name="connsiteY49" fmla="*/ 40411 h 354644"/>
                <a:gd name="connsiteX50" fmla="*/ 156743 w 354984"/>
                <a:gd name="connsiteY50" fmla="*/ 8162 h 354644"/>
                <a:gd name="connsiteX51" fmla="*/ 178677 w 354984"/>
                <a:gd name="connsiteY51" fmla="*/ 129 h 354644"/>
                <a:gd name="connsiteX52" fmla="*/ 182309 w 354984"/>
                <a:gd name="connsiteY52" fmla="*/ 14102 h 354644"/>
                <a:gd name="connsiteX53" fmla="*/ 193965 w 354984"/>
                <a:gd name="connsiteY53" fmla="*/ 14755 h 354644"/>
                <a:gd name="connsiteX54" fmla="*/ 205639 w 354984"/>
                <a:gd name="connsiteY54" fmla="*/ 30562 h 35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54984" h="354644">
                  <a:moveTo>
                    <a:pt x="355431" y="328894"/>
                  </a:moveTo>
                  <a:lnTo>
                    <a:pt x="347148" y="354774"/>
                  </a:lnTo>
                  <a:lnTo>
                    <a:pt x="335760" y="347984"/>
                  </a:lnTo>
                  <a:lnTo>
                    <a:pt x="329954" y="325388"/>
                  </a:lnTo>
                  <a:lnTo>
                    <a:pt x="335018" y="312801"/>
                  </a:lnTo>
                  <a:lnTo>
                    <a:pt x="351173" y="299786"/>
                  </a:lnTo>
                  <a:lnTo>
                    <a:pt x="355431" y="328894"/>
                  </a:lnTo>
                  <a:close/>
                  <a:moveTo>
                    <a:pt x="205639" y="30562"/>
                  </a:moveTo>
                  <a:lnTo>
                    <a:pt x="223145" y="48963"/>
                  </a:lnTo>
                  <a:lnTo>
                    <a:pt x="236018" y="45939"/>
                  </a:lnTo>
                  <a:lnTo>
                    <a:pt x="257961" y="63588"/>
                  </a:lnTo>
                  <a:lnTo>
                    <a:pt x="263570" y="66934"/>
                  </a:lnTo>
                  <a:lnTo>
                    <a:pt x="270807" y="66120"/>
                  </a:lnTo>
                  <a:lnTo>
                    <a:pt x="282642" y="76166"/>
                  </a:lnTo>
                  <a:lnTo>
                    <a:pt x="318781" y="83206"/>
                  </a:lnTo>
                  <a:lnTo>
                    <a:pt x="306106" y="109139"/>
                  </a:lnTo>
                  <a:lnTo>
                    <a:pt x="302921" y="135752"/>
                  </a:lnTo>
                  <a:lnTo>
                    <a:pt x="296033" y="142076"/>
                  </a:lnTo>
                  <a:lnTo>
                    <a:pt x="284601" y="138668"/>
                  </a:lnTo>
                  <a:lnTo>
                    <a:pt x="285406" y="148061"/>
                  </a:lnTo>
                  <a:lnTo>
                    <a:pt x="267058" y="168662"/>
                  </a:lnTo>
                  <a:lnTo>
                    <a:pt x="266692" y="185104"/>
                  </a:lnTo>
                  <a:lnTo>
                    <a:pt x="278670" y="179433"/>
                  </a:lnTo>
                  <a:lnTo>
                    <a:pt x="287284" y="195275"/>
                  </a:lnTo>
                  <a:lnTo>
                    <a:pt x="286247" y="205419"/>
                  </a:lnTo>
                  <a:lnTo>
                    <a:pt x="293627" y="218820"/>
                  </a:lnTo>
                  <a:lnTo>
                    <a:pt x="284932" y="229626"/>
                  </a:lnTo>
                  <a:lnTo>
                    <a:pt x="291399" y="256811"/>
                  </a:lnTo>
                  <a:lnTo>
                    <a:pt x="304997" y="261231"/>
                  </a:lnTo>
                  <a:lnTo>
                    <a:pt x="302125" y="276295"/>
                  </a:lnTo>
                  <a:lnTo>
                    <a:pt x="279403" y="295733"/>
                  </a:lnTo>
                  <a:lnTo>
                    <a:pt x="229935" y="286439"/>
                  </a:lnTo>
                  <a:lnTo>
                    <a:pt x="193410" y="297567"/>
                  </a:lnTo>
                  <a:lnTo>
                    <a:pt x="190539" y="318070"/>
                  </a:lnTo>
                  <a:lnTo>
                    <a:pt x="161466" y="322454"/>
                  </a:lnTo>
                  <a:lnTo>
                    <a:pt x="133243" y="307103"/>
                  </a:lnTo>
                  <a:lnTo>
                    <a:pt x="124119" y="314447"/>
                  </a:lnTo>
                  <a:lnTo>
                    <a:pt x="77951" y="298972"/>
                  </a:lnTo>
                  <a:lnTo>
                    <a:pt x="67950" y="285634"/>
                  </a:lnTo>
                  <a:lnTo>
                    <a:pt x="80921" y="264889"/>
                  </a:lnTo>
                  <a:lnTo>
                    <a:pt x="85698" y="194425"/>
                  </a:lnTo>
                  <a:lnTo>
                    <a:pt x="59809" y="156282"/>
                  </a:lnTo>
                  <a:lnTo>
                    <a:pt x="41310" y="137621"/>
                  </a:lnTo>
                  <a:lnTo>
                    <a:pt x="2978" y="123318"/>
                  </a:lnTo>
                  <a:lnTo>
                    <a:pt x="447" y="95891"/>
                  </a:lnTo>
                  <a:lnTo>
                    <a:pt x="32973" y="87634"/>
                  </a:lnTo>
                  <a:lnTo>
                    <a:pt x="75088" y="97394"/>
                  </a:lnTo>
                  <a:lnTo>
                    <a:pt x="67135" y="54053"/>
                  </a:lnTo>
                  <a:lnTo>
                    <a:pt x="90814" y="70593"/>
                  </a:lnTo>
                  <a:lnTo>
                    <a:pt x="149211" y="40411"/>
                  </a:lnTo>
                  <a:lnTo>
                    <a:pt x="156743" y="8162"/>
                  </a:lnTo>
                  <a:lnTo>
                    <a:pt x="178677" y="129"/>
                  </a:lnTo>
                  <a:lnTo>
                    <a:pt x="182309" y="14102"/>
                  </a:lnTo>
                  <a:lnTo>
                    <a:pt x="193965" y="14755"/>
                  </a:lnTo>
                  <a:lnTo>
                    <a:pt x="205639" y="3056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6058355" y="4603123"/>
              <a:ext cx="141151" cy="157199"/>
            </a:xfrm>
            <a:custGeom>
              <a:avLst/>
              <a:gdLst>
                <a:gd name="connsiteX0" fmla="*/ 58040 w 141151"/>
                <a:gd name="connsiteY0" fmla="*/ 157389 h 157199"/>
                <a:gd name="connsiteX1" fmla="*/ 32268 w 141151"/>
                <a:gd name="connsiteY1" fmla="*/ 132190 h 157199"/>
                <a:gd name="connsiteX2" fmla="*/ 15692 w 141151"/>
                <a:gd name="connsiteY2" fmla="*/ 111606 h 157199"/>
                <a:gd name="connsiteX3" fmla="*/ 457 w 141151"/>
                <a:gd name="connsiteY3" fmla="*/ 85861 h 157199"/>
                <a:gd name="connsiteX4" fmla="*/ 1262 w 141151"/>
                <a:gd name="connsiteY4" fmla="*/ 77586 h 157199"/>
                <a:gd name="connsiteX5" fmla="*/ 6746 w 141151"/>
                <a:gd name="connsiteY5" fmla="*/ 69625 h 157199"/>
                <a:gd name="connsiteX6" fmla="*/ 12838 w 141151"/>
                <a:gd name="connsiteY6" fmla="*/ 51483 h 157199"/>
                <a:gd name="connsiteX7" fmla="*/ 17892 w 141151"/>
                <a:gd name="connsiteY7" fmla="*/ 33011 h 157199"/>
                <a:gd name="connsiteX8" fmla="*/ 26346 w 141151"/>
                <a:gd name="connsiteY8" fmla="*/ 31571 h 157199"/>
                <a:gd name="connsiteX9" fmla="*/ 62843 w 141151"/>
                <a:gd name="connsiteY9" fmla="*/ 31821 h 157199"/>
                <a:gd name="connsiteX10" fmla="*/ 62629 w 141151"/>
                <a:gd name="connsiteY10" fmla="*/ 1827 h 157199"/>
                <a:gd name="connsiteX11" fmla="*/ 74544 w 141151"/>
                <a:gd name="connsiteY11" fmla="*/ 190 h 157199"/>
                <a:gd name="connsiteX12" fmla="*/ 89787 w 141151"/>
                <a:gd name="connsiteY12" fmla="*/ 3527 h 157199"/>
                <a:gd name="connsiteX13" fmla="*/ 104628 w 141151"/>
                <a:gd name="connsiteY13" fmla="*/ 315 h 157199"/>
                <a:gd name="connsiteX14" fmla="*/ 107759 w 141151"/>
                <a:gd name="connsiteY14" fmla="*/ 1675 h 157199"/>
                <a:gd name="connsiteX15" fmla="*/ 105934 w 141151"/>
                <a:gd name="connsiteY15" fmla="*/ 12553 h 157199"/>
                <a:gd name="connsiteX16" fmla="*/ 112947 w 141151"/>
                <a:gd name="connsiteY16" fmla="*/ 25434 h 157199"/>
                <a:gd name="connsiteX17" fmla="*/ 131607 w 141151"/>
                <a:gd name="connsiteY17" fmla="*/ 23403 h 157199"/>
                <a:gd name="connsiteX18" fmla="*/ 137860 w 141151"/>
                <a:gd name="connsiteY18" fmla="*/ 28350 h 157199"/>
                <a:gd name="connsiteX19" fmla="*/ 127001 w 141151"/>
                <a:gd name="connsiteY19" fmla="*/ 57209 h 157199"/>
                <a:gd name="connsiteX20" fmla="*/ 138871 w 141151"/>
                <a:gd name="connsiteY20" fmla="*/ 71942 h 157199"/>
                <a:gd name="connsiteX21" fmla="*/ 141609 w 141151"/>
                <a:gd name="connsiteY21" fmla="*/ 91398 h 157199"/>
                <a:gd name="connsiteX22" fmla="*/ 138442 w 141151"/>
                <a:gd name="connsiteY22" fmla="*/ 107974 h 157199"/>
                <a:gd name="connsiteX23" fmla="*/ 130740 w 141151"/>
                <a:gd name="connsiteY23" fmla="*/ 119756 h 157199"/>
                <a:gd name="connsiteX24" fmla="*/ 108600 w 141151"/>
                <a:gd name="connsiteY24" fmla="*/ 118700 h 157199"/>
                <a:gd name="connsiteX25" fmla="*/ 95199 w 141151"/>
                <a:gd name="connsiteY25" fmla="*/ 106731 h 157199"/>
                <a:gd name="connsiteX26" fmla="*/ 93204 w 141151"/>
                <a:gd name="connsiteY26" fmla="*/ 117779 h 157199"/>
                <a:gd name="connsiteX27" fmla="*/ 76280 w 141151"/>
                <a:gd name="connsiteY27" fmla="*/ 120838 h 157199"/>
                <a:gd name="connsiteX28" fmla="*/ 67683 w 141151"/>
                <a:gd name="connsiteY28" fmla="*/ 127109 h 157199"/>
                <a:gd name="connsiteX29" fmla="*/ 77138 w 141151"/>
                <a:gd name="connsiteY29" fmla="*/ 143604 h 15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1151" h="157199">
                  <a:moveTo>
                    <a:pt x="58040" y="157389"/>
                  </a:moveTo>
                  <a:lnTo>
                    <a:pt x="32268" y="132190"/>
                  </a:lnTo>
                  <a:lnTo>
                    <a:pt x="15692" y="111606"/>
                  </a:lnTo>
                  <a:lnTo>
                    <a:pt x="457" y="85861"/>
                  </a:lnTo>
                  <a:lnTo>
                    <a:pt x="1262" y="77586"/>
                  </a:lnTo>
                  <a:lnTo>
                    <a:pt x="6746" y="69625"/>
                  </a:lnTo>
                  <a:lnTo>
                    <a:pt x="12838" y="51483"/>
                  </a:lnTo>
                  <a:lnTo>
                    <a:pt x="17892" y="33011"/>
                  </a:lnTo>
                  <a:lnTo>
                    <a:pt x="26346" y="31571"/>
                  </a:lnTo>
                  <a:lnTo>
                    <a:pt x="62843" y="31821"/>
                  </a:lnTo>
                  <a:lnTo>
                    <a:pt x="62629" y="1827"/>
                  </a:lnTo>
                  <a:lnTo>
                    <a:pt x="74544" y="190"/>
                  </a:lnTo>
                  <a:lnTo>
                    <a:pt x="89787" y="3527"/>
                  </a:lnTo>
                  <a:lnTo>
                    <a:pt x="104628" y="315"/>
                  </a:lnTo>
                  <a:lnTo>
                    <a:pt x="107759" y="1675"/>
                  </a:lnTo>
                  <a:lnTo>
                    <a:pt x="105934" y="12553"/>
                  </a:lnTo>
                  <a:lnTo>
                    <a:pt x="112947" y="25434"/>
                  </a:lnTo>
                  <a:lnTo>
                    <a:pt x="131607" y="23403"/>
                  </a:lnTo>
                  <a:lnTo>
                    <a:pt x="137860" y="28350"/>
                  </a:lnTo>
                  <a:lnTo>
                    <a:pt x="127001" y="57209"/>
                  </a:lnTo>
                  <a:lnTo>
                    <a:pt x="138871" y="71942"/>
                  </a:lnTo>
                  <a:lnTo>
                    <a:pt x="141609" y="91398"/>
                  </a:lnTo>
                  <a:lnTo>
                    <a:pt x="138442" y="107974"/>
                  </a:lnTo>
                  <a:lnTo>
                    <a:pt x="130740" y="119756"/>
                  </a:lnTo>
                  <a:lnTo>
                    <a:pt x="108600" y="118700"/>
                  </a:lnTo>
                  <a:lnTo>
                    <a:pt x="95199" y="106731"/>
                  </a:lnTo>
                  <a:lnTo>
                    <a:pt x="93204" y="117779"/>
                  </a:lnTo>
                  <a:lnTo>
                    <a:pt x="76280" y="120838"/>
                  </a:lnTo>
                  <a:lnTo>
                    <a:pt x="67683" y="127109"/>
                  </a:lnTo>
                  <a:lnTo>
                    <a:pt x="77138" y="14360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5647765" y="2843865"/>
              <a:ext cx="232082" cy="373733"/>
            </a:xfrm>
            <a:custGeom>
              <a:avLst/>
              <a:gdLst>
                <a:gd name="connsiteX0" fmla="*/ 48353 w 232082"/>
                <a:gd name="connsiteY0" fmla="*/ 185841 h 373733"/>
                <a:gd name="connsiteX1" fmla="*/ 34908 w 232082"/>
                <a:gd name="connsiteY1" fmla="*/ 215245 h 373733"/>
                <a:gd name="connsiteX2" fmla="*/ 15952 w 232082"/>
                <a:gd name="connsiteY2" fmla="*/ 206478 h 373733"/>
                <a:gd name="connsiteX3" fmla="*/ 441 w 232082"/>
                <a:gd name="connsiteY3" fmla="*/ 207060 h 373733"/>
                <a:gd name="connsiteX4" fmla="*/ 5611 w 232082"/>
                <a:gd name="connsiteY4" fmla="*/ 184061 h 373733"/>
                <a:gd name="connsiteX5" fmla="*/ 441 w 232082"/>
                <a:gd name="connsiteY5" fmla="*/ 160767 h 373733"/>
                <a:gd name="connsiteX6" fmla="*/ 21471 w 232082"/>
                <a:gd name="connsiteY6" fmla="*/ 158960 h 373733"/>
                <a:gd name="connsiteX7" fmla="*/ 48353 w 232082"/>
                <a:gd name="connsiteY7" fmla="*/ 185841 h 373733"/>
                <a:gd name="connsiteX8" fmla="*/ 114988 w 232082"/>
                <a:gd name="connsiteY8" fmla="*/ 115 h 373733"/>
                <a:gd name="connsiteX9" fmla="*/ 88178 w 232082"/>
                <a:gd name="connsiteY9" fmla="*/ 51363 h 373733"/>
                <a:gd name="connsiteX10" fmla="*/ 113727 w 232082"/>
                <a:gd name="connsiteY10" fmla="*/ 44958 h 373733"/>
                <a:gd name="connsiteX11" fmla="*/ 141207 w 232082"/>
                <a:gd name="connsiteY11" fmla="*/ 45200 h 373733"/>
                <a:gd name="connsiteX12" fmla="*/ 134668 w 232082"/>
                <a:gd name="connsiteY12" fmla="*/ 82932 h 373733"/>
                <a:gd name="connsiteX13" fmla="*/ 112116 w 232082"/>
                <a:gd name="connsiteY13" fmla="*/ 123500 h 373733"/>
                <a:gd name="connsiteX14" fmla="*/ 138049 w 232082"/>
                <a:gd name="connsiteY14" fmla="*/ 126345 h 373733"/>
                <a:gd name="connsiteX15" fmla="*/ 140044 w 232082"/>
                <a:gd name="connsiteY15" fmla="*/ 131032 h 373733"/>
                <a:gd name="connsiteX16" fmla="*/ 162381 w 232082"/>
                <a:gd name="connsiteY16" fmla="*/ 182800 h 373733"/>
                <a:gd name="connsiteX17" fmla="*/ 179548 w 232082"/>
                <a:gd name="connsiteY17" fmla="*/ 189723 h 373733"/>
                <a:gd name="connsiteX18" fmla="*/ 194987 w 232082"/>
                <a:gd name="connsiteY18" fmla="*/ 238109 h 373733"/>
                <a:gd name="connsiteX19" fmla="*/ 202135 w 232082"/>
                <a:gd name="connsiteY19" fmla="*/ 254578 h 373733"/>
                <a:gd name="connsiteX20" fmla="*/ 232523 w 232082"/>
                <a:gd name="connsiteY20" fmla="*/ 262468 h 373733"/>
                <a:gd name="connsiteX21" fmla="*/ 229472 w 232082"/>
                <a:gd name="connsiteY21" fmla="*/ 288705 h 373733"/>
                <a:gd name="connsiteX22" fmla="*/ 216698 w 232082"/>
                <a:gd name="connsiteY22" fmla="*/ 300612 h 373733"/>
                <a:gd name="connsiteX23" fmla="*/ 226717 w 232082"/>
                <a:gd name="connsiteY23" fmla="*/ 321428 h 373733"/>
                <a:gd name="connsiteX24" fmla="*/ 204157 w 232082"/>
                <a:gd name="connsiteY24" fmla="*/ 342253 h 373733"/>
                <a:gd name="connsiteX25" fmla="*/ 170602 w 232082"/>
                <a:gd name="connsiteY25" fmla="*/ 341886 h 373733"/>
                <a:gd name="connsiteX26" fmla="*/ 127905 w 232082"/>
                <a:gd name="connsiteY26" fmla="*/ 352728 h 373733"/>
                <a:gd name="connsiteX27" fmla="*/ 116204 w 232082"/>
                <a:gd name="connsiteY27" fmla="*/ 344973 h 373733"/>
                <a:gd name="connsiteX28" fmla="*/ 99619 w 232082"/>
                <a:gd name="connsiteY28" fmla="*/ 363382 h 373733"/>
                <a:gd name="connsiteX29" fmla="*/ 76415 w 232082"/>
                <a:gd name="connsiteY29" fmla="*/ 358937 h 373733"/>
                <a:gd name="connsiteX30" fmla="*/ 58792 w 232082"/>
                <a:gd name="connsiteY30" fmla="*/ 373849 h 373733"/>
                <a:gd name="connsiteX31" fmla="*/ 45454 w 232082"/>
                <a:gd name="connsiteY31" fmla="*/ 366066 h 373733"/>
                <a:gd name="connsiteX32" fmla="*/ 82238 w 232082"/>
                <a:gd name="connsiteY32" fmla="*/ 324595 h 373733"/>
                <a:gd name="connsiteX33" fmla="*/ 104691 w 232082"/>
                <a:gd name="connsiteY33" fmla="*/ 315953 h 373733"/>
                <a:gd name="connsiteX34" fmla="*/ 104495 w 232082"/>
                <a:gd name="connsiteY34" fmla="*/ 315917 h 373733"/>
                <a:gd name="connsiteX35" fmla="*/ 65322 w 232082"/>
                <a:gd name="connsiteY35" fmla="*/ 309217 h 373733"/>
                <a:gd name="connsiteX36" fmla="*/ 58229 w 232082"/>
                <a:gd name="connsiteY36" fmla="*/ 293124 h 373733"/>
                <a:gd name="connsiteX37" fmla="*/ 84439 w 232082"/>
                <a:gd name="connsiteY37" fmla="*/ 280484 h 373733"/>
                <a:gd name="connsiteX38" fmla="*/ 70699 w 232082"/>
                <a:gd name="connsiteY38" fmla="*/ 258308 h 373733"/>
                <a:gd name="connsiteX39" fmla="*/ 75467 w 232082"/>
                <a:gd name="connsiteY39" fmla="*/ 230971 h 373733"/>
                <a:gd name="connsiteX40" fmla="*/ 112742 w 232082"/>
                <a:gd name="connsiteY40" fmla="*/ 234773 h 373733"/>
                <a:gd name="connsiteX41" fmla="*/ 112787 w 232082"/>
                <a:gd name="connsiteY41" fmla="*/ 234773 h 373733"/>
                <a:gd name="connsiteX42" fmla="*/ 116482 w 232082"/>
                <a:gd name="connsiteY42" fmla="*/ 210235 h 373733"/>
                <a:gd name="connsiteX43" fmla="*/ 99682 w 232082"/>
                <a:gd name="connsiteY43" fmla="*/ 183828 h 373733"/>
                <a:gd name="connsiteX44" fmla="*/ 99306 w 232082"/>
                <a:gd name="connsiteY44" fmla="*/ 183220 h 373733"/>
                <a:gd name="connsiteX45" fmla="*/ 68847 w 232082"/>
                <a:gd name="connsiteY45" fmla="*/ 175598 h 373733"/>
                <a:gd name="connsiteX46" fmla="*/ 62871 w 232082"/>
                <a:gd name="connsiteY46" fmla="*/ 163808 h 373733"/>
                <a:gd name="connsiteX47" fmla="*/ 71987 w 232082"/>
                <a:gd name="connsiteY47" fmla="*/ 144173 h 373733"/>
                <a:gd name="connsiteX48" fmla="*/ 63739 w 232082"/>
                <a:gd name="connsiteY48" fmla="*/ 131953 h 373733"/>
                <a:gd name="connsiteX49" fmla="*/ 50231 w 232082"/>
                <a:gd name="connsiteY49" fmla="*/ 152868 h 373733"/>
                <a:gd name="connsiteX50" fmla="*/ 48764 w 232082"/>
                <a:gd name="connsiteY50" fmla="*/ 109956 h 373733"/>
                <a:gd name="connsiteX51" fmla="*/ 36097 w 232082"/>
                <a:gd name="connsiteY51" fmla="*/ 86814 h 373733"/>
                <a:gd name="connsiteX52" fmla="*/ 45204 w 232082"/>
                <a:gd name="connsiteY52" fmla="*/ 38902 h 373733"/>
                <a:gd name="connsiteX53" fmla="*/ 64687 w 232082"/>
                <a:gd name="connsiteY53" fmla="*/ 338 h 373733"/>
                <a:gd name="connsiteX54" fmla="*/ 84716 w 232082"/>
                <a:gd name="connsiteY54" fmla="*/ 4140 h 373733"/>
                <a:gd name="connsiteX55" fmla="*/ 114988 w 232082"/>
                <a:gd name="connsiteY55" fmla="*/ 115 h 37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32082" h="373733">
                  <a:moveTo>
                    <a:pt x="48353" y="185841"/>
                  </a:moveTo>
                  <a:lnTo>
                    <a:pt x="34908" y="215245"/>
                  </a:lnTo>
                  <a:lnTo>
                    <a:pt x="15952" y="206478"/>
                  </a:lnTo>
                  <a:lnTo>
                    <a:pt x="441" y="207060"/>
                  </a:lnTo>
                  <a:lnTo>
                    <a:pt x="5611" y="184061"/>
                  </a:lnTo>
                  <a:lnTo>
                    <a:pt x="441" y="160767"/>
                  </a:lnTo>
                  <a:lnTo>
                    <a:pt x="21471" y="158960"/>
                  </a:lnTo>
                  <a:lnTo>
                    <a:pt x="48353" y="185841"/>
                  </a:lnTo>
                  <a:close/>
                  <a:moveTo>
                    <a:pt x="114988" y="115"/>
                  </a:moveTo>
                  <a:lnTo>
                    <a:pt x="88178" y="51363"/>
                  </a:lnTo>
                  <a:lnTo>
                    <a:pt x="113727" y="44958"/>
                  </a:lnTo>
                  <a:lnTo>
                    <a:pt x="141207" y="45200"/>
                  </a:lnTo>
                  <a:lnTo>
                    <a:pt x="134668" y="82932"/>
                  </a:lnTo>
                  <a:lnTo>
                    <a:pt x="112116" y="123500"/>
                  </a:lnTo>
                  <a:lnTo>
                    <a:pt x="138049" y="126345"/>
                  </a:lnTo>
                  <a:lnTo>
                    <a:pt x="140044" y="131032"/>
                  </a:lnTo>
                  <a:lnTo>
                    <a:pt x="162381" y="182800"/>
                  </a:lnTo>
                  <a:lnTo>
                    <a:pt x="179548" y="189723"/>
                  </a:lnTo>
                  <a:lnTo>
                    <a:pt x="194987" y="238109"/>
                  </a:lnTo>
                  <a:lnTo>
                    <a:pt x="202135" y="254578"/>
                  </a:lnTo>
                  <a:lnTo>
                    <a:pt x="232523" y="262468"/>
                  </a:lnTo>
                  <a:lnTo>
                    <a:pt x="229472" y="288705"/>
                  </a:lnTo>
                  <a:lnTo>
                    <a:pt x="216698" y="300612"/>
                  </a:lnTo>
                  <a:lnTo>
                    <a:pt x="226717" y="321428"/>
                  </a:lnTo>
                  <a:lnTo>
                    <a:pt x="204157" y="342253"/>
                  </a:lnTo>
                  <a:lnTo>
                    <a:pt x="170602" y="341886"/>
                  </a:lnTo>
                  <a:lnTo>
                    <a:pt x="127905" y="352728"/>
                  </a:lnTo>
                  <a:lnTo>
                    <a:pt x="116204" y="344973"/>
                  </a:lnTo>
                  <a:lnTo>
                    <a:pt x="99619" y="363382"/>
                  </a:lnTo>
                  <a:lnTo>
                    <a:pt x="76415" y="358937"/>
                  </a:lnTo>
                  <a:lnTo>
                    <a:pt x="58792" y="373849"/>
                  </a:lnTo>
                  <a:lnTo>
                    <a:pt x="45454" y="366066"/>
                  </a:lnTo>
                  <a:lnTo>
                    <a:pt x="82238" y="324595"/>
                  </a:lnTo>
                  <a:lnTo>
                    <a:pt x="104691" y="315953"/>
                  </a:lnTo>
                  <a:lnTo>
                    <a:pt x="104495" y="315917"/>
                  </a:lnTo>
                  <a:lnTo>
                    <a:pt x="65322" y="309217"/>
                  </a:lnTo>
                  <a:lnTo>
                    <a:pt x="58229" y="293124"/>
                  </a:lnTo>
                  <a:lnTo>
                    <a:pt x="84439" y="280484"/>
                  </a:lnTo>
                  <a:lnTo>
                    <a:pt x="70699" y="258308"/>
                  </a:lnTo>
                  <a:lnTo>
                    <a:pt x="75467" y="230971"/>
                  </a:lnTo>
                  <a:lnTo>
                    <a:pt x="112742" y="234773"/>
                  </a:lnTo>
                  <a:lnTo>
                    <a:pt x="112787" y="234773"/>
                  </a:lnTo>
                  <a:lnTo>
                    <a:pt x="116482" y="210235"/>
                  </a:lnTo>
                  <a:lnTo>
                    <a:pt x="99682" y="183828"/>
                  </a:lnTo>
                  <a:lnTo>
                    <a:pt x="99306" y="183220"/>
                  </a:lnTo>
                  <a:lnTo>
                    <a:pt x="68847" y="175598"/>
                  </a:lnTo>
                  <a:lnTo>
                    <a:pt x="62871" y="163808"/>
                  </a:lnTo>
                  <a:lnTo>
                    <a:pt x="71987" y="144173"/>
                  </a:lnTo>
                  <a:lnTo>
                    <a:pt x="63739" y="131953"/>
                  </a:lnTo>
                  <a:lnTo>
                    <a:pt x="50231" y="152868"/>
                  </a:lnTo>
                  <a:lnTo>
                    <a:pt x="48764" y="109956"/>
                  </a:lnTo>
                  <a:lnTo>
                    <a:pt x="36097" y="86814"/>
                  </a:lnTo>
                  <a:lnTo>
                    <a:pt x="45204" y="38902"/>
                  </a:lnTo>
                  <a:lnTo>
                    <a:pt x="64687" y="338"/>
                  </a:lnTo>
                  <a:lnTo>
                    <a:pt x="84716" y="4140"/>
                  </a:lnTo>
                  <a:lnTo>
                    <a:pt x="114988" y="11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/>
            <p:cNvSpPr/>
            <p:nvPr/>
          </p:nvSpPr>
          <p:spPr>
            <a:xfrm>
              <a:off x="6839834" y="3451828"/>
              <a:ext cx="167620" cy="84105"/>
            </a:xfrm>
            <a:custGeom>
              <a:avLst/>
              <a:gdLst>
                <a:gd name="connsiteX0" fmla="*/ 40605 w 167620"/>
                <a:gd name="connsiteY0" fmla="*/ 68578 h 84105"/>
                <a:gd name="connsiteX1" fmla="*/ 44344 w 167620"/>
                <a:gd name="connsiteY1" fmla="*/ 54265 h 84105"/>
                <a:gd name="connsiteX2" fmla="*/ 38074 w 167620"/>
                <a:gd name="connsiteY2" fmla="*/ 31212 h 84105"/>
                <a:gd name="connsiteX3" fmla="*/ 23582 w 167620"/>
                <a:gd name="connsiteY3" fmla="*/ 18653 h 84105"/>
                <a:gd name="connsiteX4" fmla="*/ 9681 w 167620"/>
                <a:gd name="connsiteY4" fmla="*/ 14726 h 84105"/>
                <a:gd name="connsiteX5" fmla="*/ 494 w 167620"/>
                <a:gd name="connsiteY5" fmla="*/ 4206 h 84105"/>
                <a:gd name="connsiteX6" fmla="*/ 3553 w 167620"/>
                <a:gd name="connsiteY6" fmla="*/ 136 h 84105"/>
                <a:gd name="connsiteX7" fmla="*/ 24754 w 167620"/>
                <a:gd name="connsiteY7" fmla="*/ 6022 h 84105"/>
                <a:gd name="connsiteX8" fmla="*/ 61681 w 167620"/>
                <a:gd name="connsiteY8" fmla="*/ 11577 h 84105"/>
                <a:gd name="connsiteX9" fmla="*/ 95826 w 167620"/>
                <a:gd name="connsiteY9" fmla="*/ 27965 h 84105"/>
                <a:gd name="connsiteX10" fmla="*/ 100227 w 167620"/>
                <a:gd name="connsiteY10" fmla="*/ 34281 h 84105"/>
                <a:gd name="connsiteX11" fmla="*/ 115434 w 167620"/>
                <a:gd name="connsiteY11" fmla="*/ 28940 h 84105"/>
                <a:gd name="connsiteX12" fmla="*/ 138827 w 167620"/>
                <a:gd name="connsiteY12" fmla="*/ 36043 h 84105"/>
                <a:gd name="connsiteX13" fmla="*/ 146511 w 167620"/>
                <a:gd name="connsiteY13" fmla="*/ 49909 h 84105"/>
                <a:gd name="connsiteX14" fmla="*/ 162273 w 167620"/>
                <a:gd name="connsiteY14" fmla="*/ 57700 h 84105"/>
                <a:gd name="connsiteX15" fmla="*/ 155761 w 167620"/>
                <a:gd name="connsiteY15" fmla="*/ 62316 h 84105"/>
                <a:gd name="connsiteX16" fmla="*/ 168114 w 167620"/>
                <a:gd name="connsiteY16" fmla="*/ 80359 h 84105"/>
                <a:gd name="connsiteX17" fmla="*/ 164697 w 167620"/>
                <a:gd name="connsiteY17" fmla="*/ 84241 h 84105"/>
                <a:gd name="connsiteX18" fmla="*/ 151172 w 167620"/>
                <a:gd name="connsiteY18" fmla="*/ 82273 h 84105"/>
                <a:gd name="connsiteX19" fmla="*/ 132485 w 167620"/>
                <a:gd name="connsiteY19" fmla="*/ 72720 h 84105"/>
                <a:gd name="connsiteX20" fmla="*/ 126339 w 167620"/>
                <a:gd name="connsiteY20" fmla="*/ 78150 h 84105"/>
                <a:gd name="connsiteX21" fmla="*/ 91487 w 167620"/>
                <a:gd name="connsiteY21" fmla="*/ 83329 h 84105"/>
                <a:gd name="connsiteX22" fmla="*/ 67326 w 167620"/>
                <a:gd name="connsiteY22" fmla="*/ 66985 h 84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7620" h="84105">
                  <a:moveTo>
                    <a:pt x="40605" y="68578"/>
                  </a:moveTo>
                  <a:lnTo>
                    <a:pt x="44344" y="54265"/>
                  </a:lnTo>
                  <a:lnTo>
                    <a:pt x="38074" y="31212"/>
                  </a:lnTo>
                  <a:lnTo>
                    <a:pt x="23582" y="18653"/>
                  </a:lnTo>
                  <a:lnTo>
                    <a:pt x="9681" y="14726"/>
                  </a:lnTo>
                  <a:lnTo>
                    <a:pt x="494" y="4206"/>
                  </a:lnTo>
                  <a:lnTo>
                    <a:pt x="3553" y="136"/>
                  </a:lnTo>
                  <a:lnTo>
                    <a:pt x="24754" y="6022"/>
                  </a:lnTo>
                  <a:lnTo>
                    <a:pt x="61681" y="11577"/>
                  </a:lnTo>
                  <a:lnTo>
                    <a:pt x="95826" y="27965"/>
                  </a:lnTo>
                  <a:lnTo>
                    <a:pt x="100227" y="34281"/>
                  </a:lnTo>
                  <a:lnTo>
                    <a:pt x="115434" y="28940"/>
                  </a:lnTo>
                  <a:lnTo>
                    <a:pt x="138827" y="36043"/>
                  </a:lnTo>
                  <a:lnTo>
                    <a:pt x="146511" y="49909"/>
                  </a:lnTo>
                  <a:lnTo>
                    <a:pt x="162273" y="57700"/>
                  </a:lnTo>
                  <a:lnTo>
                    <a:pt x="155761" y="62316"/>
                  </a:lnTo>
                  <a:lnTo>
                    <a:pt x="168114" y="80359"/>
                  </a:lnTo>
                  <a:lnTo>
                    <a:pt x="164697" y="84241"/>
                  </a:lnTo>
                  <a:lnTo>
                    <a:pt x="151172" y="82273"/>
                  </a:lnTo>
                  <a:lnTo>
                    <a:pt x="132485" y="72720"/>
                  </a:lnTo>
                  <a:lnTo>
                    <a:pt x="126339" y="78150"/>
                  </a:lnTo>
                  <a:lnTo>
                    <a:pt x="91487" y="83329"/>
                  </a:lnTo>
                  <a:lnTo>
                    <a:pt x="67326" y="6698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/>
            <p:cNvSpPr/>
            <p:nvPr/>
          </p:nvSpPr>
          <p:spPr>
            <a:xfrm>
              <a:off x="4470108" y="4517443"/>
              <a:ext cx="71895" cy="92496"/>
            </a:xfrm>
            <a:custGeom>
              <a:avLst/>
              <a:gdLst>
                <a:gd name="connsiteX0" fmla="*/ 49754 w 71895"/>
                <a:gd name="connsiteY0" fmla="*/ 81428 h 92496"/>
                <a:gd name="connsiteX1" fmla="*/ 40137 w 71895"/>
                <a:gd name="connsiteY1" fmla="*/ 90901 h 92496"/>
                <a:gd name="connsiteX2" fmla="*/ 28132 w 71895"/>
                <a:gd name="connsiteY2" fmla="*/ 92681 h 92496"/>
                <a:gd name="connsiteX3" fmla="*/ 24715 w 71895"/>
                <a:gd name="connsiteY3" fmla="*/ 85659 h 92496"/>
                <a:gd name="connsiteX4" fmla="*/ 19106 w 71895"/>
                <a:gd name="connsiteY4" fmla="*/ 84612 h 92496"/>
                <a:gd name="connsiteX5" fmla="*/ 11342 w 71895"/>
                <a:gd name="connsiteY5" fmla="*/ 91375 h 92496"/>
                <a:gd name="connsiteX6" fmla="*/ 383 w 71895"/>
                <a:gd name="connsiteY6" fmla="*/ 86231 h 92496"/>
                <a:gd name="connsiteX7" fmla="*/ 6743 w 71895"/>
                <a:gd name="connsiteY7" fmla="*/ 75586 h 92496"/>
                <a:gd name="connsiteX8" fmla="*/ 8926 w 71895"/>
                <a:gd name="connsiteY8" fmla="*/ 64225 h 92496"/>
                <a:gd name="connsiteX9" fmla="*/ 13256 w 71895"/>
                <a:gd name="connsiteY9" fmla="*/ 53536 h 92496"/>
                <a:gd name="connsiteX10" fmla="*/ 3523 w 71895"/>
                <a:gd name="connsiteY10" fmla="*/ 38802 h 92496"/>
                <a:gd name="connsiteX11" fmla="*/ 1537 w 71895"/>
                <a:gd name="connsiteY11" fmla="*/ 21699 h 92496"/>
                <a:gd name="connsiteX12" fmla="*/ 14589 w 71895"/>
                <a:gd name="connsiteY12" fmla="*/ 185 h 92496"/>
                <a:gd name="connsiteX13" fmla="*/ 23105 w 71895"/>
                <a:gd name="connsiteY13" fmla="*/ 2940 h 92496"/>
                <a:gd name="connsiteX14" fmla="*/ 41577 w 71895"/>
                <a:gd name="connsiteY14" fmla="*/ 8862 h 92496"/>
                <a:gd name="connsiteX15" fmla="*/ 68127 w 71895"/>
                <a:gd name="connsiteY15" fmla="*/ 29973 h 92496"/>
                <a:gd name="connsiteX16" fmla="*/ 72278 w 71895"/>
                <a:gd name="connsiteY16" fmla="*/ 40207 h 92496"/>
                <a:gd name="connsiteX17" fmla="*/ 57438 w 71895"/>
                <a:gd name="connsiteY17" fmla="*/ 63054 h 92496"/>
                <a:gd name="connsiteX18" fmla="*/ 49754 w 71895"/>
                <a:gd name="connsiteY18" fmla="*/ 81428 h 92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1895" h="92496">
                  <a:moveTo>
                    <a:pt x="49754" y="81428"/>
                  </a:moveTo>
                  <a:lnTo>
                    <a:pt x="40137" y="90901"/>
                  </a:lnTo>
                  <a:lnTo>
                    <a:pt x="28132" y="92681"/>
                  </a:lnTo>
                  <a:lnTo>
                    <a:pt x="24715" y="85659"/>
                  </a:lnTo>
                  <a:lnTo>
                    <a:pt x="19106" y="84612"/>
                  </a:lnTo>
                  <a:lnTo>
                    <a:pt x="11342" y="91375"/>
                  </a:lnTo>
                  <a:lnTo>
                    <a:pt x="383" y="86231"/>
                  </a:lnTo>
                  <a:lnTo>
                    <a:pt x="6743" y="75586"/>
                  </a:lnTo>
                  <a:lnTo>
                    <a:pt x="8926" y="64225"/>
                  </a:lnTo>
                  <a:lnTo>
                    <a:pt x="13256" y="53536"/>
                  </a:lnTo>
                  <a:lnTo>
                    <a:pt x="3523" y="38802"/>
                  </a:lnTo>
                  <a:lnTo>
                    <a:pt x="1537" y="21699"/>
                  </a:lnTo>
                  <a:lnTo>
                    <a:pt x="14589" y="185"/>
                  </a:lnTo>
                  <a:lnTo>
                    <a:pt x="23105" y="2940"/>
                  </a:lnTo>
                  <a:lnTo>
                    <a:pt x="41577" y="8862"/>
                  </a:lnTo>
                  <a:lnTo>
                    <a:pt x="68127" y="29973"/>
                  </a:lnTo>
                  <a:lnTo>
                    <a:pt x="72278" y="40207"/>
                  </a:lnTo>
                  <a:lnTo>
                    <a:pt x="57438" y="63054"/>
                  </a:lnTo>
                  <a:lnTo>
                    <a:pt x="49754" y="8142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/>
            <p:cNvSpPr/>
            <p:nvPr/>
          </p:nvSpPr>
          <p:spPr>
            <a:xfrm>
              <a:off x="5756310" y="4382840"/>
              <a:ext cx="107972" cy="160777"/>
            </a:xfrm>
            <a:custGeom>
              <a:avLst/>
              <a:gdLst>
                <a:gd name="connsiteX0" fmla="*/ 108415 w 107972"/>
                <a:gd name="connsiteY0" fmla="*/ 130471 h 160777"/>
                <a:gd name="connsiteX1" fmla="*/ 69090 w 107972"/>
                <a:gd name="connsiteY1" fmla="*/ 145124 h 160777"/>
                <a:gd name="connsiteX2" fmla="*/ 55144 w 107972"/>
                <a:gd name="connsiteY2" fmla="*/ 153703 h 160777"/>
                <a:gd name="connsiteX3" fmla="*/ 32539 w 107972"/>
                <a:gd name="connsiteY3" fmla="*/ 160957 h 160777"/>
                <a:gd name="connsiteX4" fmla="*/ 10184 w 107972"/>
                <a:gd name="connsiteY4" fmla="*/ 153855 h 160777"/>
                <a:gd name="connsiteX5" fmla="*/ 11321 w 107972"/>
                <a:gd name="connsiteY5" fmla="*/ 143988 h 160777"/>
                <a:gd name="connsiteX6" fmla="*/ 443 w 107972"/>
                <a:gd name="connsiteY6" fmla="*/ 122411 h 160777"/>
                <a:gd name="connsiteX7" fmla="*/ 6982 w 107972"/>
                <a:gd name="connsiteY7" fmla="*/ 94072 h 160777"/>
                <a:gd name="connsiteX8" fmla="*/ 17556 w 107972"/>
                <a:gd name="connsiteY8" fmla="*/ 72952 h 160777"/>
                <a:gd name="connsiteX9" fmla="*/ 10900 w 107972"/>
                <a:gd name="connsiteY9" fmla="*/ 37062 h 160777"/>
                <a:gd name="connsiteX10" fmla="*/ 7474 w 107972"/>
                <a:gd name="connsiteY10" fmla="*/ 18008 h 160777"/>
                <a:gd name="connsiteX11" fmla="*/ 8064 w 107972"/>
                <a:gd name="connsiteY11" fmla="*/ 3624 h 160777"/>
                <a:gd name="connsiteX12" fmla="*/ 51638 w 107972"/>
                <a:gd name="connsiteY12" fmla="*/ 2425 h 160777"/>
                <a:gd name="connsiteX13" fmla="*/ 62721 w 107972"/>
                <a:gd name="connsiteY13" fmla="*/ 4277 h 160777"/>
                <a:gd name="connsiteX14" fmla="*/ 70817 w 107972"/>
                <a:gd name="connsiteY14" fmla="*/ 180 h 160777"/>
                <a:gd name="connsiteX15" fmla="*/ 82419 w 107972"/>
                <a:gd name="connsiteY15" fmla="*/ 2202 h 160777"/>
                <a:gd name="connsiteX16" fmla="*/ 80568 w 107972"/>
                <a:gd name="connsiteY16" fmla="*/ 10109 h 160777"/>
                <a:gd name="connsiteX17" fmla="*/ 91043 w 107972"/>
                <a:gd name="connsiteY17" fmla="*/ 23179 h 160777"/>
                <a:gd name="connsiteX18" fmla="*/ 90998 w 107972"/>
                <a:gd name="connsiteY18" fmla="*/ 41544 h 160777"/>
                <a:gd name="connsiteX19" fmla="*/ 93386 w 107972"/>
                <a:gd name="connsiteY19" fmla="*/ 61421 h 160777"/>
                <a:gd name="connsiteX20" fmla="*/ 99684 w 107972"/>
                <a:gd name="connsiteY20" fmla="*/ 70608 h 160777"/>
                <a:gd name="connsiteX21" fmla="*/ 94129 w 107972"/>
                <a:gd name="connsiteY21" fmla="*/ 93267 h 160777"/>
                <a:gd name="connsiteX22" fmla="*/ 96124 w 107972"/>
                <a:gd name="connsiteY22" fmla="*/ 105764 h 160777"/>
                <a:gd name="connsiteX23" fmla="*/ 102815 w 107972"/>
                <a:gd name="connsiteY23" fmla="*/ 121669 h 160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7972" h="160777">
                  <a:moveTo>
                    <a:pt x="108415" y="130471"/>
                  </a:moveTo>
                  <a:lnTo>
                    <a:pt x="69090" y="145124"/>
                  </a:lnTo>
                  <a:lnTo>
                    <a:pt x="55144" y="153703"/>
                  </a:lnTo>
                  <a:lnTo>
                    <a:pt x="32539" y="160957"/>
                  </a:lnTo>
                  <a:lnTo>
                    <a:pt x="10184" y="153855"/>
                  </a:lnTo>
                  <a:lnTo>
                    <a:pt x="11321" y="143988"/>
                  </a:lnTo>
                  <a:lnTo>
                    <a:pt x="443" y="122411"/>
                  </a:lnTo>
                  <a:lnTo>
                    <a:pt x="6982" y="94072"/>
                  </a:lnTo>
                  <a:lnTo>
                    <a:pt x="17556" y="72952"/>
                  </a:lnTo>
                  <a:lnTo>
                    <a:pt x="10900" y="37062"/>
                  </a:lnTo>
                  <a:lnTo>
                    <a:pt x="7474" y="18008"/>
                  </a:lnTo>
                  <a:lnTo>
                    <a:pt x="8064" y="3624"/>
                  </a:lnTo>
                  <a:lnTo>
                    <a:pt x="51638" y="2425"/>
                  </a:lnTo>
                  <a:lnTo>
                    <a:pt x="62721" y="4277"/>
                  </a:lnTo>
                  <a:lnTo>
                    <a:pt x="70817" y="180"/>
                  </a:lnTo>
                  <a:lnTo>
                    <a:pt x="82419" y="2202"/>
                  </a:lnTo>
                  <a:lnTo>
                    <a:pt x="80568" y="10109"/>
                  </a:lnTo>
                  <a:lnTo>
                    <a:pt x="91043" y="23179"/>
                  </a:lnTo>
                  <a:lnTo>
                    <a:pt x="90998" y="41544"/>
                  </a:lnTo>
                  <a:lnTo>
                    <a:pt x="93386" y="61421"/>
                  </a:lnTo>
                  <a:lnTo>
                    <a:pt x="99684" y="70608"/>
                  </a:lnTo>
                  <a:lnTo>
                    <a:pt x="94129" y="93267"/>
                  </a:lnTo>
                  <a:lnTo>
                    <a:pt x="96124" y="105764"/>
                  </a:lnTo>
                  <a:lnTo>
                    <a:pt x="102815" y="12166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/>
            <p:cNvSpPr/>
            <p:nvPr/>
          </p:nvSpPr>
          <p:spPr>
            <a:xfrm>
              <a:off x="3999262" y="515898"/>
              <a:ext cx="1532211" cy="2259132"/>
            </a:xfrm>
            <a:custGeom>
              <a:avLst/>
              <a:gdLst>
                <a:gd name="connsiteX0" fmla="*/ 665895 w 1532211"/>
                <a:gd name="connsiteY0" fmla="*/ 213911 h 2259132"/>
                <a:gd name="connsiteX1" fmla="*/ 750108 w 1532211"/>
                <a:gd name="connsiteY1" fmla="*/ 92208 h 2259132"/>
                <a:gd name="connsiteX2" fmla="*/ 838114 w 1532211"/>
                <a:gd name="connsiteY2" fmla="*/ 101744 h 2259132"/>
                <a:gd name="connsiteX3" fmla="*/ 870103 w 1532211"/>
                <a:gd name="connsiteY3" fmla="*/ 21664 h 2259132"/>
                <a:gd name="connsiteX4" fmla="*/ 958753 w 1532211"/>
                <a:gd name="connsiteY4" fmla="*/ 51 h 2259132"/>
                <a:gd name="connsiteX5" fmla="*/ 1159088 w 1532211"/>
                <a:gd name="connsiteY5" fmla="*/ 28203 h 2259132"/>
                <a:gd name="connsiteX6" fmla="*/ 1315983 w 1532211"/>
                <a:gd name="connsiteY6" fmla="*/ 194482 h 2259132"/>
                <a:gd name="connsiteX7" fmla="*/ 1269663 w 1532211"/>
                <a:gd name="connsiteY7" fmla="*/ 268819 h 2259132"/>
                <a:gd name="connsiteX8" fmla="*/ 1173714 w 1532211"/>
                <a:gd name="connsiteY8" fmla="*/ 277076 h 2259132"/>
                <a:gd name="connsiteX9" fmla="*/ 1038708 w 1532211"/>
                <a:gd name="connsiteY9" fmla="*/ 295235 h 2259132"/>
                <a:gd name="connsiteX10" fmla="*/ 1051339 w 1532211"/>
                <a:gd name="connsiteY10" fmla="*/ 327841 h 2259132"/>
                <a:gd name="connsiteX11" fmla="*/ 1140123 w 1532211"/>
                <a:gd name="connsiteY11" fmla="*/ 307777 h 2259132"/>
                <a:gd name="connsiteX12" fmla="*/ 1215677 w 1532211"/>
                <a:gd name="connsiteY12" fmla="*/ 369617 h 2259132"/>
                <a:gd name="connsiteX13" fmla="*/ 1264367 w 1532211"/>
                <a:gd name="connsiteY13" fmla="*/ 314835 h 2259132"/>
                <a:gd name="connsiteX14" fmla="*/ 1285219 w 1532211"/>
                <a:gd name="connsiteY14" fmla="*/ 378795 h 2259132"/>
                <a:gd name="connsiteX15" fmla="*/ 1257685 w 1532211"/>
                <a:gd name="connsiteY15" fmla="*/ 476900 h 2259132"/>
                <a:gd name="connsiteX16" fmla="*/ 1321538 w 1532211"/>
                <a:gd name="connsiteY16" fmla="*/ 414953 h 2259132"/>
                <a:gd name="connsiteX17" fmla="*/ 1443331 w 1532211"/>
                <a:gd name="connsiteY17" fmla="*/ 347414 h 2259132"/>
                <a:gd name="connsiteX18" fmla="*/ 1518518 w 1532211"/>
                <a:gd name="connsiteY18" fmla="*/ 381523 h 2259132"/>
                <a:gd name="connsiteX19" fmla="*/ 1532607 w 1532211"/>
                <a:gd name="connsiteY19" fmla="*/ 454080 h 2259132"/>
                <a:gd name="connsiteX20" fmla="*/ 1430351 w 1532211"/>
                <a:gd name="connsiteY20" fmla="*/ 567402 h 2259132"/>
                <a:gd name="connsiteX21" fmla="*/ 1416190 w 1532211"/>
                <a:gd name="connsiteY21" fmla="*/ 602227 h 2259132"/>
                <a:gd name="connsiteX22" fmla="*/ 1336021 w 1532211"/>
                <a:gd name="connsiteY22" fmla="*/ 627864 h 2259132"/>
                <a:gd name="connsiteX23" fmla="*/ 1394113 w 1532211"/>
                <a:gd name="connsiteY23" fmla="*/ 634896 h 2259132"/>
                <a:gd name="connsiteX24" fmla="*/ 1364772 w 1532211"/>
                <a:gd name="connsiteY24" fmla="*/ 737840 h 2259132"/>
                <a:gd name="connsiteX25" fmla="*/ 1344581 w 1532211"/>
                <a:gd name="connsiteY25" fmla="*/ 823699 h 2259132"/>
                <a:gd name="connsiteX26" fmla="*/ 1345369 w 1532211"/>
                <a:gd name="connsiteY26" fmla="*/ 960181 h 2259132"/>
                <a:gd name="connsiteX27" fmla="*/ 1375488 w 1532211"/>
                <a:gd name="connsiteY27" fmla="*/ 1034733 h 2259132"/>
                <a:gd name="connsiteX28" fmla="*/ 1336307 w 1532211"/>
                <a:gd name="connsiteY28" fmla="*/ 1039322 h 2259132"/>
                <a:gd name="connsiteX29" fmla="*/ 1295059 w 1532211"/>
                <a:gd name="connsiteY29" fmla="*/ 1074030 h 2259132"/>
                <a:gd name="connsiteX30" fmla="*/ 1341343 w 1532211"/>
                <a:gd name="connsiteY30" fmla="*/ 1130387 h 2259132"/>
                <a:gd name="connsiteX31" fmla="*/ 1347238 w 1532211"/>
                <a:gd name="connsiteY31" fmla="*/ 1216496 h 2259132"/>
                <a:gd name="connsiteX32" fmla="*/ 1320420 w 1532211"/>
                <a:gd name="connsiteY32" fmla="*/ 1225585 h 2259132"/>
                <a:gd name="connsiteX33" fmla="*/ 1352919 w 1532211"/>
                <a:gd name="connsiteY33" fmla="*/ 1307472 h 2259132"/>
                <a:gd name="connsiteX34" fmla="*/ 1297197 w 1532211"/>
                <a:gd name="connsiteY34" fmla="*/ 1314109 h 2259132"/>
                <a:gd name="connsiteX35" fmla="*/ 1326288 w 1532211"/>
                <a:gd name="connsiteY35" fmla="*/ 1351144 h 2259132"/>
                <a:gd name="connsiteX36" fmla="*/ 1318067 w 1532211"/>
                <a:gd name="connsiteY36" fmla="*/ 1382534 h 2259132"/>
                <a:gd name="connsiteX37" fmla="*/ 1282696 w 1532211"/>
                <a:gd name="connsiteY37" fmla="*/ 1396113 h 2259132"/>
                <a:gd name="connsiteX38" fmla="*/ 1247747 w 1532211"/>
                <a:gd name="connsiteY38" fmla="*/ 1396363 h 2259132"/>
                <a:gd name="connsiteX39" fmla="*/ 1279163 w 1532211"/>
                <a:gd name="connsiteY39" fmla="*/ 1454339 h 2259132"/>
                <a:gd name="connsiteX40" fmla="*/ 1279512 w 1532211"/>
                <a:gd name="connsiteY40" fmla="*/ 1491266 h 2259132"/>
                <a:gd name="connsiteX41" fmla="*/ 1229873 w 1532211"/>
                <a:gd name="connsiteY41" fmla="*/ 1456978 h 2259132"/>
                <a:gd name="connsiteX42" fmla="*/ 1216965 w 1532211"/>
                <a:gd name="connsiteY42" fmla="*/ 1479243 h 2259132"/>
                <a:gd name="connsiteX43" fmla="*/ 1250824 w 1532211"/>
                <a:gd name="connsiteY43" fmla="*/ 1499755 h 2259132"/>
                <a:gd name="connsiteX44" fmla="*/ 1283690 w 1532211"/>
                <a:gd name="connsiteY44" fmla="*/ 1548741 h 2259132"/>
                <a:gd name="connsiteX45" fmla="*/ 1293199 w 1532211"/>
                <a:gd name="connsiteY45" fmla="*/ 1610957 h 2259132"/>
                <a:gd name="connsiteX46" fmla="*/ 1248489 w 1532211"/>
                <a:gd name="connsiteY46" fmla="*/ 1625475 h 2259132"/>
                <a:gd name="connsiteX47" fmla="*/ 1229158 w 1532211"/>
                <a:gd name="connsiteY47" fmla="*/ 1596286 h 2259132"/>
                <a:gd name="connsiteX48" fmla="*/ 1198144 w 1532211"/>
                <a:gd name="connsiteY48" fmla="*/ 1551738 h 2259132"/>
                <a:gd name="connsiteX49" fmla="*/ 1206722 w 1532211"/>
                <a:gd name="connsiteY49" fmla="*/ 1604239 h 2259132"/>
                <a:gd name="connsiteX50" fmla="*/ 1177587 w 1532211"/>
                <a:gd name="connsiteY50" fmla="*/ 1643697 h 2259132"/>
                <a:gd name="connsiteX51" fmla="*/ 1243694 w 1532211"/>
                <a:gd name="connsiteY51" fmla="*/ 1646837 h 2259132"/>
                <a:gd name="connsiteX52" fmla="*/ 1278268 w 1532211"/>
                <a:gd name="connsiteY52" fmla="*/ 1650872 h 2259132"/>
                <a:gd name="connsiteX53" fmla="*/ 1211043 w 1532211"/>
                <a:gd name="connsiteY53" fmla="*/ 1713750 h 2259132"/>
                <a:gd name="connsiteX54" fmla="*/ 1142870 w 1532211"/>
                <a:gd name="connsiteY54" fmla="*/ 1768550 h 2259132"/>
                <a:gd name="connsiteX55" fmla="*/ 1069472 w 1532211"/>
                <a:gd name="connsiteY55" fmla="*/ 1791951 h 2259132"/>
                <a:gd name="connsiteX56" fmla="*/ 1041803 w 1532211"/>
                <a:gd name="connsiteY56" fmla="*/ 1792246 h 2259132"/>
                <a:gd name="connsiteX57" fmla="*/ 1015861 w 1532211"/>
                <a:gd name="connsiteY57" fmla="*/ 1817938 h 2259132"/>
                <a:gd name="connsiteX58" fmla="*/ 980965 w 1532211"/>
                <a:gd name="connsiteY58" fmla="*/ 1886237 h 2259132"/>
                <a:gd name="connsiteX59" fmla="*/ 927024 w 1532211"/>
                <a:gd name="connsiteY59" fmla="*/ 1929971 h 2259132"/>
                <a:gd name="connsiteX60" fmla="*/ 909696 w 1532211"/>
                <a:gd name="connsiteY60" fmla="*/ 1932503 h 2259132"/>
                <a:gd name="connsiteX61" fmla="*/ 876302 w 1532211"/>
                <a:gd name="connsiteY61" fmla="*/ 1947522 h 2259132"/>
                <a:gd name="connsiteX62" fmla="*/ 840252 w 1532211"/>
                <a:gd name="connsiteY62" fmla="*/ 1961683 h 2259132"/>
                <a:gd name="connsiteX63" fmla="*/ 818765 w 1532211"/>
                <a:gd name="connsiteY63" fmla="*/ 1998556 h 2259132"/>
                <a:gd name="connsiteX64" fmla="*/ 818425 w 1532211"/>
                <a:gd name="connsiteY64" fmla="*/ 2039330 h 2259132"/>
                <a:gd name="connsiteX65" fmla="*/ 805731 w 1532211"/>
                <a:gd name="connsiteY65" fmla="*/ 2076597 h 2259132"/>
                <a:gd name="connsiteX66" fmla="*/ 764833 w 1532211"/>
                <a:gd name="connsiteY66" fmla="*/ 2120868 h 2259132"/>
                <a:gd name="connsiteX67" fmla="*/ 774932 w 1532211"/>
                <a:gd name="connsiteY67" fmla="*/ 2162957 h 2259132"/>
                <a:gd name="connsiteX68" fmla="*/ 763661 w 1532211"/>
                <a:gd name="connsiteY68" fmla="*/ 2206342 h 2259132"/>
                <a:gd name="connsiteX69" fmla="*/ 750806 w 1532211"/>
                <a:gd name="connsiteY69" fmla="*/ 2256124 h 2259132"/>
                <a:gd name="connsiteX70" fmla="*/ 715462 w 1532211"/>
                <a:gd name="connsiteY70" fmla="*/ 2259184 h 2259132"/>
                <a:gd name="connsiteX71" fmla="*/ 678446 w 1532211"/>
                <a:gd name="connsiteY71" fmla="*/ 2217730 h 2259132"/>
                <a:gd name="connsiteX72" fmla="*/ 628297 w 1532211"/>
                <a:gd name="connsiteY72" fmla="*/ 2217471 h 2259132"/>
                <a:gd name="connsiteX73" fmla="*/ 603957 w 1532211"/>
                <a:gd name="connsiteY73" fmla="*/ 2189024 h 2259132"/>
                <a:gd name="connsiteX74" fmla="*/ 587229 w 1532211"/>
                <a:gd name="connsiteY74" fmla="*/ 2137095 h 2259132"/>
                <a:gd name="connsiteX75" fmla="*/ 543762 w 1532211"/>
                <a:gd name="connsiteY75" fmla="*/ 2068474 h 2259132"/>
                <a:gd name="connsiteX76" fmla="*/ 531051 w 1532211"/>
                <a:gd name="connsiteY76" fmla="*/ 2031297 h 2259132"/>
                <a:gd name="connsiteX77" fmla="*/ 527625 w 1532211"/>
                <a:gd name="connsiteY77" fmla="*/ 1978590 h 2259132"/>
                <a:gd name="connsiteX78" fmla="*/ 492880 w 1532211"/>
                <a:gd name="connsiteY78" fmla="*/ 1922529 h 2259132"/>
                <a:gd name="connsiteX79" fmla="*/ 501916 w 1532211"/>
                <a:gd name="connsiteY79" fmla="*/ 1876280 h 2259132"/>
                <a:gd name="connsiteX80" fmla="*/ 485178 w 1532211"/>
                <a:gd name="connsiteY80" fmla="*/ 1853666 h 2259132"/>
                <a:gd name="connsiteX81" fmla="*/ 509975 w 1532211"/>
                <a:gd name="connsiteY81" fmla="*/ 1776234 h 2259132"/>
                <a:gd name="connsiteX82" fmla="*/ 547725 w 1532211"/>
                <a:gd name="connsiteY82" fmla="*/ 1750757 h 2259132"/>
                <a:gd name="connsiteX83" fmla="*/ 557628 w 1532211"/>
                <a:gd name="connsiteY83" fmla="*/ 1721586 h 2259132"/>
                <a:gd name="connsiteX84" fmla="*/ 562879 w 1532211"/>
                <a:gd name="connsiteY84" fmla="*/ 1665569 h 2259132"/>
                <a:gd name="connsiteX85" fmla="*/ 534227 w 1532211"/>
                <a:gd name="connsiteY85" fmla="*/ 1691216 h 2259132"/>
                <a:gd name="connsiteX86" fmla="*/ 520567 w 1532211"/>
                <a:gd name="connsiteY86" fmla="*/ 1701861 h 2259132"/>
                <a:gd name="connsiteX87" fmla="*/ 498042 w 1532211"/>
                <a:gd name="connsiteY87" fmla="*/ 1711996 h 2259132"/>
                <a:gd name="connsiteX88" fmla="*/ 467260 w 1532211"/>
                <a:gd name="connsiteY88" fmla="*/ 1688693 h 2259132"/>
                <a:gd name="connsiteX89" fmla="*/ 465588 w 1532211"/>
                <a:gd name="connsiteY89" fmla="*/ 1639037 h 2259132"/>
                <a:gd name="connsiteX90" fmla="*/ 475401 w 1532211"/>
                <a:gd name="connsiteY90" fmla="*/ 1598979 h 2259132"/>
                <a:gd name="connsiteX91" fmla="*/ 498659 w 1532211"/>
                <a:gd name="connsiteY91" fmla="*/ 1597879 h 2259132"/>
                <a:gd name="connsiteX92" fmla="*/ 549863 w 1532211"/>
                <a:gd name="connsiteY92" fmla="*/ 1618051 h 2259132"/>
                <a:gd name="connsiteX93" fmla="*/ 506737 w 1532211"/>
                <a:gd name="connsiteY93" fmla="*/ 1569432 h 2259132"/>
                <a:gd name="connsiteX94" fmla="*/ 484293 w 1532211"/>
                <a:gd name="connsiteY94" fmla="*/ 1542560 h 2259132"/>
                <a:gd name="connsiteX95" fmla="*/ 459317 w 1532211"/>
                <a:gd name="connsiteY95" fmla="*/ 1553661 h 2259132"/>
                <a:gd name="connsiteX96" fmla="*/ 438384 w 1532211"/>
                <a:gd name="connsiteY96" fmla="*/ 1534043 h 2259132"/>
                <a:gd name="connsiteX97" fmla="*/ 466384 w 1532211"/>
                <a:gd name="connsiteY97" fmla="*/ 1457953 h 2259132"/>
                <a:gd name="connsiteX98" fmla="*/ 451132 w 1532211"/>
                <a:gd name="connsiteY98" fmla="*/ 1426438 h 2259132"/>
                <a:gd name="connsiteX99" fmla="*/ 431228 w 1532211"/>
                <a:gd name="connsiteY99" fmla="*/ 1366119 h 2259132"/>
                <a:gd name="connsiteX100" fmla="*/ 401037 w 1532211"/>
                <a:gd name="connsiteY100" fmla="*/ 1268559 h 2259132"/>
                <a:gd name="connsiteX101" fmla="*/ 369102 w 1532211"/>
                <a:gd name="connsiteY101" fmla="*/ 1231176 h 2259132"/>
                <a:gd name="connsiteX102" fmla="*/ 369397 w 1532211"/>
                <a:gd name="connsiteY102" fmla="*/ 1189785 h 2259132"/>
                <a:gd name="connsiteX103" fmla="*/ 302091 w 1532211"/>
                <a:gd name="connsiteY103" fmla="*/ 1129939 h 2259132"/>
                <a:gd name="connsiteX104" fmla="*/ 248838 w 1532211"/>
                <a:gd name="connsiteY104" fmla="*/ 1122318 h 2259132"/>
                <a:gd name="connsiteX105" fmla="*/ 181810 w 1532211"/>
                <a:gd name="connsiteY105" fmla="*/ 1126540 h 2259132"/>
                <a:gd name="connsiteX106" fmla="*/ 120605 w 1532211"/>
                <a:gd name="connsiteY106" fmla="*/ 1134207 h 2259132"/>
                <a:gd name="connsiteX107" fmla="*/ 91496 w 1532211"/>
                <a:gd name="connsiteY107" fmla="*/ 1100697 h 2259132"/>
                <a:gd name="connsiteX108" fmla="*/ 47913 w 1532211"/>
                <a:gd name="connsiteY108" fmla="*/ 1032174 h 2259132"/>
                <a:gd name="connsiteX109" fmla="*/ 113770 w 1532211"/>
                <a:gd name="connsiteY109" fmla="*/ 996669 h 2259132"/>
                <a:gd name="connsiteX110" fmla="*/ 164259 w 1532211"/>
                <a:gd name="connsiteY110" fmla="*/ 990622 h 2259132"/>
                <a:gd name="connsiteX111" fmla="*/ 56930 w 1532211"/>
                <a:gd name="connsiteY111" fmla="*/ 960485 h 2259132"/>
                <a:gd name="connsiteX112" fmla="*/ 395 w 1532211"/>
                <a:gd name="connsiteY112" fmla="*/ 911884 h 2259132"/>
                <a:gd name="connsiteX113" fmla="*/ 3848 w 1532211"/>
                <a:gd name="connsiteY113" fmla="*/ 864088 h 2259132"/>
                <a:gd name="connsiteX114" fmla="*/ 98804 w 1532211"/>
                <a:gd name="connsiteY114" fmla="*/ 802651 h 2259132"/>
                <a:gd name="connsiteX115" fmla="*/ 190675 w 1532211"/>
                <a:gd name="connsiteY115" fmla="*/ 738610 h 2259132"/>
                <a:gd name="connsiteX116" fmla="*/ 200372 w 1532211"/>
                <a:gd name="connsiteY116" fmla="*/ 688184 h 2259132"/>
                <a:gd name="connsiteX117" fmla="*/ 132672 w 1532211"/>
                <a:gd name="connsiteY117" fmla="*/ 636640 h 2259132"/>
                <a:gd name="connsiteX118" fmla="*/ 154544 w 1532211"/>
                <a:gd name="connsiteY118" fmla="*/ 577206 h 2259132"/>
                <a:gd name="connsiteX119" fmla="*/ 241378 w 1532211"/>
                <a:gd name="connsiteY119" fmla="*/ 466881 h 2259132"/>
                <a:gd name="connsiteX120" fmla="*/ 277866 w 1532211"/>
                <a:gd name="connsiteY120" fmla="*/ 449178 h 2259132"/>
                <a:gd name="connsiteX121" fmla="*/ 267409 w 1532211"/>
                <a:gd name="connsiteY121" fmla="*/ 372515 h 2259132"/>
                <a:gd name="connsiteX122" fmla="*/ 326825 w 1532211"/>
                <a:gd name="connsiteY122" fmla="*/ 325650 h 2259132"/>
                <a:gd name="connsiteX123" fmla="*/ 403953 w 1532211"/>
                <a:gd name="connsiteY123" fmla="*/ 296935 h 2259132"/>
                <a:gd name="connsiteX124" fmla="*/ 481028 w 1532211"/>
                <a:gd name="connsiteY124" fmla="*/ 295298 h 2259132"/>
                <a:gd name="connsiteX125" fmla="*/ 508392 w 1532211"/>
                <a:gd name="connsiteY125" fmla="*/ 351708 h 2259132"/>
                <a:gd name="connsiteX126" fmla="*/ 574929 w 1532211"/>
                <a:gd name="connsiteY126" fmla="*/ 250409 h 2259132"/>
                <a:gd name="connsiteX127" fmla="*/ 634792 w 1532211"/>
                <a:gd name="connsiteY127" fmla="*/ 320005 h 2259132"/>
                <a:gd name="connsiteX128" fmla="*/ 670010 w 1532211"/>
                <a:gd name="connsiteY128" fmla="*/ 334255 h 2259132"/>
                <a:gd name="connsiteX129" fmla="*/ 722100 w 1532211"/>
                <a:gd name="connsiteY129" fmla="*/ 391614 h 2259132"/>
                <a:gd name="connsiteX130" fmla="*/ 662460 w 1532211"/>
                <a:gd name="connsiteY130" fmla="*/ 295271 h 2259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32211" h="2259132">
                  <a:moveTo>
                    <a:pt x="665895" y="213911"/>
                  </a:moveTo>
                  <a:lnTo>
                    <a:pt x="750108" y="92208"/>
                  </a:lnTo>
                  <a:lnTo>
                    <a:pt x="838114" y="101744"/>
                  </a:lnTo>
                  <a:lnTo>
                    <a:pt x="870103" y="21664"/>
                  </a:lnTo>
                  <a:lnTo>
                    <a:pt x="958753" y="51"/>
                  </a:lnTo>
                  <a:lnTo>
                    <a:pt x="1159088" y="28203"/>
                  </a:lnTo>
                  <a:lnTo>
                    <a:pt x="1315983" y="194482"/>
                  </a:lnTo>
                  <a:lnTo>
                    <a:pt x="1269663" y="268819"/>
                  </a:lnTo>
                  <a:lnTo>
                    <a:pt x="1173714" y="277076"/>
                  </a:lnTo>
                  <a:lnTo>
                    <a:pt x="1038708" y="295235"/>
                  </a:lnTo>
                  <a:lnTo>
                    <a:pt x="1051339" y="327841"/>
                  </a:lnTo>
                  <a:lnTo>
                    <a:pt x="1140123" y="307777"/>
                  </a:lnTo>
                  <a:lnTo>
                    <a:pt x="1215677" y="369617"/>
                  </a:lnTo>
                  <a:lnTo>
                    <a:pt x="1264367" y="314835"/>
                  </a:lnTo>
                  <a:lnTo>
                    <a:pt x="1285219" y="378795"/>
                  </a:lnTo>
                  <a:lnTo>
                    <a:pt x="1257685" y="476900"/>
                  </a:lnTo>
                  <a:lnTo>
                    <a:pt x="1321538" y="414953"/>
                  </a:lnTo>
                  <a:lnTo>
                    <a:pt x="1443331" y="347414"/>
                  </a:lnTo>
                  <a:lnTo>
                    <a:pt x="1518518" y="381523"/>
                  </a:lnTo>
                  <a:lnTo>
                    <a:pt x="1532607" y="454080"/>
                  </a:lnTo>
                  <a:lnTo>
                    <a:pt x="1430351" y="567402"/>
                  </a:lnTo>
                  <a:lnTo>
                    <a:pt x="1416190" y="602227"/>
                  </a:lnTo>
                  <a:lnTo>
                    <a:pt x="1336021" y="627864"/>
                  </a:lnTo>
                  <a:lnTo>
                    <a:pt x="1394113" y="634896"/>
                  </a:lnTo>
                  <a:lnTo>
                    <a:pt x="1364772" y="737840"/>
                  </a:lnTo>
                  <a:lnTo>
                    <a:pt x="1344581" y="823699"/>
                  </a:lnTo>
                  <a:lnTo>
                    <a:pt x="1345369" y="960181"/>
                  </a:lnTo>
                  <a:lnTo>
                    <a:pt x="1375488" y="1034733"/>
                  </a:lnTo>
                  <a:lnTo>
                    <a:pt x="1336307" y="1039322"/>
                  </a:lnTo>
                  <a:lnTo>
                    <a:pt x="1295059" y="1074030"/>
                  </a:lnTo>
                  <a:lnTo>
                    <a:pt x="1341343" y="1130387"/>
                  </a:lnTo>
                  <a:lnTo>
                    <a:pt x="1347238" y="1216496"/>
                  </a:lnTo>
                  <a:lnTo>
                    <a:pt x="1320420" y="1225585"/>
                  </a:lnTo>
                  <a:lnTo>
                    <a:pt x="1352919" y="1307472"/>
                  </a:lnTo>
                  <a:lnTo>
                    <a:pt x="1297197" y="1314109"/>
                  </a:lnTo>
                  <a:lnTo>
                    <a:pt x="1326288" y="1351144"/>
                  </a:lnTo>
                  <a:lnTo>
                    <a:pt x="1318067" y="1382534"/>
                  </a:lnTo>
                  <a:lnTo>
                    <a:pt x="1282696" y="1396113"/>
                  </a:lnTo>
                  <a:lnTo>
                    <a:pt x="1247747" y="1396363"/>
                  </a:lnTo>
                  <a:lnTo>
                    <a:pt x="1279163" y="1454339"/>
                  </a:lnTo>
                  <a:lnTo>
                    <a:pt x="1279512" y="1491266"/>
                  </a:lnTo>
                  <a:lnTo>
                    <a:pt x="1229873" y="1456978"/>
                  </a:lnTo>
                  <a:lnTo>
                    <a:pt x="1216965" y="1479243"/>
                  </a:lnTo>
                  <a:lnTo>
                    <a:pt x="1250824" y="1499755"/>
                  </a:lnTo>
                  <a:lnTo>
                    <a:pt x="1283690" y="1548741"/>
                  </a:lnTo>
                  <a:lnTo>
                    <a:pt x="1293199" y="1610957"/>
                  </a:lnTo>
                  <a:lnTo>
                    <a:pt x="1248489" y="1625475"/>
                  </a:lnTo>
                  <a:lnTo>
                    <a:pt x="1229158" y="1596286"/>
                  </a:lnTo>
                  <a:lnTo>
                    <a:pt x="1198144" y="1551738"/>
                  </a:lnTo>
                  <a:lnTo>
                    <a:pt x="1206722" y="1604239"/>
                  </a:lnTo>
                  <a:lnTo>
                    <a:pt x="1177587" y="1643697"/>
                  </a:lnTo>
                  <a:lnTo>
                    <a:pt x="1243694" y="1646837"/>
                  </a:lnTo>
                  <a:lnTo>
                    <a:pt x="1278268" y="1650872"/>
                  </a:lnTo>
                  <a:lnTo>
                    <a:pt x="1211043" y="1713750"/>
                  </a:lnTo>
                  <a:lnTo>
                    <a:pt x="1142870" y="1768550"/>
                  </a:lnTo>
                  <a:lnTo>
                    <a:pt x="1069472" y="1791951"/>
                  </a:lnTo>
                  <a:lnTo>
                    <a:pt x="1041803" y="1792246"/>
                  </a:lnTo>
                  <a:lnTo>
                    <a:pt x="1015861" y="1817938"/>
                  </a:lnTo>
                  <a:lnTo>
                    <a:pt x="980965" y="1886237"/>
                  </a:lnTo>
                  <a:lnTo>
                    <a:pt x="927024" y="1929971"/>
                  </a:lnTo>
                  <a:lnTo>
                    <a:pt x="909696" y="1932503"/>
                  </a:lnTo>
                  <a:lnTo>
                    <a:pt x="876302" y="1947522"/>
                  </a:lnTo>
                  <a:lnTo>
                    <a:pt x="840252" y="1961683"/>
                  </a:lnTo>
                  <a:lnTo>
                    <a:pt x="818765" y="1998556"/>
                  </a:lnTo>
                  <a:lnTo>
                    <a:pt x="818425" y="2039330"/>
                  </a:lnTo>
                  <a:lnTo>
                    <a:pt x="805731" y="2076597"/>
                  </a:lnTo>
                  <a:lnTo>
                    <a:pt x="764833" y="2120868"/>
                  </a:lnTo>
                  <a:lnTo>
                    <a:pt x="774932" y="2162957"/>
                  </a:lnTo>
                  <a:lnTo>
                    <a:pt x="763661" y="2206342"/>
                  </a:lnTo>
                  <a:lnTo>
                    <a:pt x="750806" y="2256124"/>
                  </a:lnTo>
                  <a:lnTo>
                    <a:pt x="715462" y="2259184"/>
                  </a:lnTo>
                  <a:lnTo>
                    <a:pt x="678446" y="2217730"/>
                  </a:lnTo>
                  <a:lnTo>
                    <a:pt x="628297" y="2217471"/>
                  </a:lnTo>
                  <a:lnTo>
                    <a:pt x="603957" y="2189024"/>
                  </a:lnTo>
                  <a:lnTo>
                    <a:pt x="587229" y="2137095"/>
                  </a:lnTo>
                  <a:lnTo>
                    <a:pt x="543762" y="2068474"/>
                  </a:lnTo>
                  <a:lnTo>
                    <a:pt x="531051" y="2031297"/>
                  </a:lnTo>
                  <a:lnTo>
                    <a:pt x="527625" y="1978590"/>
                  </a:lnTo>
                  <a:lnTo>
                    <a:pt x="492880" y="1922529"/>
                  </a:lnTo>
                  <a:lnTo>
                    <a:pt x="501916" y="1876280"/>
                  </a:lnTo>
                  <a:lnTo>
                    <a:pt x="485178" y="1853666"/>
                  </a:lnTo>
                  <a:lnTo>
                    <a:pt x="509975" y="1776234"/>
                  </a:lnTo>
                  <a:lnTo>
                    <a:pt x="547725" y="1750757"/>
                  </a:lnTo>
                  <a:lnTo>
                    <a:pt x="557628" y="1721586"/>
                  </a:lnTo>
                  <a:lnTo>
                    <a:pt x="562879" y="1665569"/>
                  </a:lnTo>
                  <a:lnTo>
                    <a:pt x="534227" y="1691216"/>
                  </a:lnTo>
                  <a:lnTo>
                    <a:pt x="520567" y="1701861"/>
                  </a:lnTo>
                  <a:lnTo>
                    <a:pt x="498042" y="1711996"/>
                  </a:lnTo>
                  <a:lnTo>
                    <a:pt x="467260" y="1688693"/>
                  </a:lnTo>
                  <a:lnTo>
                    <a:pt x="465588" y="1639037"/>
                  </a:lnTo>
                  <a:lnTo>
                    <a:pt x="475401" y="1598979"/>
                  </a:lnTo>
                  <a:lnTo>
                    <a:pt x="498659" y="1597879"/>
                  </a:lnTo>
                  <a:lnTo>
                    <a:pt x="549863" y="1618051"/>
                  </a:lnTo>
                  <a:lnTo>
                    <a:pt x="506737" y="1569432"/>
                  </a:lnTo>
                  <a:lnTo>
                    <a:pt x="484293" y="1542560"/>
                  </a:lnTo>
                  <a:lnTo>
                    <a:pt x="459317" y="1553661"/>
                  </a:lnTo>
                  <a:lnTo>
                    <a:pt x="438384" y="1534043"/>
                  </a:lnTo>
                  <a:lnTo>
                    <a:pt x="466384" y="1457953"/>
                  </a:lnTo>
                  <a:lnTo>
                    <a:pt x="451132" y="1426438"/>
                  </a:lnTo>
                  <a:lnTo>
                    <a:pt x="431228" y="1366119"/>
                  </a:lnTo>
                  <a:lnTo>
                    <a:pt x="401037" y="1268559"/>
                  </a:lnTo>
                  <a:lnTo>
                    <a:pt x="369102" y="1231176"/>
                  </a:lnTo>
                  <a:lnTo>
                    <a:pt x="369397" y="1189785"/>
                  </a:lnTo>
                  <a:lnTo>
                    <a:pt x="302091" y="1129939"/>
                  </a:lnTo>
                  <a:lnTo>
                    <a:pt x="248838" y="1122318"/>
                  </a:lnTo>
                  <a:lnTo>
                    <a:pt x="181810" y="1126540"/>
                  </a:lnTo>
                  <a:lnTo>
                    <a:pt x="120605" y="1134207"/>
                  </a:lnTo>
                  <a:lnTo>
                    <a:pt x="91496" y="1100697"/>
                  </a:lnTo>
                  <a:lnTo>
                    <a:pt x="47913" y="1032174"/>
                  </a:lnTo>
                  <a:lnTo>
                    <a:pt x="113770" y="996669"/>
                  </a:lnTo>
                  <a:lnTo>
                    <a:pt x="164259" y="990622"/>
                  </a:lnTo>
                  <a:lnTo>
                    <a:pt x="56930" y="960485"/>
                  </a:lnTo>
                  <a:lnTo>
                    <a:pt x="395" y="911884"/>
                  </a:lnTo>
                  <a:lnTo>
                    <a:pt x="3848" y="864088"/>
                  </a:lnTo>
                  <a:lnTo>
                    <a:pt x="98804" y="802651"/>
                  </a:lnTo>
                  <a:lnTo>
                    <a:pt x="190675" y="738610"/>
                  </a:lnTo>
                  <a:lnTo>
                    <a:pt x="200372" y="688184"/>
                  </a:lnTo>
                  <a:lnTo>
                    <a:pt x="132672" y="636640"/>
                  </a:lnTo>
                  <a:lnTo>
                    <a:pt x="154544" y="577206"/>
                  </a:lnTo>
                  <a:lnTo>
                    <a:pt x="241378" y="466881"/>
                  </a:lnTo>
                  <a:lnTo>
                    <a:pt x="277866" y="449178"/>
                  </a:lnTo>
                  <a:lnTo>
                    <a:pt x="267409" y="372515"/>
                  </a:lnTo>
                  <a:lnTo>
                    <a:pt x="326825" y="325650"/>
                  </a:lnTo>
                  <a:lnTo>
                    <a:pt x="403953" y="296935"/>
                  </a:lnTo>
                  <a:lnTo>
                    <a:pt x="481028" y="295298"/>
                  </a:lnTo>
                  <a:lnTo>
                    <a:pt x="508392" y="351708"/>
                  </a:lnTo>
                  <a:lnTo>
                    <a:pt x="574929" y="250409"/>
                  </a:lnTo>
                  <a:lnTo>
                    <a:pt x="634792" y="320005"/>
                  </a:lnTo>
                  <a:lnTo>
                    <a:pt x="670010" y="334255"/>
                  </a:lnTo>
                  <a:lnTo>
                    <a:pt x="722100" y="391614"/>
                  </a:lnTo>
                  <a:lnTo>
                    <a:pt x="662460" y="29527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/>
            <p:cNvSpPr/>
            <p:nvPr/>
          </p:nvSpPr>
          <p:spPr>
            <a:xfrm>
              <a:off x="5415272" y="4311920"/>
              <a:ext cx="75159" cy="19125"/>
            </a:xfrm>
            <a:custGeom>
              <a:avLst/>
              <a:gdLst>
                <a:gd name="connsiteX0" fmla="*/ 426 w 75159"/>
                <a:gd name="connsiteY0" fmla="*/ 18753 h 19125"/>
                <a:gd name="connsiteX1" fmla="*/ 3629 w 75159"/>
                <a:gd name="connsiteY1" fmla="*/ 7393 h 19125"/>
                <a:gd name="connsiteX2" fmla="*/ 30948 w 75159"/>
                <a:gd name="connsiteY2" fmla="*/ 6659 h 19125"/>
                <a:gd name="connsiteX3" fmla="*/ 36611 w 75159"/>
                <a:gd name="connsiteY3" fmla="*/ 585 h 19125"/>
                <a:gd name="connsiteX4" fmla="*/ 44563 w 75159"/>
                <a:gd name="connsiteY4" fmla="*/ 174 h 19125"/>
                <a:gd name="connsiteX5" fmla="*/ 54466 w 75159"/>
                <a:gd name="connsiteY5" fmla="*/ 6489 h 19125"/>
                <a:gd name="connsiteX6" fmla="*/ 62249 w 75159"/>
                <a:gd name="connsiteY6" fmla="*/ 6605 h 19125"/>
                <a:gd name="connsiteX7" fmla="*/ 70514 w 75159"/>
                <a:gd name="connsiteY7" fmla="*/ 2285 h 19125"/>
                <a:gd name="connsiteX8" fmla="*/ 75586 w 75159"/>
                <a:gd name="connsiteY8" fmla="*/ 9701 h 19125"/>
                <a:gd name="connsiteX9" fmla="*/ 64727 w 75159"/>
                <a:gd name="connsiteY9" fmla="*/ 15453 h 19125"/>
                <a:gd name="connsiteX10" fmla="*/ 53831 w 75159"/>
                <a:gd name="connsiteY10" fmla="*/ 14996 h 19125"/>
                <a:gd name="connsiteX11" fmla="*/ 43070 w 75159"/>
                <a:gd name="connsiteY11" fmla="*/ 9584 h 19125"/>
                <a:gd name="connsiteX12" fmla="*/ 33775 w 75159"/>
                <a:gd name="connsiteY12" fmla="*/ 15497 h 19125"/>
                <a:gd name="connsiteX13" fmla="*/ 29285 w 75159"/>
                <a:gd name="connsiteY13" fmla="*/ 15712 h 19125"/>
                <a:gd name="connsiteX14" fmla="*/ 23255 w 75159"/>
                <a:gd name="connsiteY14" fmla="*/ 19299 h 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159" h="19125">
                  <a:moveTo>
                    <a:pt x="426" y="18753"/>
                  </a:moveTo>
                  <a:lnTo>
                    <a:pt x="3629" y="7393"/>
                  </a:lnTo>
                  <a:lnTo>
                    <a:pt x="30948" y="6659"/>
                  </a:lnTo>
                  <a:lnTo>
                    <a:pt x="36611" y="585"/>
                  </a:lnTo>
                  <a:lnTo>
                    <a:pt x="44563" y="174"/>
                  </a:lnTo>
                  <a:lnTo>
                    <a:pt x="54466" y="6489"/>
                  </a:lnTo>
                  <a:lnTo>
                    <a:pt x="62249" y="6605"/>
                  </a:lnTo>
                  <a:lnTo>
                    <a:pt x="70514" y="2285"/>
                  </a:lnTo>
                  <a:lnTo>
                    <a:pt x="75586" y="9701"/>
                  </a:lnTo>
                  <a:lnTo>
                    <a:pt x="64727" y="15453"/>
                  </a:lnTo>
                  <a:lnTo>
                    <a:pt x="53831" y="14996"/>
                  </a:lnTo>
                  <a:lnTo>
                    <a:pt x="43070" y="9584"/>
                  </a:lnTo>
                  <a:lnTo>
                    <a:pt x="33775" y="15497"/>
                  </a:lnTo>
                  <a:lnTo>
                    <a:pt x="29285" y="15712"/>
                  </a:lnTo>
                  <a:lnTo>
                    <a:pt x="23255" y="1929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/>
            <p:cNvSpPr/>
            <p:nvPr/>
          </p:nvSpPr>
          <p:spPr>
            <a:xfrm>
              <a:off x="5458192" y="4344947"/>
              <a:ext cx="183051" cy="133565"/>
            </a:xfrm>
            <a:custGeom>
              <a:avLst/>
              <a:gdLst>
                <a:gd name="connsiteX0" fmla="*/ 168249 w 183051"/>
                <a:gd name="connsiteY0" fmla="*/ 124270 h 133565"/>
                <a:gd name="connsiteX1" fmla="*/ 161155 w 183051"/>
                <a:gd name="connsiteY1" fmla="*/ 123617 h 133565"/>
                <a:gd name="connsiteX2" fmla="*/ 156047 w 183051"/>
                <a:gd name="connsiteY2" fmla="*/ 133743 h 133565"/>
                <a:gd name="connsiteX3" fmla="*/ 148953 w 183051"/>
                <a:gd name="connsiteY3" fmla="*/ 133618 h 133565"/>
                <a:gd name="connsiteX4" fmla="*/ 144069 w 183051"/>
                <a:gd name="connsiteY4" fmla="*/ 128268 h 133565"/>
                <a:gd name="connsiteX5" fmla="*/ 145733 w 183051"/>
                <a:gd name="connsiteY5" fmla="*/ 118169 h 133565"/>
                <a:gd name="connsiteX6" fmla="*/ 135240 w 183051"/>
                <a:gd name="connsiteY6" fmla="*/ 102747 h 133565"/>
                <a:gd name="connsiteX7" fmla="*/ 128692 w 183051"/>
                <a:gd name="connsiteY7" fmla="*/ 105583 h 133565"/>
                <a:gd name="connsiteX8" fmla="*/ 123333 w 183051"/>
                <a:gd name="connsiteY8" fmla="*/ 106146 h 133565"/>
                <a:gd name="connsiteX9" fmla="*/ 116427 w 183051"/>
                <a:gd name="connsiteY9" fmla="*/ 107587 h 133565"/>
                <a:gd name="connsiteX10" fmla="*/ 116714 w 183051"/>
                <a:gd name="connsiteY10" fmla="*/ 98346 h 133565"/>
                <a:gd name="connsiteX11" fmla="*/ 112679 w 183051"/>
                <a:gd name="connsiteY11" fmla="*/ 91753 h 133565"/>
                <a:gd name="connsiteX12" fmla="*/ 113493 w 183051"/>
                <a:gd name="connsiteY12" fmla="*/ 84409 h 133565"/>
                <a:gd name="connsiteX13" fmla="*/ 108054 w 183051"/>
                <a:gd name="connsiteY13" fmla="*/ 73790 h 133565"/>
                <a:gd name="connsiteX14" fmla="*/ 101077 w 183051"/>
                <a:gd name="connsiteY14" fmla="*/ 64747 h 133565"/>
                <a:gd name="connsiteX15" fmla="*/ 81021 w 183051"/>
                <a:gd name="connsiteY15" fmla="*/ 64719 h 133565"/>
                <a:gd name="connsiteX16" fmla="*/ 75171 w 183051"/>
                <a:gd name="connsiteY16" fmla="*/ 69488 h 133565"/>
                <a:gd name="connsiteX17" fmla="*/ 68265 w 183051"/>
                <a:gd name="connsiteY17" fmla="*/ 70060 h 133565"/>
                <a:gd name="connsiteX18" fmla="*/ 63980 w 183051"/>
                <a:gd name="connsiteY18" fmla="*/ 75517 h 133565"/>
                <a:gd name="connsiteX19" fmla="*/ 61081 w 183051"/>
                <a:gd name="connsiteY19" fmla="*/ 82521 h 133565"/>
                <a:gd name="connsiteX20" fmla="*/ 47681 w 183051"/>
                <a:gd name="connsiteY20" fmla="*/ 93623 h 133565"/>
                <a:gd name="connsiteX21" fmla="*/ 36678 w 183051"/>
                <a:gd name="connsiteY21" fmla="*/ 78683 h 133565"/>
                <a:gd name="connsiteX22" fmla="*/ 26928 w 183051"/>
                <a:gd name="connsiteY22" fmla="*/ 68790 h 133565"/>
                <a:gd name="connsiteX23" fmla="*/ 20505 w 183051"/>
                <a:gd name="connsiteY23" fmla="*/ 65516 h 133565"/>
                <a:gd name="connsiteX24" fmla="*/ 14243 w 183051"/>
                <a:gd name="connsiteY24" fmla="*/ 60479 h 133565"/>
                <a:gd name="connsiteX25" fmla="*/ 11389 w 183051"/>
                <a:gd name="connsiteY25" fmla="*/ 49289 h 133565"/>
                <a:gd name="connsiteX26" fmla="*/ 7722 w 183051"/>
                <a:gd name="connsiteY26" fmla="*/ 43698 h 133565"/>
                <a:gd name="connsiteX27" fmla="*/ 431 w 183051"/>
                <a:gd name="connsiteY27" fmla="*/ 39538 h 133565"/>
                <a:gd name="connsiteX28" fmla="*/ 11586 w 183051"/>
                <a:gd name="connsiteY28" fmla="*/ 27158 h 133565"/>
                <a:gd name="connsiteX29" fmla="*/ 19190 w 183051"/>
                <a:gd name="connsiteY29" fmla="*/ 27622 h 133565"/>
                <a:gd name="connsiteX30" fmla="*/ 25738 w 183051"/>
                <a:gd name="connsiteY30" fmla="*/ 23356 h 133565"/>
                <a:gd name="connsiteX31" fmla="*/ 31266 w 183051"/>
                <a:gd name="connsiteY31" fmla="*/ 23311 h 133565"/>
                <a:gd name="connsiteX32" fmla="*/ 35220 w 183051"/>
                <a:gd name="connsiteY32" fmla="*/ 19938 h 133565"/>
                <a:gd name="connsiteX33" fmla="*/ 33082 w 183051"/>
                <a:gd name="connsiteY33" fmla="*/ 11503 h 133565"/>
                <a:gd name="connsiteX34" fmla="*/ 35837 w 183051"/>
                <a:gd name="connsiteY34" fmla="*/ 8837 h 133565"/>
                <a:gd name="connsiteX35" fmla="*/ 36293 w 183051"/>
                <a:gd name="connsiteY35" fmla="*/ 178 h 133565"/>
                <a:gd name="connsiteX36" fmla="*/ 48397 w 183051"/>
                <a:gd name="connsiteY36" fmla="*/ 446 h 133565"/>
                <a:gd name="connsiteX37" fmla="*/ 66431 w 183051"/>
                <a:gd name="connsiteY37" fmla="*/ 6672 h 133565"/>
                <a:gd name="connsiteX38" fmla="*/ 71959 w 183051"/>
                <a:gd name="connsiteY38" fmla="*/ 6100 h 133565"/>
                <a:gd name="connsiteX39" fmla="*/ 73838 w 183051"/>
                <a:gd name="connsiteY39" fmla="*/ 3255 h 133565"/>
                <a:gd name="connsiteX40" fmla="*/ 87515 w 183051"/>
                <a:gd name="connsiteY40" fmla="*/ 5277 h 133565"/>
                <a:gd name="connsiteX41" fmla="*/ 91138 w 183051"/>
                <a:gd name="connsiteY41" fmla="*/ 3836 h 133565"/>
                <a:gd name="connsiteX42" fmla="*/ 92579 w 183051"/>
                <a:gd name="connsiteY42" fmla="*/ 13176 h 133565"/>
                <a:gd name="connsiteX43" fmla="*/ 96559 w 183051"/>
                <a:gd name="connsiteY43" fmla="*/ 13149 h 133565"/>
                <a:gd name="connsiteX44" fmla="*/ 103108 w 183051"/>
                <a:gd name="connsiteY44" fmla="*/ 9750 h 133565"/>
                <a:gd name="connsiteX45" fmla="*/ 107267 w 183051"/>
                <a:gd name="connsiteY45" fmla="*/ 10599 h 133565"/>
                <a:gd name="connsiteX46" fmla="*/ 114227 w 183051"/>
                <a:gd name="connsiteY46" fmla="*/ 17067 h 133565"/>
                <a:gd name="connsiteX47" fmla="*/ 124961 w 183051"/>
                <a:gd name="connsiteY47" fmla="*/ 19106 h 133565"/>
                <a:gd name="connsiteX48" fmla="*/ 131840 w 183051"/>
                <a:gd name="connsiteY48" fmla="*/ 13596 h 133565"/>
                <a:gd name="connsiteX49" fmla="*/ 139945 w 183051"/>
                <a:gd name="connsiteY49" fmla="*/ 10179 h 133565"/>
                <a:gd name="connsiteX50" fmla="*/ 145974 w 183051"/>
                <a:gd name="connsiteY50" fmla="*/ 6610 h 133565"/>
                <a:gd name="connsiteX51" fmla="*/ 150993 w 183051"/>
                <a:gd name="connsiteY51" fmla="*/ 7281 h 133565"/>
                <a:gd name="connsiteX52" fmla="*/ 156566 w 183051"/>
                <a:gd name="connsiteY52" fmla="*/ 12880 h 133565"/>
                <a:gd name="connsiteX53" fmla="*/ 159554 w 183051"/>
                <a:gd name="connsiteY53" fmla="*/ 19911 h 133565"/>
                <a:gd name="connsiteX54" fmla="*/ 169832 w 183051"/>
                <a:gd name="connsiteY54" fmla="*/ 30566 h 133565"/>
                <a:gd name="connsiteX55" fmla="*/ 164688 w 183051"/>
                <a:gd name="connsiteY55" fmla="*/ 37105 h 133565"/>
                <a:gd name="connsiteX56" fmla="*/ 163713 w 183051"/>
                <a:gd name="connsiteY56" fmla="*/ 45361 h 133565"/>
                <a:gd name="connsiteX57" fmla="*/ 169054 w 183051"/>
                <a:gd name="connsiteY57" fmla="*/ 42866 h 133565"/>
                <a:gd name="connsiteX58" fmla="*/ 172185 w 183051"/>
                <a:gd name="connsiteY58" fmla="*/ 45827 h 133565"/>
                <a:gd name="connsiteX59" fmla="*/ 170861 w 183051"/>
                <a:gd name="connsiteY59" fmla="*/ 53377 h 133565"/>
                <a:gd name="connsiteX60" fmla="*/ 178518 w 183051"/>
                <a:gd name="connsiteY60" fmla="*/ 60685 h 133565"/>
                <a:gd name="connsiteX61" fmla="*/ 173517 w 183051"/>
                <a:gd name="connsiteY61" fmla="*/ 62644 h 133565"/>
                <a:gd name="connsiteX62" fmla="*/ 171505 w 183051"/>
                <a:gd name="connsiteY62" fmla="*/ 71232 h 133565"/>
                <a:gd name="connsiteX63" fmla="*/ 177284 w 183051"/>
                <a:gd name="connsiteY63" fmla="*/ 81680 h 133565"/>
                <a:gd name="connsiteX64" fmla="*/ 183483 w 183051"/>
                <a:gd name="connsiteY64" fmla="*/ 101870 h 133565"/>
                <a:gd name="connsiteX65" fmla="*/ 174162 w 183051"/>
                <a:gd name="connsiteY65" fmla="*/ 104903 h 133565"/>
                <a:gd name="connsiteX66" fmla="*/ 171764 w 183051"/>
                <a:gd name="connsiteY66" fmla="*/ 108401 h 133565"/>
                <a:gd name="connsiteX67" fmla="*/ 173705 w 183051"/>
                <a:gd name="connsiteY67" fmla="*/ 113267 h 133565"/>
                <a:gd name="connsiteX68" fmla="*/ 172229 w 183051"/>
                <a:gd name="connsiteY68" fmla="*/ 124234 h 1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83051" h="133565">
                  <a:moveTo>
                    <a:pt x="168249" y="124270"/>
                  </a:moveTo>
                  <a:lnTo>
                    <a:pt x="161155" y="123617"/>
                  </a:lnTo>
                  <a:lnTo>
                    <a:pt x="156047" y="133743"/>
                  </a:lnTo>
                  <a:lnTo>
                    <a:pt x="148953" y="133618"/>
                  </a:lnTo>
                  <a:lnTo>
                    <a:pt x="144069" y="128268"/>
                  </a:lnTo>
                  <a:lnTo>
                    <a:pt x="145733" y="118169"/>
                  </a:lnTo>
                  <a:lnTo>
                    <a:pt x="135240" y="102747"/>
                  </a:lnTo>
                  <a:lnTo>
                    <a:pt x="128692" y="105583"/>
                  </a:lnTo>
                  <a:lnTo>
                    <a:pt x="123333" y="106146"/>
                  </a:lnTo>
                  <a:lnTo>
                    <a:pt x="116427" y="107587"/>
                  </a:lnTo>
                  <a:lnTo>
                    <a:pt x="116714" y="98346"/>
                  </a:lnTo>
                  <a:lnTo>
                    <a:pt x="112679" y="91753"/>
                  </a:lnTo>
                  <a:lnTo>
                    <a:pt x="113493" y="84409"/>
                  </a:lnTo>
                  <a:lnTo>
                    <a:pt x="108054" y="73790"/>
                  </a:lnTo>
                  <a:lnTo>
                    <a:pt x="101077" y="64747"/>
                  </a:lnTo>
                  <a:lnTo>
                    <a:pt x="81021" y="64719"/>
                  </a:lnTo>
                  <a:lnTo>
                    <a:pt x="75171" y="69488"/>
                  </a:lnTo>
                  <a:lnTo>
                    <a:pt x="68265" y="70060"/>
                  </a:lnTo>
                  <a:lnTo>
                    <a:pt x="63980" y="75517"/>
                  </a:lnTo>
                  <a:lnTo>
                    <a:pt x="61081" y="82521"/>
                  </a:lnTo>
                  <a:lnTo>
                    <a:pt x="47681" y="93623"/>
                  </a:lnTo>
                  <a:lnTo>
                    <a:pt x="36678" y="78683"/>
                  </a:lnTo>
                  <a:lnTo>
                    <a:pt x="26928" y="68790"/>
                  </a:lnTo>
                  <a:lnTo>
                    <a:pt x="20505" y="65516"/>
                  </a:lnTo>
                  <a:lnTo>
                    <a:pt x="14243" y="60479"/>
                  </a:lnTo>
                  <a:lnTo>
                    <a:pt x="11389" y="49289"/>
                  </a:lnTo>
                  <a:lnTo>
                    <a:pt x="7722" y="43698"/>
                  </a:lnTo>
                  <a:lnTo>
                    <a:pt x="431" y="39538"/>
                  </a:lnTo>
                  <a:lnTo>
                    <a:pt x="11586" y="27158"/>
                  </a:lnTo>
                  <a:lnTo>
                    <a:pt x="19190" y="27622"/>
                  </a:lnTo>
                  <a:lnTo>
                    <a:pt x="25738" y="23356"/>
                  </a:lnTo>
                  <a:lnTo>
                    <a:pt x="31266" y="23311"/>
                  </a:lnTo>
                  <a:lnTo>
                    <a:pt x="35220" y="19938"/>
                  </a:lnTo>
                  <a:lnTo>
                    <a:pt x="33082" y="11503"/>
                  </a:lnTo>
                  <a:lnTo>
                    <a:pt x="35837" y="8837"/>
                  </a:lnTo>
                  <a:lnTo>
                    <a:pt x="36293" y="178"/>
                  </a:lnTo>
                  <a:lnTo>
                    <a:pt x="48397" y="446"/>
                  </a:lnTo>
                  <a:lnTo>
                    <a:pt x="66431" y="6672"/>
                  </a:lnTo>
                  <a:lnTo>
                    <a:pt x="71959" y="6100"/>
                  </a:lnTo>
                  <a:lnTo>
                    <a:pt x="73838" y="3255"/>
                  </a:lnTo>
                  <a:lnTo>
                    <a:pt x="87515" y="5277"/>
                  </a:lnTo>
                  <a:lnTo>
                    <a:pt x="91138" y="3836"/>
                  </a:lnTo>
                  <a:lnTo>
                    <a:pt x="92579" y="13176"/>
                  </a:lnTo>
                  <a:lnTo>
                    <a:pt x="96559" y="13149"/>
                  </a:lnTo>
                  <a:lnTo>
                    <a:pt x="103108" y="9750"/>
                  </a:lnTo>
                  <a:lnTo>
                    <a:pt x="107267" y="10599"/>
                  </a:lnTo>
                  <a:lnTo>
                    <a:pt x="114227" y="17067"/>
                  </a:lnTo>
                  <a:lnTo>
                    <a:pt x="124961" y="19106"/>
                  </a:lnTo>
                  <a:lnTo>
                    <a:pt x="131840" y="13596"/>
                  </a:lnTo>
                  <a:lnTo>
                    <a:pt x="139945" y="10179"/>
                  </a:lnTo>
                  <a:lnTo>
                    <a:pt x="145974" y="6610"/>
                  </a:lnTo>
                  <a:lnTo>
                    <a:pt x="150993" y="7281"/>
                  </a:lnTo>
                  <a:lnTo>
                    <a:pt x="156566" y="12880"/>
                  </a:lnTo>
                  <a:lnTo>
                    <a:pt x="159554" y="19911"/>
                  </a:lnTo>
                  <a:lnTo>
                    <a:pt x="169832" y="30566"/>
                  </a:lnTo>
                  <a:lnTo>
                    <a:pt x="164688" y="37105"/>
                  </a:lnTo>
                  <a:lnTo>
                    <a:pt x="163713" y="45361"/>
                  </a:lnTo>
                  <a:lnTo>
                    <a:pt x="169054" y="42866"/>
                  </a:lnTo>
                  <a:lnTo>
                    <a:pt x="172185" y="45827"/>
                  </a:lnTo>
                  <a:lnTo>
                    <a:pt x="170861" y="53377"/>
                  </a:lnTo>
                  <a:lnTo>
                    <a:pt x="178518" y="60685"/>
                  </a:lnTo>
                  <a:lnTo>
                    <a:pt x="173517" y="62644"/>
                  </a:lnTo>
                  <a:lnTo>
                    <a:pt x="171505" y="71232"/>
                  </a:lnTo>
                  <a:lnTo>
                    <a:pt x="177284" y="81680"/>
                  </a:lnTo>
                  <a:lnTo>
                    <a:pt x="183483" y="101870"/>
                  </a:lnTo>
                  <a:lnTo>
                    <a:pt x="174162" y="104903"/>
                  </a:lnTo>
                  <a:lnTo>
                    <a:pt x="171764" y="108401"/>
                  </a:lnTo>
                  <a:lnTo>
                    <a:pt x="173705" y="113267"/>
                  </a:lnTo>
                  <a:lnTo>
                    <a:pt x="172229" y="12423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/>
            <p:cNvSpPr/>
            <p:nvPr/>
          </p:nvSpPr>
          <p:spPr>
            <a:xfrm>
              <a:off x="6071093" y="4604188"/>
              <a:ext cx="49647" cy="31756"/>
            </a:xfrm>
            <a:custGeom>
              <a:avLst/>
              <a:gdLst>
                <a:gd name="connsiteX0" fmla="*/ 5152 w 49647"/>
                <a:gd name="connsiteY0" fmla="*/ 31944 h 31756"/>
                <a:gd name="connsiteX1" fmla="*/ 456 w 49647"/>
                <a:gd name="connsiteY1" fmla="*/ 28187 h 31756"/>
                <a:gd name="connsiteX2" fmla="*/ 9070 w 49647"/>
                <a:gd name="connsiteY2" fmla="*/ 187 h 31756"/>
                <a:gd name="connsiteX3" fmla="*/ 49889 w 49647"/>
                <a:gd name="connsiteY3" fmla="*/ 760 h 31756"/>
                <a:gd name="connsiteX4" fmla="*/ 50103 w 49647"/>
                <a:gd name="connsiteY4" fmla="*/ 30754 h 31756"/>
                <a:gd name="connsiteX5" fmla="*/ 13606 w 49647"/>
                <a:gd name="connsiteY5" fmla="*/ 30504 h 31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47" h="31756">
                  <a:moveTo>
                    <a:pt x="5152" y="31944"/>
                  </a:moveTo>
                  <a:lnTo>
                    <a:pt x="456" y="28187"/>
                  </a:lnTo>
                  <a:lnTo>
                    <a:pt x="9070" y="187"/>
                  </a:lnTo>
                  <a:lnTo>
                    <a:pt x="49889" y="760"/>
                  </a:lnTo>
                  <a:lnTo>
                    <a:pt x="50103" y="30754"/>
                  </a:lnTo>
                  <a:lnTo>
                    <a:pt x="13606" y="3050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/>
            <p:cNvSpPr/>
            <p:nvPr/>
          </p:nvSpPr>
          <p:spPr>
            <a:xfrm>
              <a:off x="6343117" y="3510475"/>
              <a:ext cx="161850" cy="220417"/>
            </a:xfrm>
            <a:custGeom>
              <a:avLst/>
              <a:gdLst>
                <a:gd name="connsiteX0" fmla="*/ 89478 w 161850"/>
                <a:gd name="connsiteY0" fmla="*/ 196531 h 220417"/>
                <a:gd name="connsiteX1" fmla="*/ 103192 w 161850"/>
                <a:gd name="connsiteY1" fmla="*/ 206872 h 220417"/>
                <a:gd name="connsiteX2" fmla="*/ 122711 w 161850"/>
                <a:gd name="connsiteY2" fmla="*/ 205128 h 220417"/>
                <a:gd name="connsiteX3" fmla="*/ 141371 w 161850"/>
                <a:gd name="connsiteY3" fmla="*/ 207301 h 220417"/>
                <a:gd name="connsiteX4" fmla="*/ 140772 w 161850"/>
                <a:gd name="connsiteY4" fmla="*/ 212624 h 220417"/>
                <a:gd name="connsiteX5" fmla="*/ 154441 w 161850"/>
                <a:gd name="connsiteY5" fmla="*/ 208957 h 220417"/>
                <a:gd name="connsiteX6" fmla="*/ 151301 w 161850"/>
                <a:gd name="connsiteY6" fmla="*/ 217965 h 220417"/>
                <a:gd name="connsiteX7" fmla="*/ 115179 w 161850"/>
                <a:gd name="connsiteY7" fmla="*/ 220559 h 220417"/>
                <a:gd name="connsiteX8" fmla="*/ 115429 w 161850"/>
                <a:gd name="connsiteY8" fmla="*/ 215522 h 220417"/>
                <a:gd name="connsiteX9" fmla="*/ 84827 w 161850"/>
                <a:gd name="connsiteY9" fmla="*/ 209565 h 220417"/>
                <a:gd name="connsiteX10" fmla="*/ 89478 w 161850"/>
                <a:gd name="connsiteY10" fmla="*/ 196531 h 220417"/>
                <a:gd name="connsiteX11" fmla="*/ 162321 w 161850"/>
                <a:gd name="connsiteY11" fmla="*/ 9051 h 220417"/>
                <a:gd name="connsiteX12" fmla="*/ 154557 w 161850"/>
                <a:gd name="connsiteY12" fmla="*/ 29850 h 220417"/>
                <a:gd name="connsiteX13" fmla="*/ 148599 w 161850"/>
                <a:gd name="connsiteY13" fmla="*/ 33553 h 220417"/>
                <a:gd name="connsiteX14" fmla="*/ 133320 w 161850"/>
                <a:gd name="connsiteY14" fmla="*/ 32623 h 220417"/>
                <a:gd name="connsiteX15" fmla="*/ 120233 w 161850"/>
                <a:gd name="connsiteY15" fmla="*/ 29492 h 220417"/>
                <a:gd name="connsiteX16" fmla="*/ 89854 w 161850"/>
                <a:gd name="connsiteY16" fmla="*/ 38070 h 220417"/>
                <a:gd name="connsiteX17" fmla="*/ 107244 w 161850"/>
                <a:gd name="connsiteY17" fmla="*/ 56516 h 220417"/>
                <a:gd name="connsiteX18" fmla="*/ 94506 w 161850"/>
                <a:gd name="connsiteY18" fmla="*/ 61830 h 220417"/>
                <a:gd name="connsiteX19" fmla="*/ 80533 w 161850"/>
                <a:gd name="connsiteY19" fmla="*/ 61865 h 220417"/>
                <a:gd name="connsiteX20" fmla="*/ 67267 w 161850"/>
                <a:gd name="connsiteY20" fmla="*/ 45012 h 220417"/>
                <a:gd name="connsiteX21" fmla="*/ 62561 w 161850"/>
                <a:gd name="connsiteY21" fmla="*/ 52204 h 220417"/>
                <a:gd name="connsiteX22" fmla="*/ 68161 w 161850"/>
                <a:gd name="connsiteY22" fmla="*/ 71670 h 220417"/>
                <a:gd name="connsiteX23" fmla="*/ 80712 w 161850"/>
                <a:gd name="connsiteY23" fmla="*/ 86850 h 220417"/>
                <a:gd name="connsiteX24" fmla="*/ 71256 w 161850"/>
                <a:gd name="connsiteY24" fmla="*/ 93900 h 220417"/>
                <a:gd name="connsiteX25" fmla="*/ 85229 w 161850"/>
                <a:gd name="connsiteY25" fmla="*/ 108660 h 220417"/>
                <a:gd name="connsiteX26" fmla="*/ 97646 w 161850"/>
                <a:gd name="connsiteY26" fmla="*/ 117900 h 220417"/>
                <a:gd name="connsiteX27" fmla="*/ 98021 w 161850"/>
                <a:gd name="connsiteY27" fmla="*/ 135791 h 220417"/>
                <a:gd name="connsiteX28" fmla="*/ 85874 w 161850"/>
                <a:gd name="connsiteY28" fmla="*/ 125540 h 220417"/>
                <a:gd name="connsiteX29" fmla="*/ 74817 w 161850"/>
                <a:gd name="connsiteY29" fmla="*/ 127409 h 220417"/>
                <a:gd name="connsiteX30" fmla="*/ 82215 w 161850"/>
                <a:gd name="connsiteY30" fmla="*/ 143502 h 220417"/>
                <a:gd name="connsiteX31" fmla="*/ 74011 w 161850"/>
                <a:gd name="connsiteY31" fmla="*/ 145202 h 220417"/>
                <a:gd name="connsiteX32" fmla="*/ 65066 w 161850"/>
                <a:gd name="connsiteY32" fmla="*/ 138994 h 220417"/>
                <a:gd name="connsiteX33" fmla="*/ 75801 w 161850"/>
                <a:gd name="connsiteY33" fmla="*/ 174346 h 220417"/>
                <a:gd name="connsiteX34" fmla="*/ 70585 w 161850"/>
                <a:gd name="connsiteY34" fmla="*/ 174472 h 220417"/>
                <a:gd name="connsiteX35" fmla="*/ 66596 w 161850"/>
                <a:gd name="connsiteY35" fmla="*/ 163173 h 220417"/>
                <a:gd name="connsiteX36" fmla="*/ 61470 w 161850"/>
                <a:gd name="connsiteY36" fmla="*/ 162950 h 220417"/>
                <a:gd name="connsiteX37" fmla="*/ 59144 w 161850"/>
                <a:gd name="connsiteY37" fmla="*/ 174740 h 220417"/>
                <a:gd name="connsiteX38" fmla="*/ 55083 w 161850"/>
                <a:gd name="connsiteY38" fmla="*/ 172065 h 220417"/>
                <a:gd name="connsiteX39" fmla="*/ 55995 w 161850"/>
                <a:gd name="connsiteY39" fmla="*/ 165455 h 220417"/>
                <a:gd name="connsiteX40" fmla="*/ 50977 w 161850"/>
                <a:gd name="connsiteY40" fmla="*/ 156106 h 220417"/>
                <a:gd name="connsiteX41" fmla="*/ 45279 w 161850"/>
                <a:gd name="connsiteY41" fmla="*/ 156106 h 220417"/>
                <a:gd name="connsiteX42" fmla="*/ 46334 w 161850"/>
                <a:gd name="connsiteY42" fmla="*/ 163648 h 220417"/>
                <a:gd name="connsiteX43" fmla="*/ 44098 w 161850"/>
                <a:gd name="connsiteY43" fmla="*/ 166036 h 220417"/>
                <a:gd name="connsiteX44" fmla="*/ 38588 w 161850"/>
                <a:gd name="connsiteY44" fmla="*/ 161205 h 220417"/>
                <a:gd name="connsiteX45" fmla="*/ 35161 w 161850"/>
                <a:gd name="connsiteY45" fmla="*/ 152072 h 220417"/>
                <a:gd name="connsiteX46" fmla="*/ 39804 w 161850"/>
                <a:gd name="connsiteY46" fmla="*/ 146982 h 220417"/>
                <a:gd name="connsiteX47" fmla="*/ 36610 w 161850"/>
                <a:gd name="connsiteY47" fmla="*/ 140362 h 220417"/>
                <a:gd name="connsiteX48" fmla="*/ 32961 w 161850"/>
                <a:gd name="connsiteY48" fmla="*/ 136945 h 220417"/>
                <a:gd name="connsiteX49" fmla="*/ 29177 w 161850"/>
                <a:gd name="connsiteY49" fmla="*/ 136104 h 220417"/>
                <a:gd name="connsiteX50" fmla="*/ 24784 w 161850"/>
                <a:gd name="connsiteY50" fmla="*/ 127669 h 220417"/>
                <a:gd name="connsiteX51" fmla="*/ 30000 w 161850"/>
                <a:gd name="connsiteY51" fmla="*/ 123026 h 220417"/>
                <a:gd name="connsiteX52" fmla="*/ 33193 w 161850"/>
                <a:gd name="connsiteY52" fmla="*/ 118696 h 220417"/>
                <a:gd name="connsiteX53" fmla="*/ 38212 w 161850"/>
                <a:gd name="connsiteY53" fmla="*/ 119609 h 220417"/>
                <a:gd name="connsiteX54" fmla="*/ 40457 w 161850"/>
                <a:gd name="connsiteY54" fmla="*/ 115941 h 220417"/>
                <a:gd name="connsiteX55" fmla="*/ 45735 w 161850"/>
                <a:gd name="connsiteY55" fmla="*/ 114483 h 220417"/>
                <a:gd name="connsiteX56" fmla="*/ 51845 w 161850"/>
                <a:gd name="connsiteY56" fmla="*/ 118607 h 220417"/>
                <a:gd name="connsiteX57" fmla="*/ 56791 w 161850"/>
                <a:gd name="connsiteY57" fmla="*/ 120119 h 220417"/>
                <a:gd name="connsiteX58" fmla="*/ 60244 w 161850"/>
                <a:gd name="connsiteY58" fmla="*/ 114555 h 220417"/>
                <a:gd name="connsiteX59" fmla="*/ 51853 w 161850"/>
                <a:gd name="connsiteY59" fmla="*/ 113803 h 220417"/>
                <a:gd name="connsiteX60" fmla="*/ 46889 w 161850"/>
                <a:gd name="connsiteY60" fmla="*/ 112068 h 220417"/>
                <a:gd name="connsiteX61" fmla="*/ 35707 w 161850"/>
                <a:gd name="connsiteY61" fmla="*/ 114572 h 220417"/>
                <a:gd name="connsiteX62" fmla="*/ 24802 w 161850"/>
                <a:gd name="connsiteY62" fmla="*/ 115002 h 220417"/>
                <a:gd name="connsiteX63" fmla="*/ 15025 w 161850"/>
                <a:gd name="connsiteY63" fmla="*/ 100322 h 220417"/>
                <a:gd name="connsiteX64" fmla="*/ 13406 w 161850"/>
                <a:gd name="connsiteY64" fmla="*/ 98050 h 220417"/>
                <a:gd name="connsiteX65" fmla="*/ 14900 w 161850"/>
                <a:gd name="connsiteY65" fmla="*/ 92307 h 220417"/>
                <a:gd name="connsiteX66" fmla="*/ 2170 w 161850"/>
                <a:gd name="connsiteY66" fmla="*/ 81975 h 220417"/>
                <a:gd name="connsiteX67" fmla="*/ 471 w 161850"/>
                <a:gd name="connsiteY67" fmla="*/ 72761 h 220417"/>
                <a:gd name="connsiteX68" fmla="*/ 12135 w 161850"/>
                <a:gd name="connsiteY68" fmla="*/ 56972 h 220417"/>
                <a:gd name="connsiteX69" fmla="*/ 13638 w 161850"/>
                <a:gd name="connsiteY69" fmla="*/ 46327 h 220417"/>
                <a:gd name="connsiteX70" fmla="*/ 21788 w 161850"/>
                <a:gd name="connsiteY70" fmla="*/ 41559 h 220417"/>
                <a:gd name="connsiteX71" fmla="*/ 22289 w 161850"/>
                <a:gd name="connsiteY71" fmla="*/ 32900 h 220417"/>
                <a:gd name="connsiteX72" fmla="*/ 38695 w 161850"/>
                <a:gd name="connsiteY72" fmla="*/ 29975 h 220417"/>
                <a:gd name="connsiteX73" fmla="*/ 48258 w 161850"/>
                <a:gd name="connsiteY73" fmla="*/ 22729 h 220417"/>
                <a:gd name="connsiteX74" fmla="*/ 61855 w 161850"/>
                <a:gd name="connsiteY74" fmla="*/ 23373 h 220417"/>
                <a:gd name="connsiteX75" fmla="*/ 65979 w 161850"/>
                <a:gd name="connsiteY75" fmla="*/ 17585 h 220417"/>
                <a:gd name="connsiteX76" fmla="*/ 70756 w 161850"/>
                <a:gd name="connsiteY76" fmla="*/ 16476 h 220417"/>
                <a:gd name="connsiteX77" fmla="*/ 89308 w 161850"/>
                <a:gd name="connsiteY77" fmla="*/ 17433 h 220417"/>
                <a:gd name="connsiteX78" fmla="*/ 109391 w 161850"/>
                <a:gd name="connsiteY78" fmla="*/ 8273 h 220417"/>
                <a:gd name="connsiteX79" fmla="*/ 127067 w 161850"/>
                <a:gd name="connsiteY79" fmla="*/ 19911 h 220417"/>
                <a:gd name="connsiteX80" fmla="*/ 149860 w 161850"/>
                <a:gd name="connsiteY80" fmla="*/ 16771 h 220417"/>
                <a:gd name="connsiteX81" fmla="*/ 150138 w 161850"/>
                <a:gd name="connsiteY81" fmla="*/ 142 h 220417"/>
                <a:gd name="connsiteX82" fmla="*/ 162321 w 161850"/>
                <a:gd name="connsiteY82" fmla="*/ 9051 h 22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61850" h="220417">
                  <a:moveTo>
                    <a:pt x="89478" y="196531"/>
                  </a:moveTo>
                  <a:lnTo>
                    <a:pt x="103192" y="206872"/>
                  </a:lnTo>
                  <a:lnTo>
                    <a:pt x="122711" y="205128"/>
                  </a:lnTo>
                  <a:lnTo>
                    <a:pt x="141371" y="207301"/>
                  </a:lnTo>
                  <a:lnTo>
                    <a:pt x="140772" y="212624"/>
                  </a:lnTo>
                  <a:lnTo>
                    <a:pt x="154441" y="208957"/>
                  </a:lnTo>
                  <a:lnTo>
                    <a:pt x="151301" y="217965"/>
                  </a:lnTo>
                  <a:lnTo>
                    <a:pt x="115179" y="220559"/>
                  </a:lnTo>
                  <a:lnTo>
                    <a:pt x="115429" y="215522"/>
                  </a:lnTo>
                  <a:lnTo>
                    <a:pt x="84827" y="209565"/>
                  </a:lnTo>
                  <a:lnTo>
                    <a:pt x="89478" y="196531"/>
                  </a:lnTo>
                  <a:close/>
                  <a:moveTo>
                    <a:pt x="162321" y="9051"/>
                  </a:moveTo>
                  <a:lnTo>
                    <a:pt x="154557" y="29850"/>
                  </a:lnTo>
                  <a:lnTo>
                    <a:pt x="148599" y="33553"/>
                  </a:lnTo>
                  <a:lnTo>
                    <a:pt x="133320" y="32623"/>
                  </a:lnTo>
                  <a:lnTo>
                    <a:pt x="120233" y="29492"/>
                  </a:lnTo>
                  <a:lnTo>
                    <a:pt x="89854" y="38070"/>
                  </a:lnTo>
                  <a:lnTo>
                    <a:pt x="107244" y="56516"/>
                  </a:lnTo>
                  <a:lnTo>
                    <a:pt x="94506" y="61830"/>
                  </a:lnTo>
                  <a:lnTo>
                    <a:pt x="80533" y="61865"/>
                  </a:lnTo>
                  <a:lnTo>
                    <a:pt x="67267" y="45012"/>
                  </a:lnTo>
                  <a:lnTo>
                    <a:pt x="62561" y="52204"/>
                  </a:lnTo>
                  <a:lnTo>
                    <a:pt x="68161" y="71670"/>
                  </a:lnTo>
                  <a:lnTo>
                    <a:pt x="80712" y="86850"/>
                  </a:lnTo>
                  <a:lnTo>
                    <a:pt x="71256" y="93900"/>
                  </a:lnTo>
                  <a:lnTo>
                    <a:pt x="85229" y="108660"/>
                  </a:lnTo>
                  <a:lnTo>
                    <a:pt x="97646" y="117900"/>
                  </a:lnTo>
                  <a:lnTo>
                    <a:pt x="98021" y="135791"/>
                  </a:lnTo>
                  <a:lnTo>
                    <a:pt x="85874" y="125540"/>
                  </a:lnTo>
                  <a:lnTo>
                    <a:pt x="74817" y="127409"/>
                  </a:lnTo>
                  <a:lnTo>
                    <a:pt x="82215" y="143502"/>
                  </a:lnTo>
                  <a:lnTo>
                    <a:pt x="74011" y="145202"/>
                  </a:lnTo>
                  <a:lnTo>
                    <a:pt x="65066" y="138994"/>
                  </a:lnTo>
                  <a:lnTo>
                    <a:pt x="75801" y="174346"/>
                  </a:lnTo>
                  <a:lnTo>
                    <a:pt x="70585" y="174472"/>
                  </a:lnTo>
                  <a:lnTo>
                    <a:pt x="66596" y="163173"/>
                  </a:lnTo>
                  <a:lnTo>
                    <a:pt x="61470" y="162950"/>
                  </a:lnTo>
                  <a:lnTo>
                    <a:pt x="59144" y="174740"/>
                  </a:lnTo>
                  <a:lnTo>
                    <a:pt x="55083" y="172065"/>
                  </a:lnTo>
                  <a:lnTo>
                    <a:pt x="55995" y="165455"/>
                  </a:lnTo>
                  <a:lnTo>
                    <a:pt x="50977" y="156106"/>
                  </a:lnTo>
                  <a:lnTo>
                    <a:pt x="45279" y="156106"/>
                  </a:lnTo>
                  <a:lnTo>
                    <a:pt x="46334" y="163648"/>
                  </a:lnTo>
                  <a:lnTo>
                    <a:pt x="44098" y="166036"/>
                  </a:lnTo>
                  <a:lnTo>
                    <a:pt x="38588" y="161205"/>
                  </a:lnTo>
                  <a:lnTo>
                    <a:pt x="35161" y="152072"/>
                  </a:lnTo>
                  <a:lnTo>
                    <a:pt x="39804" y="146982"/>
                  </a:lnTo>
                  <a:lnTo>
                    <a:pt x="36610" y="140362"/>
                  </a:lnTo>
                  <a:lnTo>
                    <a:pt x="32961" y="136945"/>
                  </a:lnTo>
                  <a:lnTo>
                    <a:pt x="29177" y="136104"/>
                  </a:lnTo>
                  <a:lnTo>
                    <a:pt x="24784" y="127669"/>
                  </a:lnTo>
                  <a:lnTo>
                    <a:pt x="30000" y="123026"/>
                  </a:lnTo>
                  <a:lnTo>
                    <a:pt x="33193" y="118696"/>
                  </a:lnTo>
                  <a:lnTo>
                    <a:pt x="38212" y="119609"/>
                  </a:lnTo>
                  <a:lnTo>
                    <a:pt x="40457" y="115941"/>
                  </a:lnTo>
                  <a:lnTo>
                    <a:pt x="45735" y="114483"/>
                  </a:lnTo>
                  <a:lnTo>
                    <a:pt x="51845" y="118607"/>
                  </a:lnTo>
                  <a:lnTo>
                    <a:pt x="56791" y="120119"/>
                  </a:lnTo>
                  <a:lnTo>
                    <a:pt x="60244" y="114555"/>
                  </a:lnTo>
                  <a:lnTo>
                    <a:pt x="51853" y="113803"/>
                  </a:lnTo>
                  <a:lnTo>
                    <a:pt x="46889" y="112068"/>
                  </a:lnTo>
                  <a:lnTo>
                    <a:pt x="35707" y="114572"/>
                  </a:lnTo>
                  <a:lnTo>
                    <a:pt x="24802" y="115002"/>
                  </a:lnTo>
                  <a:lnTo>
                    <a:pt x="15025" y="100322"/>
                  </a:lnTo>
                  <a:lnTo>
                    <a:pt x="13406" y="98050"/>
                  </a:lnTo>
                  <a:lnTo>
                    <a:pt x="14900" y="92307"/>
                  </a:lnTo>
                  <a:lnTo>
                    <a:pt x="2170" y="81975"/>
                  </a:lnTo>
                  <a:lnTo>
                    <a:pt x="471" y="72761"/>
                  </a:lnTo>
                  <a:lnTo>
                    <a:pt x="12135" y="56972"/>
                  </a:lnTo>
                  <a:lnTo>
                    <a:pt x="13638" y="46327"/>
                  </a:lnTo>
                  <a:lnTo>
                    <a:pt x="21788" y="41559"/>
                  </a:lnTo>
                  <a:lnTo>
                    <a:pt x="22289" y="32900"/>
                  </a:lnTo>
                  <a:lnTo>
                    <a:pt x="38695" y="29975"/>
                  </a:lnTo>
                  <a:lnTo>
                    <a:pt x="48258" y="22729"/>
                  </a:lnTo>
                  <a:lnTo>
                    <a:pt x="61855" y="23373"/>
                  </a:lnTo>
                  <a:lnTo>
                    <a:pt x="65979" y="17585"/>
                  </a:lnTo>
                  <a:lnTo>
                    <a:pt x="70756" y="16476"/>
                  </a:lnTo>
                  <a:lnTo>
                    <a:pt x="89308" y="17433"/>
                  </a:lnTo>
                  <a:lnTo>
                    <a:pt x="109391" y="8273"/>
                  </a:lnTo>
                  <a:lnTo>
                    <a:pt x="127067" y="19911"/>
                  </a:lnTo>
                  <a:lnTo>
                    <a:pt x="149860" y="16771"/>
                  </a:lnTo>
                  <a:lnTo>
                    <a:pt x="150138" y="142"/>
                  </a:lnTo>
                  <a:lnTo>
                    <a:pt x="162321" y="905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3524408" y="4209727"/>
              <a:ext cx="100431" cy="105807"/>
            </a:xfrm>
            <a:custGeom>
              <a:avLst/>
              <a:gdLst>
                <a:gd name="connsiteX0" fmla="*/ 53853 w 100431"/>
                <a:gd name="connsiteY0" fmla="*/ 105978 h 105807"/>
                <a:gd name="connsiteX1" fmla="*/ 40989 w 100431"/>
                <a:gd name="connsiteY1" fmla="*/ 101506 h 105807"/>
                <a:gd name="connsiteX2" fmla="*/ 25343 w 100431"/>
                <a:gd name="connsiteY2" fmla="*/ 101040 h 105807"/>
                <a:gd name="connsiteX3" fmla="*/ 13866 w 100431"/>
                <a:gd name="connsiteY3" fmla="*/ 95941 h 105807"/>
                <a:gd name="connsiteX4" fmla="*/ 376 w 100431"/>
                <a:gd name="connsiteY4" fmla="*/ 85332 h 105807"/>
                <a:gd name="connsiteX5" fmla="*/ 994 w 100431"/>
                <a:gd name="connsiteY5" fmla="*/ 77827 h 105807"/>
                <a:gd name="connsiteX6" fmla="*/ 3901 w 100431"/>
                <a:gd name="connsiteY6" fmla="*/ 71780 h 105807"/>
                <a:gd name="connsiteX7" fmla="*/ 341 w 100431"/>
                <a:gd name="connsiteY7" fmla="*/ 66949 h 105807"/>
                <a:gd name="connsiteX8" fmla="*/ 12408 w 100431"/>
                <a:gd name="connsiteY8" fmla="*/ 45847 h 105807"/>
                <a:gd name="connsiteX9" fmla="*/ 44603 w 100431"/>
                <a:gd name="connsiteY9" fmla="*/ 45766 h 105807"/>
                <a:gd name="connsiteX10" fmla="*/ 45247 w 100431"/>
                <a:gd name="connsiteY10" fmla="*/ 36928 h 105807"/>
                <a:gd name="connsiteX11" fmla="*/ 41186 w 100431"/>
                <a:gd name="connsiteY11" fmla="*/ 35354 h 105807"/>
                <a:gd name="connsiteX12" fmla="*/ 38395 w 100431"/>
                <a:gd name="connsiteY12" fmla="*/ 29718 h 105807"/>
                <a:gd name="connsiteX13" fmla="*/ 29127 w 100431"/>
                <a:gd name="connsiteY13" fmla="*/ 23707 h 105807"/>
                <a:gd name="connsiteX14" fmla="*/ 19788 w 100431"/>
                <a:gd name="connsiteY14" fmla="*/ 14994 h 105807"/>
                <a:gd name="connsiteX15" fmla="*/ 31113 w 100431"/>
                <a:gd name="connsiteY15" fmla="*/ 14931 h 105807"/>
                <a:gd name="connsiteX16" fmla="*/ 31131 w 100431"/>
                <a:gd name="connsiteY16" fmla="*/ 216 h 105807"/>
                <a:gd name="connsiteX17" fmla="*/ 54550 w 100431"/>
                <a:gd name="connsiteY17" fmla="*/ 171 h 105807"/>
                <a:gd name="connsiteX18" fmla="*/ 77746 w 100431"/>
                <a:gd name="connsiteY18" fmla="*/ 457 h 105807"/>
                <a:gd name="connsiteX19" fmla="*/ 77549 w 100431"/>
                <a:gd name="connsiteY19" fmla="*/ 21166 h 105807"/>
                <a:gd name="connsiteX20" fmla="*/ 75590 w 100431"/>
                <a:gd name="connsiteY20" fmla="*/ 50507 h 105807"/>
                <a:gd name="connsiteX21" fmla="*/ 83078 w 100431"/>
                <a:gd name="connsiteY21" fmla="*/ 50498 h 105807"/>
                <a:gd name="connsiteX22" fmla="*/ 91254 w 100431"/>
                <a:gd name="connsiteY22" fmla="*/ 55186 h 105807"/>
                <a:gd name="connsiteX23" fmla="*/ 93419 w 100431"/>
                <a:gd name="connsiteY23" fmla="*/ 51330 h 105807"/>
                <a:gd name="connsiteX24" fmla="*/ 100772 w 100431"/>
                <a:gd name="connsiteY24" fmla="*/ 54631 h 105807"/>
                <a:gd name="connsiteX25" fmla="*/ 89339 w 100431"/>
                <a:gd name="connsiteY25" fmla="*/ 64498 h 105807"/>
                <a:gd name="connsiteX26" fmla="*/ 77451 w 100431"/>
                <a:gd name="connsiteY26" fmla="*/ 71726 h 105807"/>
                <a:gd name="connsiteX27" fmla="*/ 75689 w 100431"/>
                <a:gd name="connsiteY27" fmla="*/ 76682 h 105807"/>
                <a:gd name="connsiteX28" fmla="*/ 77683 w 100431"/>
                <a:gd name="connsiteY28" fmla="*/ 81745 h 105807"/>
                <a:gd name="connsiteX29" fmla="*/ 72468 w 100431"/>
                <a:gd name="connsiteY29" fmla="*/ 88284 h 105807"/>
                <a:gd name="connsiteX30" fmla="*/ 66600 w 100431"/>
                <a:gd name="connsiteY30" fmla="*/ 89868 h 105807"/>
                <a:gd name="connsiteX31" fmla="*/ 67933 w 100431"/>
                <a:gd name="connsiteY31" fmla="*/ 92900 h 105807"/>
                <a:gd name="connsiteX32" fmla="*/ 63228 w 100431"/>
                <a:gd name="connsiteY32" fmla="*/ 95736 h 105807"/>
                <a:gd name="connsiteX33" fmla="*/ 54631 w 100431"/>
                <a:gd name="connsiteY33" fmla="*/ 102221 h 10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0431" h="105807">
                  <a:moveTo>
                    <a:pt x="53853" y="105978"/>
                  </a:moveTo>
                  <a:lnTo>
                    <a:pt x="40989" y="101506"/>
                  </a:lnTo>
                  <a:lnTo>
                    <a:pt x="25343" y="101040"/>
                  </a:lnTo>
                  <a:lnTo>
                    <a:pt x="13866" y="95941"/>
                  </a:lnTo>
                  <a:lnTo>
                    <a:pt x="376" y="85332"/>
                  </a:lnTo>
                  <a:lnTo>
                    <a:pt x="994" y="77827"/>
                  </a:lnTo>
                  <a:lnTo>
                    <a:pt x="3901" y="71780"/>
                  </a:lnTo>
                  <a:lnTo>
                    <a:pt x="341" y="66949"/>
                  </a:lnTo>
                  <a:lnTo>
                    <a:pt x="12408" y="45847"/>
                  </a:lnTo>
                  <a:lnTo>
                    <a:pt x="44603" y="45766"/>
                  </a:lnTo>
                  <a:lnTo>
                    <a:pt x="45247" y="36928"/>
                  </a:lnTo>
                  <a:lnTo>
                    <a:pt x="41186" y="35354"/>
                  </a:lnTo>
                  <a:lnTo>
                    <a:pt x="38395" y="29718"/>
                  </a:lnTo>
                  <a:lnTo>
                    <a:pt x="29127" y="23707"/>
                  </a:lnTo>
                  <a:lnTo>
                    <a:pt x="19788" y="14994"/>
                  </a:lnTo>
                  <a:lnTo>
                    <a:pt x="31113" y="14931"/>
                  </a:lnTo>
                  <a:lnTo>
                    <a:pt x="31131" y="216"/>
                  </a:lnTo>
                  <a:lnTo>
                    <a:pt x="54550" y="171"/>
                  </a:lnTo>
                  <a:lnTo>
                    <a:pt x="77746" y="457"/>
                  </a:lnTo>
                  <a:lnTo>
                    <a:pt x="77549" y="21166"/>
                  </a:lnTo>
                  <a:lnTo>
                    <a:pt x="75590" y="50507"/>
                  </a:lnTo>
                  <a:lnTo>
                    <a:pt x="83078" y="50498"/>
                  </a:lnTo>
                  <a:lnTo>
                    <a:pt x="91254" y="55186"/>
                  </a:lnTo>
                  <a:lnTo>
                    <a:pt x="93419" y="51330"/>
                  </a:lnTo>
                  <a:lnTo>
                    <a:pt x="100772" y="54631"/>
                  </a:lnTo>
                  <a:lnTo>
                    <a:pt x="89339" y="64498"/>
                  </a:lnTo>
                  <a:lnTo>
                    <a:pt x="77451" y="71726"/>
                  </a:lnTo>
                  <a:lnTo>
                    <a:pt x="75689" y="76682"/>
                  </a:lnTo>
                  <a:lnTo>
                    <a:pt x="77683" y="81745"/>
                  </a:lnTo>
                  <a:lnTo>
                    <a:pt x="72468" y="88284"/>
                  </a:lnTo>
                  <a:lnTo>
                    <a:pt x="66600" y="89868"/>
                  </a:lnTo>
                  <a:lnTo>
                    <a:pt x="67933" y="92900"/>
                  </a:lnTo>
                  <a:lnTo>
                    <a:pt x="63228" y="95736"/>
                  </a:lnTo>
                  <a:lnTo>
                    <a:pt x="54631" y="10222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/>
            <p:cNvSpPr/>
            <p:nvPr/>
          </p:nvSpPr>
          <p:spPr>
            <a:xfrm>
              <a:off x="5419387" y="4343882"/>
              <a:ext cx="74667" cy="40424"/>
            </a:xfrm>
            <a:custGeom>
              <a:avLst/>
              <a:gdLst>
                <a:gd name="connsiteX0" fmla="*/ 39232 w 74667"/>
                <a:gd name="connsiteY0" fmla="*/ 40600 h 40424"/>
                <a:gd name="connsiteX1" fmla="*/ 25841 w 74667"/>
                <a:gd name="connsiteY1" fmla="*/ 29982 h 40424"/>
                <a:gd name="connsiteX2" fmla="*/ 15276 w 74667"/>
                <a:gd name="connsiteY2" fmla="*/ 28291 h 40424"/>
                <a:gd name="connsiteX3" fmla="*/ 9524 w 74667"/>
                <a:gd name="connsiteY3" fmla="*/ 21126 h 40424"/>
                <a:gd name="connsiteX4" fmla="*/ 9667 w 74667"/>
                <a:gd name="connsiteY4" fmla="*/ 17253 h 40424"/>
                <a:gd name="connsiteX5" fmla="*/ 2019 w 74667"/>
                <a:gd name="connsiteY5" fmla="*/ 11840 h 40424"/>
                <a:gd name="connsiteX6" fmla="*/ 427 w 74667"/>
                <a:gd name="connsiteY6" fmla="*/ 6384 h 40424"/>
                <a:gd name="connsiteX7" fmla="*/ 13711 w 74667"/>
                <a:gd name="connsiteY7" fmla="*/ 2224 h 40424"/>
                <a:gd name="connsiteX8" fmla="*/ 22021 w 74667"/>
                <a:gd name="connsiteY8" fmla="*/ 3047 h 40424"/>
                <a:gd name="connsiteX9" fmla="*/ 28739 w 74667"/>
                <a:gd name="connsiteY9" fmla="*/ 176 h 40424"/>
                <a:gd name="connsiteX10" fmla="*/ 75095 w 74667"/>
                <a:gd name="connsiteY10" fmla="*/ 1240 h 40424"/>
                <a:gd name="connsiteX11" fmla="*/ 74638 w 74667"/>
                <a:gd name="connsiteY11" fmla="*/ 9899 h 40424"/>
                <a:gd name="connsiteX12" fmla="*/ 71883 w 74667"/>
                <a:gd name="connsiteY12" fmla="*/ 12565 h 40424"/>
                <a:gd name="connsiteX13" fmla="*/ 74021 w 74667"/>
                <a:gd name="connsiteY13" fmla="*/ 21001 h 40424"/>
                <a:gd name="connsiteX14" fmla="*/ 70067 w 74667"/>
                <a:gd name="connsiteY14" fmla="*/ 24373 h 40424"/>
                <a:gd name="connsiteX15" fmla="*/ 64539 w 74667"/>
                <a:gd name="connsiteY15" fmla="*/ 24418 h 40424"/>
                <a:gd name="connsiteX16" fmla="*/ 57991 w 74667"/>
                <a:gd name="connsiteY16" fmla="*/ 28685 h 40424"/>
                <a:gd name="connsiteX17" fmla="*/ 50387 w 74667"/>
                <a:gd name="connsiteY17" fmla="*/ 28220 h 4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4667" h="40424">
                  <a:moveTo>
                    <a:pt x="39232" y="40600"/>
                  </a:moveTo>
                  <a:lnTo>
                    <a:pt x="25841" y="29982"/>
                  </a:lnTo>
                  <a:lnTo>
                    <a:pt x="15276" y="28291"/>
                  </a:lnTo>
                  <a:lnTo>
                    <a:pt x="9524" y="21126"/>
                  </a:lnTo>
                  <a:lnTo>
                    <a:pt x="9667" y="17253"/>
                  </a:lnTo>
                  <a:lnTo>
                    <a:pt x="2019" y="11840"/>
                  </a:lnTo>
                  <a:lnTo>
                    <a:pt x="427" y="6384"/>
                  </a:lnTo>
                  <a:lnTo>
                    <a:pt x="13711" y="2224"/>
                  </a:lnTo>
                  <a:lnTo>
                    <a:pt x="22021" y="3047"/>
                  </a:lnTo>
                  <a:lnTo>
                    <a:pt x="28739" y="176"/>
                  </a:lnTo>
                  <a:lnTo>
                    <a:pt x="75095" y="1240"/>
                  </a:lnTo>
                  <a:lnTo>
                    <a:pt x="74638" y="9899"/>
                  </a:lnTo>
                  <a:lnTo>
                    <a:pt x="71883" y="12565"/>
                  </a:lnTo>
                  <a:lnTo>
                    <a:pt x="74021" y="21001"/>
                  </a:lnTo>
                  <a:lnTo>
                    <a:pt x="70067" y="24373"/>
                  </a:lnTo>
                  <a:lnTo>
                    <a:pt x="64539" y="24418"/>
                  </a:lnTo>
                  <a:lnTo>
                    <a:pt x="57991" y="28685"/>
                  </a:lnTo>
                  <a:lnTo>
                    <a:pt x="50387" y="2822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/>
            <p:cNvSpPr/>
            <p:nvPr/>
          </p:nvSpPr>
          <p:spPr>
            <a:xfrm>
              <a:off x="4297397" y="4451899"/>
              <a:ext cx="122177" cy="177612"/>
            </a:xfrm>
            <a:custGeom>
              <a:avLst/>
              <a:gdLst>
                <a:gd name="connsiteX0" fmla="*/ 41821 w 122177"/>
                <a:gd name="connsiteY0" fmla="*/ 184 h 177612"/>
                <a:gd name="connsiteX1" fmla="*/ 58290 w 122177"/>
                <a:gd name="connsiteY1" fmla="*/ 9442 h 177612"/>
                <a:gd name="connsiteX2" fmla="*/ 73801 w 122177"/>
                <a:gd name="connsiteY2" fmla="*/ 25822 h 177612"/>
                <a:gd name="connsiteX3" fmla="*/ 74508 w 122177"/>
                <a:gd name="connsiteY3" fmla="*/ 38757 h 177612"/>
                <a:gd name="connsiteX4" fmla="*/ 83963 w 122177"/>
                <a:gd name="connsiteY4" fmla="*/ 39347 h 177612"/>
                <a:gd name="connsiteX5" fmla="*/ 97399 w 122177"/>
                <a:gd name="connsiteY5" fmla="*/ 51585 h 177612"/>
                <a:gd name="connsiteX6" fmla="*/ 107302 w 122177"/>
                <a:gd name="connsiteY6" fmla="*/ 60306 h 177612"/>
                <a:gd name="connsiteX7" fmla="*/ 103294 w 122177"/>
                <a:gd name="connsiteY7" fmla="*/ 82822 h 177612"/>
                <a:gd name="connsiteX8" fmla="*/ 88069 w 122177"/>
                <a:gd name="connsiteY8" fmla="*/ 89353 h 177612"/>
                <a:gd name="connsiteX9" fmla="*/ 89420 w 122177"/>
                <a:gd name="connsiteY9" fmla="*/ 95248 h 177612"/>
                <a:gd name="connsiteX10" fmla="*/ 84795 w 122177"/>
                <a:gd name="connsiteY10" fmla="*/ 108138 h 177612"/>
                <a:gd name="connsiteX11" fmla="*/ 95915 w 122177"/>
                <a:gd name="connsiteY11" fmla="*/ 126270 h 177612"/>
                <a:gd name="connsiteX12" fmla="*/ 103947 w 122177"/>
                <a:gd name="connsiteY12" fmla="*/ 126297 h 177612"/>
                <a:gd name="connsiteX13" fmla="*/ 107240 w 122177"/>
                <a:gd name="connsiteY13" fmla="*/ 140378 h 177612"/>
                <a:gd name="connsiteX14" fmla="*/ 122554 w 122177"/>
                <a:gd name="connsiteY14" fmla="*/ 162061 h 177612"/>
                <a:gd name="connsiteX15" fmla="*/ 116444 w 122177"/>
                <a:gd name="connsiteY15" fmla="*/ 162956 h 177612"/>
                <a:gd name="connsiteX16" fmla="*/ 102579 w 122177"/>
                <a:gd name="connsiteY16" fmla="*/ 160836 h 177612"/>
                <a:gd name="connsiteX17" fmla="*/ 94421 w 122177"/>
                <a:gd name="connsiteY17" fmla="*/ 167465 h 177612"/>
                <a:gd name="connsiteX18" fmla="*/ 83078 w 122177"/>
                <a:gd name="connsiteY18" fmla="*/ 171839 h 177612"/>
                <a:gd name="connsiteX19" fmla="*/ 75143 w 122177"/>
                <a:gd name="connsiteY19" fmla="*/ 172921 h 177612"/>
                <a:gd name="connsiteX20" fmla="*/ 72370 w 122177"/>
                <a:gd name="connsiteY20" fmla="*/ 177797 h 177612"/>
                <a:gd name="connsiteX21" fmla="*/ 60061 w 122177"/>
                <a:gd name="connsiteY21" fmla="*/ 176562 h 177612"/>
                <a:gd name="connsiteX22" fmla="*/ 44630 w 122177"/>
                <a:gd name="connsiteY22" fmla="*/ 164870 h 177612"/>
                <a:gd name="connsiteX23" fmla="*/ 42814 w 122177"/>
                <a:gd name="connsiteY23" fmla="*/ 153331 h 177612"/>
                <a:gd name="connsiteX24" fmla="*/ 36391 w 122177"/>
                <a:gd name="connsiteY24" fmla="*/ 140718 h 177612"/>
                <a:gd name="connsiteX25" fmla="*/ 40390 w 122177"/>
                <a:gd name="connsiteY25" fmla="*/ 119481 h 177612"/>
                <a:gd name="connsiteX26" fmla="*/ 47340 w 122177"/>
                <a:gd name="connsiteY26" fmla="*/ 110688 h 177612"/>
                <a:gd name="connsiteX27" fmla="*/ 41589 w 122177"/>
                <a:gd name="connsiteY27" fmla="*/ 99076 h 177612"/>
                <a:gd name="connsiteX28" fmla="*/ 32965 w 122177"/>
                <a:gd name="connsiteY28" fmla="*/ 95292 h 177612"/>
                <a:gd name="connsiteX29" fmla="*/ 36230 w 122177"/>
                <a:gd name="connsiteY29" fmla="*/ 84307 h 177612"/>
                <a:gd name="connsiteX30" fmla="*/ 30398 w 122177"/>
                <a:gd name="connsiteY30" fmla="*/ 78546 h 177612"/>
                <a:gd name="connsiteX31" fmla="*/ 17355 w 122177"/>
                <a:gd name="connsiteY31" fmla="*/ 79655 h 177612"/>
                <a:gd name="connsiteX32" fmla="*/ 376 w 122177"/>
                <a:gd name="connsiteY32" fmla="*/ 60655 h 177612"/>
                <a:gd name="connsiteX33" fmla="*/ 7175 w 122177"/>
                <a:gd name="connsiteY33" fmla="*/ 53758 h 177612"/>
                <a:gd name="connsiteX34" fmla="*/ 6674 w 122177"/>
                <a:gd name="connsiteY34" fmla="*/ 42183 h 177612"/>
                <a:gd name="connsiteX35" fmla="*/ 22114 w 122177"/>
                <a:gd name="connsiteY35" fmla="*/ 38158 h 177612"/>
                <a:gd name="connsiteX36" fmla="*/ 28340 w 122177"/>
                <a:gd name="connsiteY36" fmla="*/ 33452 h 177612"/>
                <a:gd name="connsiteX37" fmla="*/ 19753 w 122177"/>
                <a:gd name="connsiteY37" fmla="*/ 24131 h 177612"/>
                <a:gd name="connsiteX38" fmla="*/ 21944 w 122177"/>
                <a:gd name="connsiteY38" fmla="*/ 14962 h 17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2177" h="177612">
                  <a:moveTo>
                    <a:pt x="41821" y="184"/>
                  </a:moveTo>
                  <a:lnTo>
                    <a:pt x="58290" y="9442"/>
                  </a:lnTo>
                  <a:lnTo>
                    <a:pt x="73801" y="25822"/>
                  </a:lnTo>
                  <a:lnTo>
                    <a:pt x="74508" y="38757"/>
                  </a:lnTo>
                  <a:lnTo>
                    <a:pt x="83963" y="39347"/>
                  </a:lnTo>
                  <a:lnTo>
                    <a:pt x="97399" y="51585"/>
                  </a:lnTo>
                  <a:lnTo>
                    <a:pt x="107302" y="60306"/>
                  </a:lnTo>
                  <a:lnTo>
                    <a:pt x="103294" y="82822"/>
                  </a:lnTo>
                  <a:lnTo>
                    <a:pt x="88069" y="89353"/>
                  </a:lnTo>
                  <a:lnTo>
                    <a:pt x="89420" y="95248"/>
                  </a:lnTo>
                  <a:lnTo>
                    <a:pt x="84795" y="108138"/>
                  </a:lnTo>
                  <a:lnTo>
                    <a:pt x="95915" y="126270"/>
                  </a:lnTo>
                  <a:lnTo>
                    <a:pt x="103947" y="126297"/>
                  </a:lnTo>
                  <a:lnTo>
                    <a:pt x="107240" y="140378"/>
                  </a:lnTo>
                  <a:lnTo>
                    <a:pt x="122554" y="162061"/>
                  </a:lnTo>
                  <a:lnTo>
                    <a:pt x="116444" y="162956"/>
                  </a:lnTo>
                  <a:lnTo>
                    <a:pt x="102579" y="160836"/>
                  </a:lnTo>
                  <a:lnTo>
                    <a:pt x="94421" y="167465"/>
                  </a:lnTo>
                  <a:lnTo>
                    <a:pt x="83078" y="171839"/>
                  </a:lnTo>
                  <a:lnTo>
                    <a:pt x="75143" y="172921"/>
                  </a:lnTo>
                  <a:lnTo>
                    <a:pt x="72370" y="177797"/>
                  </a:lnTo>
                  <a:lnTo>
                    <a:pt x="60061" y="176562"/>
                  </a:lnTo>
                  <a:lnTo>
                    <a:pt x="44630" y="164870"/>
                  </a:lnTo>
                  <a:lnTo>
                    <a:pt x="42814" y="153331"/>
                  </a:lnTo>
                  <a:lnTo>
                    <a:pt x="36391" y="140718"/>
                  </a:lnTo>
                  <a:lnTo>
                    <a:pt x="40390" y="119481"/>
                  </a:lnTo>
                  <a:lnTo>
                    <a:pt x="47340" y="110688"/>
                  </a:lnTo>
                  <a:lnTo>
                    <a:pt x="41589" y="99076"/>
                  </a:lnTo>
                  <a:lnTo>
                    <a:pt x="32965" y="95292"/>
                  </a:lnTo>
                  <a:lnTo>
                    <a:pt x="36230" y="84307"/>
                  </a:lnTo>
                  <a:lnTo>
                    <a:pt x="30398" y="78546"/>
                  </a:lnTo>
                  <a:lnTo>
                    <a:pt x="17355" y="79655"/>
                  </a:lnTo>
                  <a:lnTo>
                    <a:pt x="376" y="60655"/>
                  </a:lnTo>
                  <a:lnTo>
                    <a:pt x="7175" y="53758"/>
                  </a:lnTo>
                  <a:lnTo>
                    <a:pt x="6674" y="42183"/>
                  </a:lnTo>
                  <a:lnTo>
                    <a:pt x="22114" y="38158"/>
                  </a:lnTo>
                  <a:lnTo>
                    <a:pt x="28340" y="33452"/>
                  </a:lnTo>
                  <a:lnTo>
                    <a:pt x="19753" y="24131"/>
                  </a:lnTo>
                  <a:lnTo>
                    <a:pt x="21944" y="1496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/>
            <p:cNvSpPr/>
            <p:nvPr/>
          </p:nvSpPr>
          <p:spPr>
            <a:xfrm>
              <a:off x="3596536" y="4256986"/>
              <a:ext cx="155669" cy="77780"/>
            </a:xfrm>
            <a:custGeom>
              <a:avLst/>
              <a:gdLst>
                <a:gd name="connsiteX0" fmla="*/ 51433 w 155669"/>
                <a:gd name="connsiteY0" fmla="*/ 77953 h 77780"/>
                <a:gd name="connsiteX1" fmla="*/ 47103 w 155669"/>
                <a:gd name="connsiteY1" fmla="*/ 69947 h 77780"/>
                <a:gd name="connsiteX2" fmla="*/ 39482 w 155669"/>
                <a:gd name="connsiteY2" fmla="*/ 67720 h 77780"/>
                <a:gd name="connsiteX3" fmla="*/ 41226 w 155669"/>
                <a:gd name="connsiteY3" fmla="*/ 57450 h 77780"/>
                <a:gd name="connsiteX4" fmla="*/ 37818 w 155669"/>
                <a:gd name="connsiteY4" fmla="*/ 54668 h 77780"/>
                <a:gd name="connsiteX5" fmla="*/ 32656 w 155669"/>
                <a:gd name="connsiteY5" fmla="*/ 52843 h 77780"/>
                <a:gd name="connsiteX6" fmla="*/ 21653 w 155669"/>
                <a:gd name="connsiteY6" fmla="*/ 55894 h 77780"/>
                <a:gd name="connsiteX7" fmla="*/ 20723 w 155669"/>
                <a:gd name="connsiteY7" fmla="*/ 52441 h 77780"/>
                <a:gd name="connsiteX8" fmla="*/ 13146 w 155669"/>
                <a:gd name="connsiteY8" fmla="*/ 48317 h 77780"/>
                <a:gd name="connsiteX9" fmla="*/ 7743 w 155669"/>
                <a:gd name="connsiteY9" fmla="*/ 43191 h 77780"/>
                <a:gd name="connsiteX10" fmla="*/ 345 w 155669"/>
                <a:gd name="connsiteY10" fmla="*/ 41026 h 77780"/>
                <a:gd name="connsiteX11" fmla="*/ 5561 w 155669"/>
                <a:gd name="connsiteY11" fmla="*/ 34487 h 77780"/>
                <a:gd name="connsiteX12" fmla="*/ 3566 w 155669"/>
                <a:gd name="connsiteY12" fmla="*/ 29424 h 77780"/>
                <a:gd name="connsiteX13" fmla="*/ 5328 w 155669"/>
                <a:gd name="connsiteY13" fmla="*/ 24468 h 77780"/>
                <a:gd name="connsiteX14" fmla="*/ 17216 w 155669"/>
                <a:gd name="connsiteY14" fmla="*/ 17240 h 77780"/>
                <a:gd name="connsiteX15" fmla="*/ 28649 w 155669"/>
                <a:gd name="connsiteY15" fmla="*/ 7374 h 77780"/>
                <a:gd name="connsiteX16" fmla="*/ 31252 w 155669"/>
                <a:gd name="connsiteY16" fmla="*/ 8384 h 77780"/>
                <a:gd name="connsiteX17" fmla="*/ 36753 w 155669"/>
                <a:gd name="connsiteY17" fmla="*/ 3831 h 77780"/>
                <a:gd name="connsiteX18" fmla="*/ 43928 w 155669"/>
                <a:gd name="connsiteY18" fmla="*/ 3464 h 77780"/>
                <a:gd name="connsiteX19" fmla="*/ 46263 w 155669"/>
                <a:gd name="connsiteY19" fmla="*/ 5575 h 77780"/>
                <a:gd name="connsiteX20" fmla="*/ 50154 w 155669"/>
                <a:gd name="connsiteY20" fmla="*/ 4287 h 77780"/>
                <a:gd name="connsiteX21" fmla="*/ 61801 w 155669"/>
                <a:gd name="connsiteY21" fmla="*/ 6622 h 77780"/>
                <a:gd name="connsiteX22" fmla="*/ 73394 w 155669"/>
                <a:gd name="connsiteY22" fmla="*/ 5942 h 77780"/>
                <a:gd name="connsiteX23" fmla="*/ 81463 w 155669"/>
                <a:gd name="connsiteY23" fmla="*/ 3080 h 77780"/>
                <a:gd name="connsiteX24" fmla="*/ 84406 w 155669"/>
                <a:gd name="connsiteY24" fmla="*/ 172 h 77780"/>
                <a:gd name="connsiteX25" fmla="*/ 92403 w 155669"/>
                <a:gd name="connsiteY25" fmla="*/ 1514 h 77780"/>
                <a:gd name="connsiteX26" fmla="*/ 98406 w 155669"/>
                <a:gd name="connsiteY26" fmla="*/ 3285 h 77780"/>
                <a:gd name="connsiteX27" fmla="*/ 104963 w 155669"/>
                <a:gd name="connsiteY27" fmla="*/ 2677 h 77780"/>
                <a:gd name="connsiteX28" fmla="*/ 109945 w 155669"/>
                <a:gd name="connsiteY28" fmla="*/ 423 h 77780"/>
                <a:gd name="connsiteX29" fmla="*/ 121405 w 155669"/>
                <a:gd name="connsiteY29" fmla="*/ 4019 h 77780"/>
                <a:gd name="connsiteX30" fmla="*/ 125386 w 155669"/>
                <a:gd name="connsiteY30" fmla="*/ 4591 h 77780"/>
                <a:gd name="connsiteX31" fmla="*/ 133043 w 155669"/>
                <a:gd name="connsiteY31" fmla="*/ 9431 h 77780"/>
                <a:gd name="connsiteX32" fmla="*/ 140289 w 155669"/>
                <a:gd name="connsiteY32" fmla="*/ 15237 h 77780"/>
                <a:gd name="connsiteX33" fmla="*/ 149404 w 155669"/>
                <a:gd name="connsiteY33" fmla="*/ 19190 h 77780"/>
                <a:gd name="connsiteX34" fmla="*/ 156015 w 155669"/>
                <a:gd name="connsiteY34" fmla="*/ 26293 h 77780"/>
                <a:gd name="connsiteX35" fmla="*/ 147409 w 155669"/>
                <a:gd name="connsiteY35" fmla="*/ 25765 h 77780"/>
                <a:gd name="connsiteX36" fmla="*/ 143938 w 155669"/>
                <a:gd name="connsiteY36" fmla="*/ 29281 h 77780"/>
                <a:gd name="connsiteX37" fmla="*/ 135225 w 155669"/>
                <a:gd name="connsiteY37" fmla="*/ 32644 h 77780"/>
                <a:gd name="connsiteX38" fmla="*/ 128892 w 155669"/>
                <a:gd name="connsiteY38" fmla="*/ 32662 h 77780"/>
                <a:gd name="connsiteX39" fmla="*/ 123355 w 155669"/>
                <a:gd name="connsiteY39" fmla="*/ 35945 h 77780"/>
                <a:gd name="connsiteX40" fmla="*/ 118328 w 155669"/>
                <a:gd name="connsiteY40" fmla="*/ 34773 h 77780"/>
                <a:gd name="connsiteX41" fmla="*/ 114051 w 155669"/>
                <a:gd name="connsiteY41" fmla="*/ 30837 h 77780"/>
                <a:gd name="connsiteX42" fmla="*/ 111430 w 155669"/>
                <a:gd name="connsiteY42" fmla="*/ 31589 h 77780"/>
                <a:gd name="connsiteX43" fmla="*/ 108210 w 155669"/>
                <a:gd name="connsiteY43" fmla="*/ 37743 h 77780"/>
                <a:gd name="connsiteX44" fmla="*/ 105804 w 155669"/>
                <a:gd name="connsiteY44" fmla="*/ 37520 h 77780"/>
                <a:gd name="connsiteX45" fmla="*/ 105392 w 155669"/>
                <a:gd name="connsiteY45" fmla="*/ 42824 h 77780"/>
                <a:gd name="connsiteX46" fmla="*/ 96635 w 155669"/>
                <a:gd name="connsiteY46" fmla="*/ 49900 h 77780"/>
                <a:gd name="connsiteX47" fmla="*/ 92019 w 155669"/>
                <a:gd name="connsiteY47" fmla="*/ 52951 h 77780"/>
                <a:gd name="connsiteX48" fmla="*/ 89442 w 155669"/>
                <a:gd name="connsiteY48" fmla="*/ 56135 h 77780"/>
                <a:gd name="connsiteX49" fmla="*/ 82045 w 155669"/>
                <a:gd name="connsiteY49" fmla="*/ 50947 h 77780"/>
                <a:gd name="connsiteX50" fmla="*/ 76632 w 155669"/>
                <a:gd name="connsiteY50" fmla="*/ 57799 h 77780"/>
                <a:gd name="connsiteX51" fmla="*/ 71399 w 155669"/>
                <a:gd name="connsiteY51" fmla="*/ 57620 h 77780"/>
                <a:gd name="connsiteX52" fmla="*/ 65513 w 155669"/>
                <a:gd name="connsiteY52" fmla="*/ 58220 h 77780"/>
                <a:gd name="connsiteX53" fmla="*/ 66050 w 155669"/>
                <a:gd name="connsiteY53" fmla="*/ 70824 h 77780"/>
                <a:gd name="connsiteX54" fmla="*/ 62373 w 155669"/>
                <a:gd name="connsiteY54" fmla="*/ 71056 h 77780"/>
                <a:gd name="connsiteX55" fmla="*/ 59234 w 155669"/>
                <a:gd name="connsiteY55" fmla="*/ 76907 h 7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55669" h="77780">
                  <a:moveTo>
                    <a:pt x="51433" y="77953"/>
                  </a:moveTo>
                  <a:lnTo>
                    <a:pt x="47103" y="69947"/>
                  </a:lnTo>
                  <a:lnTo>
                    <a:pt x="39482" y="67720"/>
                  </a:lnTo>
                  <a:lnTo>
                    <a:pt x="41226" y="57450"/>
                  </a:lnTo>
                  <a:lnTo>
                    <a:pt x="37818" y="54668"/>
                  </a:lnTo>
                  <a:lnTo>
                    <a:pt x="32656" y="52843"/>
                  </a:lnTo>
                  <a:lnTo>
                    <a:pt x="21653" y="55894"/>
                  </a:lnTo>
                  <a:lnTo>
                    <a:pt x="20723" y="52441"/>
                  </a:lnTo>
                  <a:lnTo>
                    <a:pt x="13146" y="48317"/>
                  </a:lnTo>
                  <a:lnTo>
                    <a:pt x="7743" y="43191"/>
                  </a:lnTo>
                  <a:lnTo>
                    <a:pt x="345" y="41026"/>
                  </a:lnTo>
                  <a:lnTo>
                    <a:pt x="5561" y="34487"/>
                  </a:lnTo>
                  <a:lnTo>
                    <a:pt x="3566" y="29424"/>
                  </a:lnTo>
                  <a:lnTo>
                    <a:pt x="5328" y="24468"/>
                  </a:lnTo>
                  <a:lnTo>
                    <a:pt x="17216" y="17240"/>
                  </a:lnTo>
                  <a:lnTo>
                    <a:pt x="28649" y="7374"/>
                  </a:lnTo>
                  <a:lnTo>
                    <a:pt x="31252" y="8384"/>
                  </a:lnTo>
                  <a:lnTo>
                    <a:pt x="36753" y="3831"/>
                  </a:lnTo>
                  <a:lnTo>
                    <a:pt x="43928" y="3464"/>
                  </a:lnTo>
                  <a:lnTo>
                    <a:pt x="46263" y="5575"/>
                  </a:lnTo>
                  <a:lnTo>
                    <a:pt x="50154" y="4287"/>
                  </a:lnTo>
                  <a:lnTo>
                    <a:pt x="61801" y="6622"/>
                  </a:lnTo>
                  <a:lnTo>
                    <a:pt x="73394" y="5942"/>
                  </a:lnTo>
                  <a:lnTo>
                    <a:pt x="81463" y="3080"/>
                  </a:lnTo>
                  <a:lnTo>
                    <a:pt x="84406" y="172"/>
                  </a:lnTo>
                  <a:lnTo>
                    <a:pt x="92403" y="1514"/>
                  </a:lnTo>
                  <a:lnTo>
                    <a:pt x="98406" y="3285"/>
                  </a:lnTo>
                  <a:lnTo>
                    <a:pt x="104963" y="2677"/>
                  </a:lnTo>
                  <a:lnTo>
                    <a:pt x="109945" y="423"/>
                  </a:lnTo>
                  <a:lnTo>
                    <a:pt x="121405" y="4019"/>
                  </a:lnTo>
                  <a:lnTo>
                    <a:pt x="125386" y="4591"/>
                  </a:lnTo>
                  <a:lnTo>
                    <a:pt x="133043" y="9431"/>
                  </a:lnTo>
                  <a:lnTo>
                    <a:pt x="140289" y="15237"/>
                  </a:lnTo>
                  <a:lnTo>
                    <a:pt x="149404" y="19190"/>
                  </a:lnTo>
                  <a:lnTo>
                    <a:pt x="156015" y="26293"/>
                  </a:lnTo>
                  <a:lnTo>
                    <a:pt x="147409" y="25765"/>
                  </a:lnTo>
                  <a:lnTo>
                    <a:pt x="143938" y="29281"/>
                  </a:lnTo>
                  <a:lnTo>
                    <a:pt x="135225" y="32644"/>
                  </a:lnTo>
                  <a:lnTo>
                    <a:pt x="128892" y="32662"/>
                  </a:lnTo>
                  <a:lnTo>
                    <a:pt x="123355" y="35945"/>
                  </a:lnTo>
                  <a:lnTo>
                    <a:pt x="118328" y="34773"/>
                  </a:lnTo>
                  <a:lnTo>
                    <a:pt x="114051" y="30837"/>
                  </a:lnTo>
                  <a:lnTo>
                    <a:pt x="111430" y="31589"/>
                  </a:lnTo>
                  <a:lnTo>
                    <a:pt x="108210" y="37743"/>
                  </a:lnTo>
                  <a:lnTo>
                    <a:pt x="105804" y="37520"/>
                  </a:lnTo>
                  <a:lnTo>
                    <a:pt x="105392" y="42824"/>
                  </a:lnTo>
                  <a:lnTo>
                    <a:pt x="96635" y="49900"/>
                  </a:lnTo>
                  <a:lnTo>
                    <a:pt x="92019" y="52951"/>
                  </a:lnTo>
                  <a:lnTo>
                    <a:pt x="89442" y="56135"/>
                  </a:lnTo>
                  <a:lnTo>
                    <a:pt x="82045" y="50947"/>
                  </a:lnTo>
                  <a:lnTo>
                    <a:pt x="76632" y="57799"/>
                  </a:lnTo>
                  <a:lnTo>
                    <a:pt x="71399" y="57620"/>
                  </a:lnTo>
                  <a:lnTo>
                    <a:pt x="65513" y="58220"/>
                  </a:lnTo>
                  <a:lnTo>
                    <a:pt x="66050" y="70824"/>
                  </a:lnTo>
                  <a:lnTo>
                    <a:pt x="62373" y="71056"/>
                  </a:lnTo>
                  <a:lnTo>
                    <a:pt x="59234" y="7690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/>
            <p:cNvSpPr/>
            <p:nvPr/>
          </p:nvSpPr>
          <p:spPr>
            <a:xfrm>
              <a:off x="6180228" y="3347425"/>
              <a:ext cx="143807" cy="141088"/>
            </a:xfrm>
            <a:custGeom>
              <a:avLst/>
              <a:gdLst>
                <a:gd name="connsiteX0" fmla="*/ 130209 w 143807"/>
                <a:gd name="connsiteY0" fmla="*/ 21628 h 141088"/>
                <a:gd name="connsiteX1" fmla="*/ 136300 w 143807"/>
                <a:gd name="connsiteY1" fmla="*/ 35494 h 141088"/>
                <a:gd name="connsiteX2" fmla="*/ 144271 w 143807"/>
                <a:gd name="connsiteY2" fmla="*/ 45638 h 141088"/>
                <a:gd name="connsiteX3" fmla="*/ 134619 w 143807"/>
                <a:gd name="connsiteY3" fmla="*/ 58949 h 141088"/>
                <a:gd name="connsiteX4" fmla="*/ 123267 w 143807"/>
                <a:gd name="connsiteY4" fmla="*/ 51131 h 141088"/>
                <a:gd name="connsiteX5" fmla="*/ 105931 w 143807"/>
                <a:gd name="connsiteY5" fmla="*/ 51622 h 141088"/>
                <a:gd name="connsiteX6" fmla="*/ 84363 w 143807"/>
                <a:gd name="connsiteY6" fmla="*/ 45736 h 141088"/>
                <a:gd name="connsiteX7" fmla="*/ 72645 w 143807"/>
                <a:gd name="connsiteY7" fmla="*/ 46524 h 141088"/>
                <a:gd name="connsiteX8" fmla="*/ 67215 w 143807"/>
                <a:gd name="connsiteY8" fmla="*/ 53877 h 141088"/>
                <a:gd name="connsiteX9" fmla="*/ 58206 w 143807"/>
                <a:gd name="connsiteY9" fmla="*/ 45736 h 141088"/>
                <a:gd name="connsiteX10" fmla="*/ 52964 w 143807"/>
                <a:gd name="connsiteY10" fmla="*/ 60416 h 141088"/>
                <a:gd name="connsiteX11" fmla="*/ 65246 w 143807"/>
                <a:gd name="connsiteY11" fmla="*/ 76822 h 141088"/>
                <a:gd name="connsiteX12" fmla="*/ 70686 w 143807"/>
                <a:gd name="connsiteY12" fmla="*/ 87637 h 141088"/>
                <a:gd name="connsiteX13" fmla="*/ 82216 w 143807"/>
                <a:gd name="connsiteY13" fmla="*/ 100581 h 141088"/>
                <a:gd name="connsiteX14" fmla="*/ 91770 w 143807"/>
                <a:gd name="connsiteY14" fmla="*/ 108212 h 141088"/>
                <a:gd name="connsiteX15" fmla="*/ 101243 w 143807"/>
                <a:gd name="connsiteY15" fmla="*/ 122542 h 141088"/>
                <a:gd name="connsiteX16" fmla="*/ 123437 w 143807"/>
                <a:gd name="connsiteY16" fmla="*/ 135451 h 141088"/>
                <a:gd name="connsiteX17" fmla="*/ 120682 w 143807"/>
                <a:gd name="connsiteY17" fmla="*/ 141221 h 141088"/>
                <a:gd name="connsiteX18" fmla="*/ 97102 w 143807"/>
                <a:gd name="connsiteY18" fmla="*/ 128634 h 141088"/>
                <a:gd name="connsiteX19" fmla="*/ 82556 w 143807"/>
                <a:gd name="connsiteY19" fmla="*/ 116334 h 141088"/>
                <a:gd name="connsiteX20" fmla="*/ 59620 w 143807"/>
                <a:gd name="connsiteY20" fmla="*/ 106119 h 141088"/>
                <a:gd name="connsiteX21" fmla="*/ 38526 w 143807"/>
                <a:gd name="connsiteY21" fmla="*/ 80597 h 141088"/>
                <a:gd name="connsiteX22" fmla="*/ 43590 w 143807"/>
                <a:gd name="connsiteY22" fmla="*/ 77985 h 141088"/>
                <a:gd name="connsiteX23" fmla="*/ 32148 w 143807"/>
                <a:gd name="connsiteY23" fmla="*/ 63243 h 141088"/>
                <a:gd name="connsiteX24" fmla="*/ 31683 w 143807"/>
                <a:gd name="connsiteY24" fmla="*/ 51327 h 141088"/>
                <a:gd name="connsiteX25" fmla="*/ 15554 w 143807"/>
                <a:gd name="connsiteY25" fmla="*/ 45736 h 141088"/>
                <a:gd name="connsiteX26" fmla="*/ 7870 w 143807"/>
                <a:gd name="connsiteY26" fmla="*/ 60997 h 141088"/>
                <a:gd name="connsiteX27" fmla="*/ 463 w 143807"/>
                <a:gd name="connsiteY27" fmla="*/ 49172 h 141088"/>
                <a:gd name="connsiteX28" fmla="*/ 1026 w 143807"/>
                <a:gd name="connsiteY28" fmla="*/ 36827 h 141088"/>
                <a:gd name="connsiteX29" fmla="*/ 1921 w 143807"/>
                <a:gd name="connsiteY29" fmla="*/ 36254 h 141088"/>
                <a:gd name="connsiteX30" fmla="*/ 19401 w 143807"/>
                <a:gd name="connsiteY30" fmla="*/ 37471 h 141088"/>
                <a:gd name="connsiteX31" fmla="*/ 23990 w 143807"/>
                <a:gd name="connsiteY31" fmla="*/ 31442 h 141088"/>
                <a:gd name="connsiteX32" fmla="*/ 32524 w 143807"/>
                <a:gd name="connsiteY32" fmla="*/ 37274 h 141088"/>
                <a:gd name="connsiteX33" fmla="*/ 42364 w 143807"/>
                <a:gd name="connsiteY33" fmla="*/ 37963 h 141088"/>
                <a:gd name="connsiteX34" fmla="*/ 42274 w 143807"/>
                <a:gd name="connsiteY34" fmla="*/ 27980 h 141088"/>
                <a:gd name="connsiteX35" fmla="*/ 50987 w 143807"/>
                <a:gd name="connsiteY35" fmla="*/ 24312 h 141088"/>
                <a:gd name="connsiteX36" fmla="*/ 53429 w 143807"/>
                <a:gd name="connsiteY36" fmla="*/ 9758 h 141088"/>
                <a:gd name="connsiteX37" fmla="*/ 73396 w 143807"/>
                <a:gd name="connsiteY37" fmla="*/ 132 h 141088"/>
                <a:gd name="connsiteX38" fmla="*/ 81366 w 143807"/>
                <a:gd name="connsiteY38" fmla="*/ 4605 h 141088"/>
                <a:gd name="connsiteX39" fmla="*/ 100116 w 143807"/>
                <a:gd name="connsiteY39" fmla="*/ 20090 h 141088"/>
                <a:gd name="connsiteX40" fmla="*/ 120834 w 143807"/>
                <a:gd name="connsiteY40" fmla="*/ 26987 h 141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43807" h="141088">
                  <a:moveTo>
                    <a:pt x="130209" y="21628"/>
                  </a:moveTo>
                  <a:lnTo>
                    <a:pt x="136300" y="35494"/>
                  </a:lnTo>
                  <a:lnTo>
                    <a:pt x="144271" y="45638"/>
                  </a:lnTo>
                  <a:lnTo>
                    <a:pt x="134619" y="58949"/>
                  </a:lnTo>
                  <a:lnTo>
                    <a:pt x="123267" y="51131"/>
                  </a:lnTo>
                  <a:lnTo>
                    <a:pt x="105931" y="51622"/>
                  </a:lnTo>
                  <a:lnTo>
                    <a:pt x="84363" y="45736"/>
                  </a:lnTo>
                  <a:lnTo>
                    <a:pt x="72645" y="46524"/>
                  </a:lnTo>
                  <a:lnTo>
                    <a:pt x="67215" y="53877"/>
                  </a:lnTo>
                  <a:lnTo>
                    <a:pt x="58206" y="45736"/>
                  </a:lnTo>
                  <a:lnTo>
                    <a:pt x="52964" y="60416"/>
                  </a:lnTo>
                  <a:lnTo>
                    <a:pt x="65246" y="76822"/>
                  </a:lnTo>
                  <a:lnTo>
                    <a:pt x="70686" y="87637"/>
                  </a:lnTo>
                  <a:lnTo>
                    <a:pt x="82216" y="100581"/>
                  </a:lnTo>
                  <a:lnTo>
                    <a:pt x="91770" y="108212"/>
                  </a:lnTo>
                  <a:lnTo>
                    <a:pt x="101243" y="122542"/>
                  </a:lnTo>
                  <a:lnTo>
                    <a:pt x="123437" y="135451"/>
                  </a:lnTo>
                  <a:lnTo>
                    <a:pt x="120682" y="141221"/>
                  </a:lnTo>
                  <a:lnTo>
                    <a:pt x="97102" y="128634"/>
                  </a:lnTo>
                  <a:lnTo>
                    <a:pt x="82556" y="116334"/>
                  </a:lnTo>
                  <a:lnTo>
                    <a:pt x="59620" y="106119"/>
                  </a:lnTo>
                  <a:lnTo>
                    <a:pt x="38526" y="80597"/>
                  </a:lnTo>
                  <a:lnTo>
                    <a:pt x="43590" y="77985"/>
                  </a:lnTo>
                  <a:lnTo>
                    <a:pt x="32148" y="63243"/>
                  </a:lnTo>
                  <a:lnTo>
                    <a:pt x="31683" y="51327"/>
                  </a:lnTo>
                  <a:lnTo>
                    <a:pt x="15554" y="45736"/>
                  </a:lnTo>
                  <a:lnTo>
                    <a:pt x="7870" y="60997"/>
                  </a:lnTo>
                  <a:lnTo>
                    <a:pt x="463" y="49172"/>
                  </a:lnTo>
                  <a:lnTo>
                    <a:pt x="1026" y="36827"/>
                  </a:lnTo>
                  <a:lnTo>
                    <a:pt x="1921" y="36254"/>
                  </a:lnTo>
                  <a:lnTo>
                    <a:pt x="19401" y="37471"/>
                  </a:lnTo>
                  <a:lnTo>
                    <a:pt x="23990" y="31442"/>
                  </a:lnTo>
                  <a:lnTo>
                    <a:pt x="32524" y="37274"/>
                  </a:lnTo>
                  <a:lnTo>
                    <a:pt x="42364" y="37963"/>
                  </a:lnTo>
                  <a:lnTo>
                    <a:pt x="42274" y="27980"/>
                  </a:lnTo>
                  <a:lnTo>
                    <a:pt x="50987" y="24312"/>
                  </a:lnTo>
                  <a:lnTo>
                    <a:pt x="53429" y="9758"/>
                  </a:lnTo>
                  <a:lnTo>
                    <a:pt x="73396" y="132"/>
                  </a:lnTo>
                  <a:lnTo>
                    <a:pt x="81366" y="4605"/>
                  </a:lnTo>
                  <a:lnTo>
                    <a:pt x="100116" y="20090"/>
                  </a:lnTo>
                  <a:lnTo>
                    <a:pt x="120834" y="2698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/>
            <p:cNvSpPr/>
            <p:nvPr/>
          </p:nvSpPr>
          <p:spPr>
            <a:xfrm>
              <a:off x="3970135" y="4154488"/>
              <a:ext cx="71063" cy="49692"/>
            </a:xfrm>
            <a:custGeom>
              <a:avLst/>
              <a:gdLst>
                <a:gd name="connsiteX0" fmla="*/ 32180 w 71063"/>
                <a:gd name="connsiteY0" fmla="*/ 167 h 49692"/>
                <a:gd name="connsiteX1" fmla="*/ 47476 w 71063"/>
                <a:gd name="connsiteY1" fmla="*/ 1339 h 49692"/>
                <a:gd name="connsiteX2" fmla="*/ 69232 w 71063"/>
                <a:gd name="connsiteY2" fmla="*/ 5507 h 49692"/>
                <a:gd name="connsiteX3" fmla="*/ 71423 w 71063"/>
                <a:gd name="connsiteY3" fmla="*/ 19901 h 49692"/>
                <a:gd name="connsiteX4" fmla="*/ 69509 w 71063"/>
                <a:gd name="connsiteY4" fmla="*/ 30036 h 49692"/>
                <a:gd name="connsiteX5" fmla="*/ 63390 w 71063"/>
                <a:gd name="connsiteY5" fmla="*/ 34473 h 49692"/>
                <a:gd name="connsiteX6" fmla="*/ 69849 w 71063"/>
                <a:gd name="connsiteY6" fmla="*/ 42363 h 49692"/>
                <a:gd name="connsiteX7" fmla="*/ 69330 w 71063"/>
                <a:gd name="connsiteY7" fmla="*/ 49493 h 49692"/>
                <a:gd name="connsiteX8" fmla="*/ 52674 w 71063"/>
                <a:gd name="connsiteY8" fmla="*/ 45038 h 49692"/>
                <a:gd name="connsiteX9" fmla="*/ 40839 w 71063"/>
                <a:gd name="connsiteY9" fmla="*/ 46854 h 49692"/>
                <a:gd name="connsiteX10" fmla="*/ 25533 w 71063"/>
                <a:gd name="connsiteY10" fmla="*/ 44957 h 49692"/>
                <a:gd name="connsiteX11" fmla="*/ 13796 w 71063"/>
                <a:gd name="connsiteY11" fmla="*/ 49859 h 49692"/>
                <a:gd name="connsiteX12" fmla="*/ 360 w 71063"/>
                <a:gd name="connsiteY12" fmla="*/ 41683 h 49692"/>
                <a:gd name="connsiteX13" fmla="*/ 2570 w 71063"/>
                <a:gd name="connsiteY13" fmla="*/ 33212 h 49692"/>
                <a:gd name="connsiteX14" fmla="*/ 25667 w 71063"/>
                <a:gd name="connsiteY14" fmla="*/ 36861 h 49692"/>
                <a:gd name="connsiteX15" fmla="*/ 44587 w 71063"/>
                <a:gd name="connsiteY15" fmla="*/ 38973 h 49692"/>
                <a:gd name="connsiteX16" fmla="*/ 53622 w 71063"/>
                <a:gd name="connsiteY16" fmla="*/ 33122 h 49692"/>
                <a:gd name="connsiteX17" fmla="*/ 42163 w 71063"/>
                <a:gd name="connsiteY17" fmla="*/ 21699 h 49692"/>
                <a:gd name="connsiteX18" fmla="*/ 42351 w 71063"/>
                <a:gd name="connsiteY18" fmla="*/ 11608 h 49692"/>
                <a:gd name="connsiteX19" fmla="*/ 26526 w 71063"/>
                <a:gd name="connsiteY19" fmla="*/ 7484 h 4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1063" h="49692">
                  <a:moveTo>
                    <a:pt x="32180" y="167"/>
                  </a:moveTo>
                  <a:lnTo>
                    <a:pt x="47476" y="1339"/>
                  </a:lnTo>
                  <a:lnTo>
                    <a:pt x="69232" y="5507"/>
                  </a:lnTo>
                  <a:lnTo>
                    <a:pt x="71423" y="19901"/>
                  </a:lnTo>
                  <a:lnTo>
                    <a:pt x="69509" y="30036"/>
                  </a:lnTo>
                  <a:lnTo>
                    <a:pt x="63390" y="34473"/>
                  </a:lnTo>
                  <a:lnTo>
                    <a:pt x="69849" y="42363"/>
                  </a:lnTo>
                  <a:lnTo>
                    <a:pt x="69330" y="49493"/>
                  </a:lnTo>
                  <a:lnTo>
                    <a:pt x="52674" y="45038"/>
                  </a:lnTo>
                  <a:lnTo>
                    <a:pt x="40839" y="46854"/>
                  </a:lnTo>
                  <a:lnTo>
                    <a:pt x="25533" y="44957"/>
                  </a:lnTo>
                  <a:lnTo>
                    <a:pt x="13796" y="49859"/>
                  </a:lnTo>
                  <a:lnTo>
                    <a:pt x="360" y="41683"/>
                  </a:lnTo>
                  <a:lnTo>
                    <a:pt x="2570" y="33212"/>
                  </a:lnTo>
                  <a:lnTo>
                    <a:pt x="25667" y="36861"/>
                  </a:lnTo>
                  <a:lnTo>
                    <a:pt x="44587" y="38973"/>
                  </a:lnTo>
                  <a:lnTo>
                    <a:pt x="53622" y="33122"/>
                  </a:lnTo>
                  <a:lnTo>
                    <a:pt x="42163" y="21699"/>
                  </a:lnTo>
                  <a:lnTo>
                    <a:pt x="42351" y="11608"/>
                  </a:lnTo>
                  <a:lnTo>
                    <a:pt x="26526" y="748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/>
            <p:cNvSpPr/>
            <p:nvPr/>
          </p:nvSpPr>
          <p:spPr>
            <a:xfrm>
              <a:off x="6244072" y="3268848"/>
              <a:ext cx="163237" cy="105431"/>
            </a:xfrm>
            <a:custGeom>
              <a:avLst/>
              <a:gdLst>
                <a:gd name="connsiteX0" fmla="*/ 466 w 163237"/>
                <a:gd name="connsiteY0" fmla="*/ 66002 h 105431"/>
                <a:gd name="connsiteX1" fmla="*/ 8794 w 163237"/>
                <a:gd name="connsiteY1" fmla="*/ 42324 h 105431"/>
                <a:gd name="connsiteX2" fmla="*/ 3928 w 163237"/>
                <a:gd name="connsiteY2" fmla="*/ 34282 h 105431"/>
                <a:gd name="connsiteX3" fmla="*/ 18053 w 163237"/>
                <a:gd name="connsiteY3" fmla="*/ 34210 h 105431"/>
                <a:gd name="connsiteX4" fmla="*/ 19959 w 163237"/>
                <a:gd name="connsiteY4" fmla="*/ 18967 h 105431"/>
                <a:gd name="connsiteX5" fmla="*/ 32724 w 163237"/>
                <a:gd name="connsiteY5" fmla="*/ 28530 h 105431"/>
                <a:gd name="connsiteX6" fmla="*/ 41974 w 163237"/>
                <a:gd name="connsiteY6" fmla="*/ 32591 h 105431"/>
                <a:gd name="connsiteX7" fmla="*/ 63022 w 163237"/>
                <a:gd name="connsiteY7" fmla="*/ 28029 h 105431"/>
                <a:gd name="connsiteX8" fmla="*/ 65044 w 163237"/>
                <a:gd name="connsiteY8" fmla="*/ 20524 h 105431"/>
                <a:gd name="connsiteX9" fmla="*/ 75009 w 163237"/>
                <a:gd name="connsiteY9" fmla="*/ 19414 h 105431"/>
                <a:gd name="connsiteX10" fmla="*/ 87220 w 163237"/>
                <a:gd name="connsiteY10" fmla="*/ 13591 h 105431"/>
                <a:gd name="connsiteX11" fmla="*/ 89939 w 163237"/>
                <a:gd name="connsiteY11" fmla="*/ 15997 h 105431"/>
                <a:gd name="connsiteX12" fmla="*/ 101711 w 163237"/>
                <a:gd name="connsiteY12" fmla="*/ 11310 h 105431"/>
                <a:gd name="connsiteX13" fmla="*/ 107598 w 163237"/>
                <a:gd name="connsiteY13" fmla="*/ 2436 h 105431"/>
                <a:gd name="connsiteX14" fmla="*/ 115819 w 163237"/>
                <a:gd name="connsiteY14" fmla="*/ 128 h 105431"/>
                <a:gd name="connsiteX15" fmla="*/ 142682 w 163237"/>
                <a:gd name="connsiteY15" fmla="*/ 11587 h 105431"/>
                <a:gd name="connsiteX16" fmla="*/ 148031 w 163237"/>
                <a:gd name="connsiteY16" fmla="*/ 7740 h 105431"/>
                <a:gd name="connsiteX17" fmla="*/ 161951 w 163237"/>
                <a:gd name="connsiteY17" fmla="*/ 17965 h 105431"/>
                <a:gd name="connsiteX18" fmla="*/ 163704 w 163237"/>
                <a:gd name="connsiteY18" fmla="*/ 27984 h 105431"/>
                <a:gd name="connsiteX19" fmla="*/ 148380 w 163237"/>
                <a:gd name="connsiteY19" fmla="*/ 35785 h 105431"/>
                <a:gd name="connsiteX20" fmla="*/ 136518 w 163237"/>
                <a:gd name="connsiteY20" fmla="*/ 60814 h 105431"/>
                <a:gd name="connsiteX21" fmla="*/ 121347 w 163237"/>
                <a:gd name="connsiteY21" fmla="*/ 85513 h 105431"/>
                <a:gd name="connsiteX22" fmla="*/ 101238 w 163237"/>
                <a:gd name="connsiteY22" fmla="*/ 92329 h 105431"/>
                <a:gd name="connsiteX23" fmla="*/ 85583 w 163237"/>
                <a:gd name="connsiteY23" fmla="*/ 90728 h 105431"/>
                <a:gd name="connsiteX24" fmla="*/ 66368 w 163237"/>
                <a:gd name="connsiteY24" fmla="*/ 100201 h 105431"/>
                <a:gd name="connsiteX25" fmla="*/ 56993 w 163237"/>
                <a:gd name="connsiteY25" fmla="*/ 105559 h 105431"/>
                <a:gd name="connsiteX26" fmla="*/ 36275 w 163237"/>
                <a:gd name="connsiteY26" fmla="*/ 98662 h 105431"/>
                <a:gd name="connsiteX27" fmla="*/ 17525 w 163237"/>
                <a:gd name="connsiteY27" fmla="*/ 83178 h 105431"/>
                <a:gd name="connsiteX28" fmla="*/ 9555 w 163237"/>
                <a:gd name="connsiteY28" fmla="*/ 78705 h 105431"/>
                <a:gd name="connsiteX29" fmla="*/ 4680 w 163237"/>
                <a:gd name="connsiteY29" fmla="*/ 66405 h 10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3237" h="105431">
                  <a:moveTo>
                    <a:pt x="466" y="66002"/>
                  </a:moveTo>
                  <a:lnTo>
                    <a:pt x="8794" y="42324"/>
                  </a:lnTo>
                  <a:lnTo>
                    <a:pt x="3928" y="34282"/>
                  </a:lnTo>
                  <a:lnTo>
                    <a:pt x="18053" y="34210"/>
                  </a:lnTo>
                  <a:lnTo>
                    <a:pt x="19959" y="18967"/>
                  </a:lnTo>
                  <a:lnTo>
                    <a:pt x="32724" y="28530"/>
                  </a:lnTo>
                  <a:lnTo>
                    <a:pt x="41974" y="32591"/>
                  </a:lnTo>
                  <a:lnTo>
                    <a:pt x="63022" y="28029"/>
                  </a:lnTo>
                  <a:lnTo>
                    <a:pt x="65044" y="20524"/>
                  </a:lnTo>
                  <a:lnTo>
                    <a:pt x="75009" y="19414"/>
                  </a:lnTo>
                  <a:lnTo>
                    <a:pt x="87220" y="13591"/>
                  </a:lnTo>
                  <a:lnTo>
                    <a:pt x="89939" y="15997"/>
                  </a:lnTo>
                  <a:lnTo>
                    <a:pt x="101711" y="11310"/>
                  </a:lnTo>
                  <a:lnTo>
                    <a:pt x="107598" y="2436"/>
                  </a:lnTo>
                  <a:lnTo>
                    <a:pt x="115819" y="128"/>
                  </a:lnTo>
                  <a:lnTo>
                    <a:pt x="142682" y="11587"/>
                  </a:lnTo>
                  <a:lnTo>
                    <a:pt x="148031" y="7740"/>
                  </a:lnTo>
                  <a:lnTo>
                    <a:pt x="161951" y="17965"/>
                  </a:lnTo>
                  <a:lnTo>
                    <a:pt x="163704" y="27984"/>
                  </a:lnTo>
                  <a:lnTo>
                    <a:pt x="148380" y="35785"/>
                  </a:lnTo>
                  <a:lnTo>
                    <a:pt x="136518" y="60814"/>
                  </a:lnTo>
                  <a:lnTo>
                    <a:pt x="121347" y="85513"/>
                  </a:lnTo>
                  <a:lnTo>
                    <a:pt x="101238" y="92329"/>
                  </a:lnTo>
                  <a:lnTo>
                    <a:pt x="85583" y="90728"/>
                  </a:lnTo>
                  <a:lnTo>
                    <a:pt x="66368" y="100201"/>
                  </a:lnTo>
                  <a:lnTo>
                    <a:pt x="56993" y="105559"/>
                  </a:lnTo>
                  <a:lnTo>
                    <a:pt x="36275" y="98662"/>
                  </a:lnTo>
                  <a:lnTo>
                    <a:pt x="17525" y="83178"/>
                  </a:lnTo>
                  <a:lnTo>
                    <a:pt x="9555" y="78705"/>
                  </a:lnTo>
                  <a:lnTo>
                    <a:pt x="4680" y="6640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/>
            <p:cNvSpPr/>
            <p:nvPr/>
          </p:nvSpPr>
          <p:spPr>
            <a:xfrm>
              <a:off x="8227817" y="4524385"/>
              <a:ext cx="1147260" cy="396267"/>
            </a:xfrm>
            <a:custGeom>
              <a:avLst/>
              <a:gdLst>
                <a:gd name="connsiteX0" fmla="*/ 638224 w 1147260"/>
                <a:gd name="connsiteY0" fmla="*/ 393409 h 396267"/>
                <a:gd name="connsiteX1" fmla="*/ 627668 w 1147260"/>
                <a:gd name="connsiteY1" fmla="*/ 393892 h 396267"/>
                <a:gd name="connsiteX2" fmla="*/ 594382 w 1147260"/>
                <a:gd name="connsiteY2" fmla="*/ 376171 h 396267"/>
                <a:gd name="connsiteX3" fmla="*/ 617765 w 1147260"/>
                <a:gd name="connsiteY3" fmla="*/ 371206 h 396267"/>
                <a:gd name="connsiteX4" fmla="*/ 630951 w 1147260"/>
                <a:gd name="connsiteY4" fmla="*/ 378900 h 396267"/>
                <a:gd name="connsiteX5" fmla="*/ 639718 w 1147260"/>
                <a:gd name="connsiteY5" fmla="*/ 386575 h 396267"/>
                <a:gd name="connsiteX6" fmla="*/ 638224 w 1147260"/>
                <a:gd name="connsiteY6" fmla="*/ 393409 h 396267"/>
                <a:gd name="connsiteX7" fmla="*/ 731534 w 1147260"/>
                <a:gd name="connsiteY7" fmla="*/ 390887 h 396267"/>
                <a:gd name="connsiteX8" fmla="*/ 710065 w 1147260"/>
                <a:gd name="connsiteY8" fmla="*/ 396459 h 396267"/>
                <a:gd name="connsiteX9" fmla="*/ 707059 w 1147260"/>
                <a:gd name="connsiteY9" fmla="*/ 393418 h 396267"/>
                <a:gd name="connsiteX10" fmla="*/ 709314 w 1147260"/>
                <a:gd name="connsiteY10" fmla="*/ 384812 h 396267"/>
                <a:gd name="connsiteX11" fmla="*/ 720102 w 1147260"/>
                <a:gd name="connsiteY11" fmla="*/ 369390 h 396267"/>
                <a:gd name="connsiteX12" fmla="*/ 744890 w 1147260"/>
                <a:gd name="connsiteY12" fmla="*/ 359371 h 396267"/>
                <a:gd name="connsiteX13" fmla="*/ 747430 w 1147260"/>
                <a:gd name="connsiteY13" fmla="*/ 364345 h 396267"/>
                <a:gd name="connsiteX14" fmla="*/ 747896 w 1147260"/>
                <a:gd name="connsiteY14" fmla="*/ 372003 h 396267"/>
                <a:gd name="connsiteX15" fmla="*/ 731534 w 1147260"/>
                <a:gd name="connsiteY15" fmla="*/ 390887 h 396267"/>
                <a:gd name="connsiteX16" fmla="*/ 567599 w 1147260"/>
                <a:gd name="connsiteY16" fmla="*/ 339298 h 396267"/>
                <a:gd name="connsiteX17" fmla="*/ 576643 w 1147260"/>
                <a:gd name="connsiteY17" fmla="*/ 346007 h 396267"/>
                <a:gd name="connsiteX18" fmla="*/ 592137 w 1147260"/>
                <a:gd name="connsiteY18" fmla="*/ 343949 h 396267"/>
                <a:gd name="connsiteX19" fmla="*/ 598354 w 1147260"/>
                <a:gd name="connsiteY19" fmla="*/ 354657 h 396267"/>
                <a:gd name="connsiteX20" fmla="*/ 569361 w 1147260"/>
                <a:gd name="connsiteY20" fmla="*/ 359720 h 396267"/>
                <a:gd name="connsiteX21" fmla="*/ 551989 w 1147260"/>
                <a:gd name="connsiteY21" fmla="*/ 363102 h 396267"/>
                <a:gd name="connsiteX22" fmla="*/ 538508 w 1147260"/>
                <a:gd name="connsiteY22" fmla="*/ 362905 h 396267"/>
                <a:gd name="connsiteX23" fmla="*/ 547123 w 1147260"/>
                <a:gd name="connsiteY23" fmla="*/ 348386 h 396267"/>
                <a:gd name="connsiteX24" fmla="*/ 560881 w 1147260"/>
                <a:gd name="connsiteY24" fmla="*/ 348190 h 396267"/>
                <a:gd name="connsiteX25" fmla="*/ 567599 w 1147260"/>
                <a:gd name="connsiteY25" fmla="*/ 339298 h 396267"/>
                <a:gd name="connsiteX26" fmla="*/ 693096 w 1147260"/>
                <a:gd name="connsiteY26" fmla="*/ 339262 h 396267"/>
                <a:gd name="connsiteX27" fmla="*/ 689419 w 1147260"/>
                <a:gd name="connsiteY27" fmla="*/ 353253 h 396267"/>
                <a:gd name="connsiteX28" fmla="*/ 651731 w 1147260"/>
                <a:gd name="connsiteY28" fmla="*/ 360409 h 396267"/>
                <a:gd name="connsiteX29" fmla="*/ 618374 w 1147260"/>
                <a:gd name="connsiteY29" fmla="*/ 357296 h 396267"/>
                <a:gd name="connsiteX30" fmla="*/ 618284 w 1147260"/>
                <a:gd name="connsiteY30" fmla="*/ 348082 h 396267"/>
                <a:gd name="connsiteX31" fmla="*/ 638215 w 1147260"/>
                <a:gd name="connsiteY31" fmla="*/ 342849 h 396267"/>
                <a:gd name="connsiteX32" fmla="*/ 653932 w 1147260"/>
                <a:gd name="connsiteY32" fmla="*/ 350399 h 396267"/>
                <a:gd name="connsiteX33" fmla="*/ 670624 w 1147260"/>
                <a:gd name="connsiteY33" fmla="*/ 348485 h 396267"/>
                <a:gd name="connsiteX34" fmla="*/ 693096 w 1147260"/>
                <a:gd name="connsiteY34" fmla="*/ 339262 h 396267"/>
                <a:gd name="connsiteX35" fmla="*/ 334927 w 1147260"/>
                <a:gd name="connsiteY35" fmla="*/ 306173 h 396267"/>
                <a:gd name="connsiteX36" fmla="*/ 382973 w 1147260"/>
                <a:gd name="connsiteY36" fmla="*/ 308677 h 396267"/>
                <a:gd name="connsiteX37" fmla="*/ 388502 w 1147260"/>
                <a:gd name="connsiteY37" fmla="*/ 298336 h 396267"/>
                <a:gd name="connsiteX38" fmla="*/ 435027 w 1147260"/>
                <a:gd name="connsiteY38" fmla="*/ 310404 h 396267"/>
                <a:gd name="connsiteX39" fmla="*/ 444160 w 1147260"/>
                <a:gd name="connsiteY39" fmla="*/ 326685 h 396267"/>
                <a:gd name="connsiteX40" fmla="*/ 481794 w 1147260"/>
                <a:gd name="connsiteY40" fmla="*/ 331274 h 396267"/>
                <a:gd name="connsiteX41" fmla="*/ 512548 w 1147260"/>
                <a:gd name="connsiteY41" fmla="*/ 346231 h 396267"/>
                <a:gd name="connsiteX42" fmla="*/ 483932 w 1147260"/>
                <a:gd name="connsiteY42" fmla="*/ 355829 h 396267"/>
                <a:gd name="connsiteX43" fmla="*/ 456353 w 1147260"/>
                <a:gd name="connsiteY43" fmla="*/ 345676 h 396267"/>
                <a:gd name="connsiteX44" fmla="*/ 433649 w 1147260"/>
                <a:gd name="connsiteY44" fmla="*/ 346365 h 396267"/>
                <a:gd name="connsiteX45" fmla="*/ 407626 w 1147260"/>
                <a:gd name="connsiteY45" fmla="*/ 344504 h 396267"/>
                <a:gd name="connsiteX46" fmla="*/ 384154 w 1147260"/>
                <a:gd name="connsiteY46" fmla="*/ 339987 h 396267"/>
                <a:gd name="connsiteX47" fmla="*/ 355099 w 1147260"/>
                <a:gd name="connsiteY47" fmla="*/ 330379 h 396267"/>
                <a:gd name="connsiteX48" fmla="*/ 336680 w 1147260"/>
                <a:gd name="connsiteY48" fmla="*/ 327892 h 396267"/>
                <a:gd name="connsiteX49" fmla="*/ 326249 w 1147260"/>
                <a:gd name="connsiteY49" fmla="*/ 331041 h 396267"/>
                <a:gd name="connsiteX50" fmla="*/ 280511 w 1147260"/>
                <a:gd name="connsiteY50" fmla="*/ 320691 h 396267"/>
                <a:gd name="connsiteX51" fmla="*/ 276164 w 1147260"/>
                <a:gd name="connsiteY51" fmla="*/ 309894 h 396267"/>
                <a:gd name="connsiteX52" fmla="*/ 253218 w 1147260"/>
                <a:gd name="connsiteY52" fmla="*/ 308051 h 396267"/>
                <a:gd name="connsiteX53" fmla="*/ 270430 w 1147260"/>
                <a:gd name="connsiteY53" fmla="*/ 284095 h 396267"/>
                <a:gd name="connsiteX54" fmla="*/ 300853 w 1147260"/>
                <a:gd name="connsiteY54" fmla="*/ 285580 h 396267"/>
                <a:gd name="connsiteX55" fmla="*/ 321106 w 1147260"/>
                <a:gd name="connsiteY55" fmla="*/ 295375 h 396267"/>
                <a:gd name="connsiteX56" fmla="*/ 331501 w 1147260"/>
                <a:gd name="connsiteY56" fmla="*/ 297290 h 396267"/>
                <a:gd name="connsiteX57" fmla="*/ 334927 w 1147260"/>
                <a:gd name="connsiteY57" fmla="*/ 306173 h 396267"/>
                <a:gd name="connsiteX58" fmla="*/ 989594 w 1147260"/>
                <a:gd name="connsiteY58" fmla="*/ 292057 h 396267"/>
                <a:gd name="connsiteX59" fmla="*/ 976695 w 1147260"/>
                <a:gd name="connsiteY59" fmla="*/ 309134 h 396267"/>
                <a:gd name="connsiteX60" fmla="*/ 974253 w 1147260"/>
                <a:gd name="connsiteY60" fmla="*/ 290259 h 396267"/>
                <a:gd name="connsiteX61" fmla="*/ 978707 w 1147260"/>
                <a:gd name="connsiteY61" fmla="*/ 281250 h 396267"/>
                <a:gd name="connsiteX62" fmla="*/ 983958 w 1147260"/>
                <a:gd name="connsiteY62" fmla="*/ 272788 h 396267"/>
                <a:gd name="connsiteX63" fmla="*/ 989665 w 1147260"/>
                <a:gd name="connsiteY63" fmla="*/ 280114 h 396267"/>
                <a:gd name="connsiteX64" fmla="*/ 989594 w 1147260"/>
                <a:gd name="connsiteY64" fmla="*/ 292057 h 396267"/>
                <a:gd name="connsiteX65" fmla="*/ 802097 w 1147260"/>
                <a:gd name="connsiteY65" fmla="*/ 223149 h 396267"/>
                <a:gd name="connsiteX66" fmla="*/ 792704 w 1147260"/>
                <a:gd name="connsiteY66" fmla="*/ 231433 h 396267"/>
                <a:gd name="connsiteX67" fmla="*/ 775367 w 1147260"/>
                <a:gd name="connsiteY67" fmla="*/ 226844 h 396267"/>
                <a:gd name="connsiteX68" fmla="*/ 770483 w 1147260"/>
                <a:gd name="connsiteY68" fmla="*/ 216109 h 396267"/>
                <a:gd name="connsiteX69" fmla="*/ 795853 w 1147260"/>
                <a:gd name="connsiteY69" fmla="*/ 214911 h 396267"/>
                <a:gd name="connsiteX70" fmla="*/ 802097 w 1147260"/>
                <a:gd name="connsiteY70" fmla="*/ 223149 h 396267"/>
                <a:gd name="connsiteX71" fmla="*/ 882910 w 1147260"/>
                <a:gd name="connsiteY71" fmla="*/ 214034 h 396267"/>
                <a:gd name="connsiteX72" fmla="*/ 892034 w 1147260"/>
                <a:gd name="connsiteY72" fmla="*/ 233124 h 396267"/>
                <a:gd name="connsiteX73" fmla="*/ 870861 w 1147260"/>
                <a:gd name="connsiteY73" fmla="*/ 222836 h 396267"/>
                <a:gd name="connsiteX74" fmla="*/ 849901 w 1147260"/>
                <a:gd name="connsiteY74" fmla="*/ 220752 h 396267"/>
                <a:gd name="connsiteX75" fmla="*/ 835749 w 1147260"/>
                <a:gd name="connsiteY75" fmla="*/ 222398 h 396267"/>
                <a:gd name="connsiteX76" fmla="*/ 818395 w 1147260"/>
                <a:gd name="connsiteY76" fmla="*/ 221521 h 396267"/>
                <a:gd name="connsiteX77" fmla="*/ 824344 w 1147260"/>
                <a:gd name="connsiteY77" fmla="*/ 207799 h 396267"/>
                <a:gd name="connsiteX78" fmla="*/ 855322 w 1147260"/>
                <a:gd name="connsiteY78" fmla="*/ 206761 h 396267"/>
                <a:gd name="connsiteX79" fmla="*/ 882910 w 1147260"/>
                <a:gd name="connsiteY79" fmla="*/ 214034 h 396267"/>
                <a:gd name="connsiteX80" fmla="*/ 975013 w 1147260"/>
                <a:gd name="connsiteY80" fmla="*/ 165612 h 396267"/>
                <a:gd name="connsiteX81" fmla="*/ 982017 w 1147260"/>
                <a:gd name="connsiteY81" fmla="*/ 205929 h 396267"/>
                <a:gd name="connsiteX82" fmla="*/ 1007968 w 1147260"/>
                <a:gd name="connsiteY82" fmla="*/ 220860 h 396267"/>
                <a:gd name="connsiteX83" fmla="*/ 1028936 w 1147260"/>
                <a:gd name="connsiteY83" fmla="*/ 194399 h 396267"/>
                <a:gd name="connsiteX84" fmla="*/ 1057714 w 1147260"/>
                <a:gd name="connsiteY84" fmla="*/ 179352 h 396267"/>
                <a:gd name="connsiteX85" fmla="*/ 1080015 w 1147260"/>
                <a:gd name="connsiteY85" fmla="*/ 179335 h 396267"/>
                <a:gd name="connsiteX86" fmla="*/ 1101457 w 1147260"/>
                <a:gd name="connsiteY86" fmla="*/ 188029 h 396267"/>
                <a:gd name="connsiteX87" fmla="*/ 1120064 w 1147260"/>
                <a:gd name="connsiteY87" fmla="*/ 196948 h 396267"/>
                <a:gd name="connsiteX88" fmla="*/ 1146990 w 1147260"/>
                <a:gd name="connsiteY88" fmla="*/ 201716 h 396267"/>
                <a:gd name="connsiteX89" fmla="*/ 1147411 w 1147260"/>
                <a:gd name="connsiteY89" fmla="*/ 283147 h 396267"/>
                <a:gd name="connsiteX90" fmla="*/ 1147840 w 1147260"/>
                <a:gd name="connsiteY90" fmla="*/ 365061 h 396267"/>
                <a:gd name="connsiteX91" fmla="*/ 1125503 w 1147260"/>
                <a:gd name="connsiteY91" fmla="*/ 344370 h 396267"/>
                <a:gd name="connsiteX92" fmla="*/ 1100026 w 1147260"/>
                <a:gd name="connsiteY92" fmla="*/ 339307 h 396267"/>
                <a:gd name="connsiteX93" fmla="*/ 1093854 w 1147260"/>
                <a:gd name="connsiteY93" fmla="*/ 346481 h 396267"/>
                <a:gd name="connsiteX94" fmla="*/ 1062071 w 1147260"/>
                <a:gd name="connsiteY94" fmla="*/ 347250 h 396267"/>
                <a:gd name="connsiteX95" fmla="*/ 1072716 w 1147260"/>
                <a:gd name="connsiteY95" fmla="*/ 326774 h 396267"/>
                <a:gd name="connsiteX96" fmla="*/ 1088514 w 1147260"/>
                <a:gd name="connsiteY96" fmla="*/ 319797 h 396267"/>
                <a:gd name="connsiteX97" fmla="*/ 1081974 w 1147260"/>
                <a:gd name="connsiteY97" fmla="*/ 292513 h 396267"/>
                <a:gd name="connsiteX98" fmla="*/ 1069934 w 1147260"/>
                <a:gd name="connsiteY98" fmla="*/ 271491 h 396267"/>
                <a:gd name="connsiteX99" fmla="*/ 1021306 w 1147260"/>
                <a:gd name="connsiteY99" fmla="*/ 250308 h 396267"/>
                <a:gd name="connsiteX100" fmla="*/ 1000615 w 1147260"/>
                <a:gd name="connsiteY100" fmla="*/ 248224 h 396267"/>
                <a:gd name="connsiteX101" fmla="*/ 962954 w 1147260"/>
                <a:gd name="connsiteY101" fmla="*/ 225144 h 396267"/>
                <a:gd name="connsiteX102" fmla="*/ 955548 w 1147260"/>
                <a:gd name="connsiteY102" fmla="*/ 237274 h 396267"/>
                <a:gd name="connsiteX103" fmla="*/ 945922 w 1147260"/>
                <a:gd name="connsiteY103" fmla="*/ 239475 h 396267"/>
                <a:gd name="connsiteX104" fmla="*/ 940224 w 1147260"/>
                <a:gd name="connsiteY104" fmla="*/ 230315 h 396267"/>
                <a:gd name="connsiteX105" fmla="*/ 940144 w 1147260"/>
                <a:gd name="connsiteY105" fmla="*/ 219473 h 396267"/>
                <a:gd name="connsiteX106" fmla="*/ 920982 w 1147260"/>
                <a:gd name="connsiteY106" fmla="*/ 207217 h 396267"/>
                <a:gd name="connsiteX107" fmla="*/ 947998 w 1147260"/>
                <a:gd name="connsiteY107" fmla="*/ 198236 h 396267"/>
                <a:gd name="connsiteX108" fmla="*/ 965889 w 1147260"/>
                <a:gd name="connsiteY108" fmla="*/ 198719 h 396267"/>
                <a:gd name="connsiteX109" fmla="*/ 963787 w 1147260"/>
                <a:gd name="connsiteY109" fmla="*/ 192100 h 396267"/>
                <a:gd name="connsiteX110" fmla="*/ 927074 w 1147260"/>
                <a:gd name="connsiteY110" fmla="*/ 192055 h 396267"/>
                <a:gd name="connsiteX111" fmla="*/ 917144 w 1147260"/>
                <a:gd name="connsiteY111" fmla="*/ 177214 h 396267"/>
                <a:gd name="connsiteX112" fmla="*/ 894736 w 1147260"/>
                <a:gd name="connsiteY112" fmla="*/ 172616 h 396267"/>
                <a:gd name="connsiteX113" fmla="*/ 884118 w 1147260"/>
                <a:gd name="connsiteY113" fmla="*/ 160289 h 396267"/>
                <a:gd name="connsiteX114" fmla="*/ 917923 w 1147260"/>
                <a:gd name="connsiteY114" fmla="*/ 154251 h 396267"/>
                <a:gd name="connsiteX115" fmla="*/ 930786 w 1147260"/>
                <a:gd name="connsiteY115" fmla="*/ 146129 h 396267"/>
                <a:gd name="connsiteX116" fmla="*/ 971050 w 1147260"/>
                <a:gd name="connsiteY116" fmla="*/ 156362 h 396267"/>
                <a:gd name="connsiteX117" fmla="*/ 975013 w 1147260"/>
                <a:gd name="connsiteY117" fmla="*/ 165612 h 396267"/>
                <a:gd name="connsiteX118" fmla="*/ 751715 w 1147260"/>
                <a:gd name="connsiteY118" fmla="*/ 101544 h 396267"/>
                <a:gd name="connsiteX119" fmla="*/ 731561 w 1147260"/>
                <a:gd name="connsiteY119" fmla="*/ 126261 h 396267"/>
                <a:gd name="connsiteX120" fmla="*/ 712713 w 1147260"/>
                <a:gd name="connsiteY120" fmla="*/ 131056 h 396267"/>
                <a:gd name="connsiteX121" fmla="*/ 688578 w 1147260"/>
                <a:gd name="connsiteY121" fmla="*/ 126189 h 396267"/>
                <a:gd name="connsiteX122" fmla="*/ 646776 w 1147260"/>
                <a:gd name="connsiteY122" fmla="*/ 127433 h 396267"/>
                <a:gd name="connsiteX123" fmla="*/ 624868 w 1147260"/>
                <a:gd name="connsiteY123" fmla="*/ 131020 h 396267"/>
                <a:gd name="connsiteX124" fmla="*/ 621308 w 1147260"/>
                <a:gd name="connsiteY124" fmla="*/ 149877 h 396267"/>
                <a:gd name="connsiteX125" fmla="*/ 643761 w 1147260"/>
                <a:gd name="connsiteY125" fmla="*/ 172035 h 396267"/>
                <a:gd name="connsiteX126" fmla="*/ 657304 w 1147260"/>
                <a:gd name="connsiteY126" fmla="*/ 160746 h 396267"/>
                <a:gd name="connsiteX127" fmla="*/ 704080 w 1147260"/>
                <a:gd name="connsiteY127" fmla="*/ 152265 h 396267"/>
                <a:gd name="connsiteX128" fmla="*/ 702023 w 1147260"/>
                <a:gd name="connsiteY128" fmla="*/ 163742 h 396267"/>
                <a:gd name="connsiteX129" fmla="*/ 691092 w 1147260"/>
                <a:gd name="connsiteY129" fmla="*/ 160120 h 396267"/>
                <a:gd name="connsiteX130" fmla="*/ 680196 w 1147260"/>
                <a:gd name="connsiteY130" fmla="*/ 174718 h 396267"/>
                <a:gd name="connsiteX131" fmla="*/ 658118 w 1147260"/>
                <a:gd name="connsiteY131" fmla="*/ 184380 h 396267"/>
                <a:gd name="connsiteX132" fmla="*/ 681851 w 1147260"/>
                <a:gd name="connsiteY132" fmla="*/ 216342 h 396267"/>
                <a:gd name="connsiteX133" fmla="*/ 677262 w 1147260"/>
                <a:gd name="connsiteY133" fmla="*/ 224912 h 396267"/>
                <a:gd name="connsiteX134" fmla="*/ 699814 w 1147260"/>
                <a:gd name="connsiteY134" fmla="*/ 253743 h 396267"/>
                <a:gd name="connsiteX135" fmla="*/ 699599 w 1147260"/>
                <a:gd name="connsiteY135" fmla="*/ 270176 h 396267"/>
                <a:gd name="connsiteX136" fmla="*/ 686207 w 1147260"/>
                <a:gd name="connsiteY136" fmla="*/ 277529 h 396267"/>
                <a:gd name="connsiteX137" fmla="*/ 676368 w 1147260"/>
                <a:gd name="connsiteY137" fmla="*/ 268727 h 396267"/>
                <a:gd name="connsiteX138" fmla="*/ 688489 w 1147260"/>
                <a:gd name="connsiteY138" fmla="*/ 248250 h 396267"/>
                <a:gd name="connsiteX139" fmla="*/ 663870 w 1147260"/>
                <a:gd name="connsiteY139" fmla="*/ 257930 h 396267"/>
                <a:gd name="connsiteX140" fmla="*/ 657636 w 1147260"/>
                <a:gd name="connsiteY140" fmla="*/ 251015 h 396267"/>
                <a:gd name="connsiteX141" fmla="*/ 660883 w 1147260"/>
                <a:gd name="connsiteY141" fmla="*/ 241363 h 396267"/>
                <a:gd name="connsiteX142" fmla="*/ 642804 w 1147260"/>
                <a:gd name="connsiteY142" fmla="*/ 226719 h 396267"/>
                <a:gd name="connsiteX143" fmla="*/ 644665 w 1147260"/>
                <a:gd name="connsiteY143" fmla="*/ 202405 h 396267"/>
                <a:gd name="connsiteX144" fmla="*/ 627937 w 1147260"/>
                <a:gd name="connsiteY144" fmla="*/ 209991 h 396267"/>
                <a:gd name="connsiteX145" fmla="*/ 630057 w 1147260"/>
                <a:gd name="connsiteY145" fmla="*/ 239090 h 396267"/>
                <a:gd name="connsiteX146" fmla="*/ 631076 w 1147260"/>
                <a:gd name="connsiteY146" fmla="*/ 274863 h 396267"/>
                <a:gd name="connsiteX147" fmla="*/ 615171 w 1147260"/>
                <a:gd name="connsiteY147" fmla="*/ 278495 h 396267"/>
                <a:gd name="connsiteX148" fmla="*/ 604401 w 1147260"/>
                <a:gd name="connsiteY148" fmla="*/ 271151 h 396267"/>
                <a:gd name="connsiteX149" fmla="*/ 611593 w 1147260"/>
                <a:gd name="connsiteY149" fmla="*/ 248134 h 396267"/>
                <a:gd name="connsiteX150" fmla="*/ 607710 w 1147260"/>
                <a:gd name="connsiteY150" fmla="*/ 224035 h 396267"/>
                <a:gd name="connsiteX151" fmla="*/ 597155 w 1147260"/>
                <a:gd name="connsiteY151" fmla="*/ 223847 h 396267"/>
                <a:gd name="connsiteX152" fmla="*/ 589364 w 1147260"/>
                <a:gd name="connsiteY152" fmla="*/ 206752 h 396267"/>
                <a:gd name="connsiteX153" fmla="*/ 599731 w 1147260"/>
                <a:gd name="connsiteY153" fmla="*/ 190418 h 396267"/>
                <a:gd name="connsiteX154" fmla="*/ 603301 w 1147260"/>
                <a:gd name="connsiteY154" fmla="*/ 170630 h 396267"/>
                <a:gd name="connsiteX155" fmla="*/ 615905 w 1147260"/>
                <a:gd name="connsiteY155" fmla="*/ 133068 h 396267"/>
                <a:gd name="connsiteX156" fmla="*/ 621165 w 1147260"/>
                <a:gd name="connsiteY156" fmla="*/ 122799 h 396267"/>
                <a:gd name="connsiteX157" fmla="*/ 642491 w 1147260"/>
                <a:gd name="connsiteY157" fmla="*/ 104291 h 396267"/>
                <a:gd name="connsiteX158" fmla="*/ 662073 w 1147260"/>
                <a:gd name="connsiteY158" fmla="*/ 111653 h 396267"/>
                <a:gd name="connsiteX159" fmla="*/ 693695 w 1147260"/>
                <a:gd name="connsiteY159" fmla="*/ 115115 h 396267"/>
                <a:gd name="connsiteX160" fmla="*/ 722544 w 1147260"/>
                <a:gd name="connsiteY160" fmla="*/ 114068 h 396267"/>
                <a:gd name="connsiteX161" fmla="*/ 747332 w 1147260"/>
                <a:gd name="connsiteY161" fmla="*/ 95971 h 396267"/>
                <a:gd name="connsiteX162" fmla="*/ 751715 w 1147260"/>
                <a:gd name="connsiteY162" fmla="*/ 101544 h 396267"/>
                <a:gd name="connsiteX163" fmla="*/ 838191 w 1147260"/>
                <a:gd name="connsiteY163" fmla="*/ 108701 h 396267"/>
                <a:gd name="connsiteX164" fmla="*/ 836885 w 1147260"/>
                <a:gd name="connsiteY164" fmla="*/ 130474 h 396267"/>
                <a:gd name="connsiteX165" fmla="*/ 823950 w 1147260"/>
                <a:gd name="connsiteY165" fmla="*/ 128041 h 396267"/>
                <a:gd name="connsiteX166" fmla="*/ 820131 w 1147260"/>
                <a:gd name="connsiteY166" fmla="*/ 143204 h 396267"/>
                <a:gd name="connsiteX167" fmla="*/ 830462 w 1147260"/>
                <a:gd name="connsiteY167" fmla="*/ 156354 h 396267"/>
                <a:gd name="connsiteX168" fmla="*/ 823440 w 1147260"/>
                <a:gd name="connsiteY168" fmla="*/ 159341 h 396267"/>
                <a:gd name="connsiteX169" fmla="*/ 813314 w 1147260"/>
                <a:gd name="connsiteY169" fmla="*/ 143561 h 396267"/>
                <a:gd name="connsiteX170" fmla="*/ 805862 w 1147260"/>
                <a:gd name="connsiteY170" fmla="*/ 111706 h 396267"/>
                <a:gd name="connsiteX171" fmla="*/ 810908 w 1147260"/>
                <a:gd name="connsiteY171" fmla="*/ 91794 h 396267"/>
                <a:gd name="connsiteX172" fmla="*/ 819227 w 1147260"/>
                <a:gd name="connsiteY172" fmla="*/ 82723 h 396267"/>
                <a:gd name="connsiteX173" fmla="*/ 821034 w 1147260"/>
                <a:gd name="connsiteY173" fmla="*/ 96338 h 396267"/>
                <a:gd name="connsiteX174" fmla="*/ 835839 w 1147260"/>
                <a:gd name="connsiteY174" fmla="*/ 98521 h 396267"/>
                <a:gd name="connsiteX175" fmla="*/ 838191 w 1147260"/>
                <a:gd name="connsiteY175" fmla="*/ 108701 h 396267"/>
                <a:gd name="connsiteX176" fmla="*/ 566991 w 1147260"/>
                <a:gd name="connsiteY176" fmla="*/ 91373 h 396267"/>
                <a:gd name="connsiteX177" fmla="*/ 595116 w 1147260"/>
                <a:gd name="connsiteY177" fmla="*/ 114435 h 396267"/>
                <a:gd name="connsiteX178" fmla="*/ 565398 w 1147260"/>
                <a:gd name="connsiteY178" fmla="*/ 117378 h 396267"/>
                <a:gd name="connsiteX179" fmla="*/ 557026 w 1147260"/>
                <a:gd name="connsiteY179" fmla="*/ 134356 h 396267"/>
                <a:gd name="connsiteX180" fmla="*/ 558117 w 1147260"/>
                <a:gd name="connsiteY180" fmla="*/ 156935 h 396267"/>
                <a:gd name="connsiteX181" fmla="*/ 534000 w 1147260"/>
                <a:gd name="connsiteY181" fmla="*/ 173976 h 396267"/>
                <a:gd name="connsiteX182" fmla="*/ 533338 w 1147260"/>
                <a:gd name="connsiteY182" fmla="*/ 198800 h 396267"/>
                <a:gd name="connsiteX183" fmla="*/ 523668 w 1147260"/>
                <a:gd name="connsiteY183" fmla="*/ 236961 h 396267"/>
                <a:gd name="connsiteX184" fmla="*/ 519973 w 1147260"/>
                <a:gd name="connsiteY184" fmla="*/ 228078 h 396267"/>
                <a:gd name="connsiteX185" fmla="*/ 491473 w 1147260"/>
                <a:gd name="connsiteY185" fmla="*/ 239314 h 396267"/>
                <a:gd name="connsiteX186" fmla="*/ 481543 w 1147260"/>
                <a:gd name="connsiteY186" fmla="*/ 224044 h 396267"/>
                <a:gd name="connsiteX187" fmla="*/ 463661 w 1147260"/>
                <a:gd name="connsiteY187" fmla="*/ 222631 h 396267"/>
                <a:gd name="connsiteX188" fmla="*/ 451156 w 1147260"/>
                <a:gd name="connsiteY188" fmla="*/ 214633 h 396267"/>
                <a:gd name="connsiteX189" fmla="*/ 421340 w 1147260"/>
                <a:gd name="connsiteY189" fmla="*/ 223606 h 396267"/>
                <a:gd name="connsiteX190" fmla="*/ 412189 w 1147260"/>
                <a:gd name="connsiteY190" fmla="*/ 211529 h 396267"/>
                <a:gd name="connsiteX191" fmla="*/ 395765 w 1147260"/>
                <a:gd name="connsiteY191" fmla="*/ 212907 h 396267"/>
                <a:gd name="connsiteX192" fmla="*/ 375083 w 1147260"/>
                <a:gd name="connsiteY192" fmla="*/ 210027 h 396267"/>
                <a:gd name="connsiteX193" fmla="*/ 371246 w 1147260"/>
                <a:gd name="connsiteY193" fmla="*/ 176588 h 396267"/>
                <a:gd name="connsiteX194" fmla="*/ 358731 w 1147260"/>
                <a:gd name="connsiteY194" fmla="*/ 169664 h 396267"/>
                <a:gd name="connsiteX195" fmla="*/ 346690 w 1147260"/>
                <a:gd name="connsiteY195" fmla="*/ 148347 h 396267"/>
                <a:gd name="connsiteX196" fmla="*/ 343193 w 1147260"/>
                <a:gd name="connsiteY196" fmla="*/ 126547 h 396267"/>
                <a:gd name="connsiteX197" fmla="*/ 346109 w 1147260"/>
                <a:gd name="connsiteY197" fmla="*/ 103459 h 396267"/>
                <a:gd name="connsiteX198" fmla="*/ 361011 w 1147260"/>
                <a:gd name="connsiteY198" fmla="*/ 86892 h 396267"/>
                <a:gd name="connsiteX199" fmla="*/ 365207 w 1147260"/>
                <a:gd name="connsiteY199" fmla="*/ 103548 h 396267"/>
                <a:gd name="connsiteX200" fmla="*/ 382356 w 1147260"/>
                <a:gd name="connsiteY200" fmla="*/ 117628 h 396267"/>
                <a:gd name="connsiteX201" fmla="*/ 398538 w 1147260"/>
                <a:gd name="connsiteY201" fmla="*/ 112565 h 396267"/>
                <a:gd name="connsiteX202" fmla="*/ 414551 w 1147260"/>
                <a:gd name="connsiteY202" fmla="*/ 114363 h 396267"/>
                <a:gd name="connsiteX203" fmla="*/ 429167 w 1147260"/>
                <a:gd name="connsiteY203" fmla="*/ 101759 h 396267"/>
                <a:gd name="connsiteX204" fmla="*/ 441199 w 1147260"/>
                <a:gd name="connsiteY204" fmla="*/ 99576 h 396267"/>
                <a:gd name="connsiteX205" fmla="*/ 464923 w 1147260"/>
                <a:gd name="connsiteY205" fmla="*/ 106563 h 396267"/>
                <a:gd name="connsiteX206" fmla="*/ 485381 w 1147260"/>
                <a:gd name="connsiteY206" fmla="*/ 101249 h 396267"/>
                <a:gd name="connsiteX207" fmla="*/ 498244 w 1147260"/>
                <a:gd name="connsiteY207" fmla="*/ 66576 h 396267"/>
                <a:gd name="connsiteX208" fmla="*/ 507897 w 1147260"/>
                <a:gd name="connsiteY208" fmla="*/ 57899 h 396267"/>
                <a:gd name="connsiteX209" fmla="*/ 516592 w 1147260"/>
                <a:gd name="connsiteY209" fmla="*/ 29497 h 396267"/>
                <a:gd name="connsiteX210" fmla="*/ 545432 w 1147260"/>
                <a:gd name="connsiteY210" fmla="*/ 29506 h 396267"/>
                <a:gd name="connsiteX211" fmla="*/ 567170 w 1147260"/>
                <a:gd name="connsiteY211" fmla="*/ 33720 h 396267"/>
                <a:gd name="connsiteX212" fmla="*/ 552902 w 1147260"/>
                <a:gd name="connsiteY212" fmla="*/ 56271 h 396267"/>
                <a:gd name="connsiteX213" fmla="*/ 571347 w 1147260"/>
                <a:gd name="connsiteY213" fmla="*/ 79887 h 396267"/>
                <a:gd name="connsiteX214" fmla="*/ 566991 w 1147260"/>
                <a:gd name="connsiteY214" fmla="*/ 91373 h 396267"/>
                <a:gd name="connsiteX215" fmla="*/ 264553 w 1147260"/>
                <a:gd name="connsiteY215" fmla="*/ 282977 h 396267"/>
                <a:gd name="connsiteX216" fmla="*/ 236786 w 1147260"/>
                <a:gd name="connsiteY216" fmla="*/ 283505 h 396267"/>
                <a:gd name="connsiteX217" fmla="*/ 215665 w 1147260"/>
                <a:gd name="connsiteY217" fmla="*/ 262581 h 396267"/>
                <a:gd name="connsiteX218" fmla="*/ 183452 w 1147260"/>
                <a:gd name="connsiteY218" fmla="*/ 242159 h 396267"/>
                <a:gd name="connsiteX219" fmla="*/ 172718 w 1147260"/>
                <a:gd name="connsiteY219" fmla="*/ 227023 h 396267"/>
                <a:gd name="connsiteX220" fmla="*/ 153736 w 1147260"/>
                <a:gd name="connsiteY220" fmla="*/ 206708 h 396267"/>
                <a:gd name="connsiteX221" fmla="*/ 141275 w 1147260"/>
                <a:gd name="connsiteY221" fmla="*/ 188020 h 396267"/>
                <a:gd name="connsiteX222" fmla="*/ 122194 w 1147260"/>
                <a:gd name="connsiteY222" fmla="*/ 153133 h 396267"/>
                <a:gd name="connsiteX223" fmla="*/ 100170 w 1147260"/>
                <a:gd name="connsiteY223" fmla="*/ 132371 h 396267"/>
                <a:gd name="connsiteX224" fmla="*/ 92799 w 1147260"/>
                <a:gd name="connsiteY224" fmla="*/ 110946 h 396267"/>
                <a:gd name="connsiteX225" fmla="*/ 83558 w 1147260"/>
                <a:gd name="connsiteY225" fmla="*/ 91490 h 396267"/>
                <a:gd name="connsiteX226" fmla="*/ 60944 w 1147260"/>
                <a:gd name="connsiteY226" fmla="*/ 75790 h 396267"/>
                <a:gd name="connsiteX227" fmla="*/ 47830 w 1147260"/>
                <a:gd name="connsiteY227" fmla="*/ 54446 h 396267"/>
                <a:gd name="connsiteX228" fmla="*/ 28946 w 1147260"/>
                <a:gd name="connsiteY228" fmla="*/ 40464 h 396267"/>
                <a:gd name="connsiteX229" fmla="*/ 2780 w 1147260"/>
                <a:gd name="connsiteY229" fmla="*/ 12930 h 396267"/>
                <a:gd name="connsiteX230" fmla="*/ 579 w 1147260"/>
                <a:gd name="connsiteY230" fmla="*/ 192 h 396267"/>
                <a:gd name="connsiteX231" fmla="*/ 16735 w 1147260"/>
                <a:gd name="connsiteY231" fmla="*/ 1203 h 396267"/>
                <a:gd name="connsiteX232" fmla="*/ 55558 w 1147260"/>
                <a:gd name="connsiteY232" fmla="*/ 6042 h 396267"/>
                <a:gd name="connsiteX233" fmla="*/ 77734 w 1147260"/>
                <a:gd name="connsiteY233" fmla="*/ 30490 h 396267"/>
                <a:gd name="connsiteX234" fmla="*/ 97137 w 1147260"/>
                <a:gd name="connsiteY234" fmla="*/ 47424 h 396267"/>
                <a:gd name="connsiteX235" fmla="*/ 110967 w 1147260"/>
                <a:gd name="connsiteY235" fmla="*/ 57810 h 396267"/>
                <a:gd name="connsiteX236" fmla="*/ 134726 w 1147260"/>
                <a:gd name="connsiteY236" fmla="*/ 84619 h 396267"/>
                <a:gd name="connsiteX237" fmla="*/ 160230 w 1147260"/>
                <a:gd name="connsiteY237" fmla="*/ 85004 h 396267"/>
                <a:gd name="connsiteX238" fmla="*/ 181297 w 1147260"/>
                <a:gd name="connsiteY238" fmla="*/ 102081 h 396267"/>
                <a:gd name="connsiteX239" fmla="*/ 195815 w 1147260"/>
                <a:gd name="connsiteY239" fmla="*/ 122951 h 396267"/>
                <a:gd name="connsiteX240" fmla="*/ 214914 w 1147260"/>
                <a:gd name="connsiteY240" fmla="*/ 134330 h 396267"/>
                <a:gd name="connsiteX241" fmla="*/ 204868 w 1147260"/>
                <a:gd name="connsiteY241" fmla="*/ 154672 h 396267"/>
                <a:gd name="connsiteX242" fmla="*/ 219234 w 1147260"/>
                <a:gd name="connsiteY242" fmla="*/ 163322 h 396267"/>
                <a:gd name="connsiteX243" fmla="*/ 228243 w 1147260"/>
                <a:gd name="connsiteY243" fmla="*/ 163957 h 396267"/>
                <a:gd name="connsiteX244" fmla="*/ 232501 w 1147260"/>
                <a:gd name="connsiteY244" fmla="*/ 181338 h 396267"/>
                <a:gd name="connsiteX245" fmla="*/ 241240 w 1147260"/>
                <a:gd name="connsiteY245" fmla="*/ 195249 h 396267"/>
                <a:gd name="connsiteX246" fmla="*/ 259659 w 1147260"/>
                <a:gd name="connsiteY246" fmla="*/ 197458 h 396267"/>
                <a:gd name="connsiteX247" fmla="*/ 271861 w 1147260"/>
                <a:gd name="connsiteY247" fmla="*/ 213247 h 396267"/>
                <a:gd name="connsiteX248" fmla="*/ 265563 w 1147260"/>
                <a:gd name="connsiteY248" fmla="*/ 244297 h 396267"/>
                <a:gd name="connsiteX249" fmla="*/ 264553 w 1147260"/>
                <a:gd name="connsiteY249" fmla="*/ 282977 h 39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1147260" h="396267">
                  <a:moveTo>
                    <a:pt x="638224" y="393409"/>
                  </a:moveTo>
                  <a:lnTo>
                    <a:pt x="627668" y="393892"/>
                  </a:lnTo>
                  <a:lnTo>
                    <a:pt x="594382" y="376171"/>
                  </a:lnTo>
                  <a:lnTo>
                    <a:pt x="617765" y="371206"/>
                  </a:lnTo>
                  <a:lnTo>
                    <a:pt x="630951" y="378900"/>
                  </a:lnTo>
                  <a:lnTo>
                    <a:pt x="639718" y="386575"/>
                  </a:lnTo>
                  <a:lnTo>
                    <a:pt x="638224" y="393409"/>
                  </a:lnTo>
                  <a:close/>
                  <a:moveTo>
                    <a:pt x="731534" y="390887"/>
                  </a:moveTo>
                  <a:lnTo>
                    <a:pt x="710065" y="396459"/>
                  </a:lnTo>
                  <a:lnTo>
                    <a:pt x="707059" y="393418"/>
                  </a:lnTo>
                  <a:lnTo>
                    <a:pt x="709314" y="384812"/>
                  </a:lnTo>
                  <a:lnTo>
                    <a:pt x="720102" y="369390"/>
                  </a:lnTo>
                  <a:lnTo>
                    <a:pt x="744890" y="359371"/>
                  </a:lnTo>
                  <a:lnTo>
                    <a:pt x="747430" y="364345"/>
                  </a:lnTo>
                  <a:lnTo>
                    <a:pt x="747896" y="372003"/>
                  </a:lnTo>
                  <a:lnTo>
                    <a:pt x="731534" y="390887"/>
                  </a:lnTo>
                  <a:close/>
                  <a:moveTo>
                    <a:pt x="567599" y="339298"/>
                  </a:moveTo>
                  <a:lnTo>
                    <a:pt x="576643" y="346007"/>
                  </a:lnTo>
                  <a:lnTo>
                    <a:pt x="592137" y="343949"/>
                  </a:lnTo>
                  <a:lnTo>
                    <a:pt x="598354" y="354657"/>
                  </a:lnTo>
                  <a:lnTo>
                    <a:pt x="569361" y="359720"/>
                  </a:lnTo>
                  <a:lnTo>
                    <a:pt x="551989" y="363102"/>
                  </a:lnTo>
                  <a:lnTo>
                    <a:pt x="538508" y="362905"/>
                  </a:lnTo>
                  <a:lnTo>
                    <a:pt x="547123" y="348386"/>
                  </a:lnTo>
                  <a:lnTo>
                    <a:pt x="560881" y="348190"/>
                  </a:lnTo>
                  <a:lnTo>
                    <a:pt x="567599" y="339298"/>
                  </a:lnTo>
                  <a:close/>
                  <a:moveTo>
                    <a:pt x="693096" y="339262"/>
                  </a:moveTo>
                  <a:lnTo>
                    <a:pt x="689419" y="353253"/>
                  </a:lnTo>
                  <a:lnTo>
                    <a:pt x="651731" y="360409"/>
                  </a:lnTo>
                  <a:lnTo>
                    <a:pt x="618374" y="357296"/>
                  </a:lnTo>
                  <a:lnTo>
                    <a:pt x="618284" y="348082"/>
                  </a:lnTo>
                  <a:lnTo>
                    <a:pt x="638215" y="342849"/>
                  </a:lnTo>
                  <a:lnTo>
                    <a:pt x="653932" y="350399"/>
                  </a:lnTo>
                  <a:lnTo>
                    <a:pt x="670624" y="348485"/>
                  </a:lnTo>
                  <a:lnTo>
                    <a:pt x="693096" y="339262"/>
                  </a:lnTo>
                  <a:close/>
                  <a:moveTo>
                    <a:pt x="334927" y="306173"/>
                  </a:moveTo>
                  <a:lnTo>
                    <a:pt x="382973" y="308677"/>
                  </a:lnTo>
                  <a:lnTo>
                    <a:pt x="388502" y="298336"/>
                  </a:lnTo>
                  <a:lnTo>
                    <a:pt x="435027" y="310404"/>
                  </a:lnTo>
                  <a:lnTo>
                    <a:pt x="444160" y="326685"/>
                  </a:lnTo>
                  <a:lnTo>
                    <a:pt x="481794" y="331274"/>
                  </a:lnTo>
                  <a:lnTo>
                    <a:pt x="512548" y="346231"/>
                  </a:lnTo>
                  <a:lnTo>
                    <a:pt x="483932" y="355829"/>
                  </a:lnTo>
                  <a:lnTo>
                    <a:pt x="456353" y="345676"/>
                  </a:lnTo>
                  <a:lnTo>
                    <a:pt x="433649" y="346365"/>
                  </a:lnTo>
                  <a:lnTo>
                    <a:pt x="407626" y="344504"/>
                  </a:lnTo>
                  <a:lnTo>
                    <a:pt x="384154" y="339987"/>
                  </a:lnTo>
                  <a:lnTo>
                    <a:pt x="355099" y="330379"/>
                  </a:lnTo>
                  <a:lnTo>
                    <a:pt x="336680" y="327892"/>
                  </a:lnTo>
                  <a:lnTo>
                    <a:pt x="326249" y="331041"/>
                  </a:lnTo>
                  <a:lnTo>
                    <a:pt x="280511" y="320691"/>
                  </a:lnTo>
                  <a:lnTo>
                    <a:pt x="276164" y="309894"/>
                  </a:lnTo>
                  <a:lnTo>
                    <a:pt x="253218" y="308051"/>
                  </a:lnTo>
                  <a:lnTo>
                    <a:pt x="270430" y="284095"/>
                  </a:lnTo>
                  <a:lnTo>
                    <a:pt x="300853" y="285580"/>
                  </a:lnTo>
                  <a:lnTo>
                    <a:pt x="321106" y="295375"/>
                  </a:lnTo>
                  <a:lnTo>
                    <a:pt x="331501" y="297290"/>
                  </a:lnTo>
                  <a:lnTo>
                    <a:pt x="334927" y="306173"/>
                  </a:lnTo>
                  <a:close/>
                  <a:moveTo>
                    <a:pt x="989594" y="292057"/>
                  </a:moveTo>
                  <a:lnTo>
                    <a:pt x="976695" y="309134"/>
                  </a:lnTo>
                  <a:lnTo>
                    <a:pt x="974253" y="290259"/>
                  </a:lnTo>
                  <a:lnTo>
                    <a:pt x="978707" y="281250"/>
                  </a:lnTo>
                  <a:lnTo>
                    <a:pt x="983958" y="272788"/>
                  </a:lnTo>
                  <a:lnTo>
                    <a:pt x="989665" y="280114"/>
                  </a:lnTo>
                  <a:lnTo>
                    <a:pt x="989594" y="292057"/>
                  </a:lnTo>
                  <a:close/>
                  <a:moveTo>
                    <a:pt x="802097" y="223149"/>
                  </a:moveTo>
                  <a:lnTo>
                    <a:pt x="792704" y="231433"/>
                  </a:lnTo>
                  <a:lnTo>
                    <a:pt x="775367" y="226844"/>
                  </a:lnTo>
                  <a:lnTo>
                    <a:pt x="770483" y="216109"/>
                  </a:lnTo>
                  <a:lnTo>
                    <a:pt x="795853" y="214911"/>
                  </a:lnTo>
                  <a:lnTo>
                    <a:pt x="802097" y="223149"/>
                  </a:lnTo>
                  <a:close/>
                  <a:moveTo>
                    <a:pt x="882910" y="214034"/>
                  </a:moveTo>
                  <a:lnTo>
                    <a:pt x="892034" y="233124"/>
                  </a:lnTo>
                  <a:lnTo>
                    <a:pt x="870861" y="222836"/>
                  </a:lnTo>
                  <a:lnTo>
                    <a:pt x="849901" y="220752"/>
                  </a:lnTo>
                  <a:lnTo>
                    <a:pt x="835749" y="222398"/>
                  </a:lnTo>
                  <a:lnTo>
                    <a:pt x="818395" y="221521"/>
                  </a:lnTo>
                  <a:lnTo>
                    <a:pt x="824344" y="207799"/>
                  </a:lnTo>
                  <a:lnTo>
                    <a:pt x="855322" y="206761"/>
                  </a:lnTo>
                  <a:lnTo>
                    <a:pt x="882910" y="214034"/>
                  </a:lnTo>
                  <a:close/>
                  <a:moveTo>
                    <a:pt x="975013" y="165612"/>
                  </a:moveTo>
                  <a:lnTo>
                    <a:pt x="982017" y="205929"/>
                  </a:lnTo>
                  <a:lnTo>
                    <a:pt x="1007968" y="220860"/>
                  </a:lnTo>
                  <a:lnTo>
                    <a:pt x="1028936" y="194399"/>
                  </a:lnTo>
                  <a:lnTo>
                    <a:pt x="1057714" y="179352"/>
                  </a:lnTo>
                  <a:lnTo>
                    <a:pt x="1080015" y="179335"/>
                  </a:lnTo>
                  <a:lnTo>
                    <a:pt x="1101457" y="188029"/>
                  </a:lnTo>
                  <a:lnTo>
                    <a:pt x="1120064" y="196948"/>
                  </a:lnTo>
                  <a:lnTo>
                    <a:pt x="1146990" y="201716"/>
                  </a:lnTo>
                  <a:lnTo>
                    <a:pt x="1147411" y="283147"/>
                  </a:lnTo>
                  <a:lnTo>
                    <a:pt x="1147840" y="365061"/>
                  </a:lnTo>
                  <a:lnTo>
                    <a:pt x="1125503" y="344370"/>
                  </a:lnTo>
                  <a:lnTo>
                    <a:pt x="1100026" y="339307"/>
                  </a:lnTo>
                  <a:lnTo>
                    <a:pt x="1093854" y="346481"/>
                  </a:lnTo>
                  <a:lnTo>
                    <a:pt x="1062071" y="347250"/>
                  </a:lnTo>
                  <a:lnTo>
                    <a:pt x="1072716" y="326774"/>
                  </a:lnTo>
                  <a:lnTo>
                    <a:pt x="1088514" y="319797"/>
                  </a:lnTo>
                  <a:lnTo>
                    <a:pt x="1081974" y="292513"/>
                  </a:lnTo>
                  <a:lnTo>
                    <a:pt x="1069934" y="271491"/>
                  </a:lnTo>
                  <a:lnTo>
                    <a:pt x="1021306" y="250308"/>
                  </a:lnTo>
                  <a:lnTo>
                    <a:pt x="1000615" y="248224"/>
                  </a:lnTo>
                  <a:lnTo>
                    <a:pt x="962954" y="225144"/>
                  </a:lnTo>
                  <a:lnTo>
                    <a:pt x="955548" y="237274"/>
                  </a:lnTo>
                  <a:lnTo>
                    <a:pt x="945922" y="239475"/>
                  </a:lnTo>
                  <a:lnTo>
                    <a:pt x="940224" y="230315"/>
                  </a:lnTo>
                  <a:lnTo>
                    <a:pt x="940144" y="219473"/>
                  </a:lnTo>
                  <a:lnTo>
                    <a:pt x="920982" y="207217"/>
                  </a:lnTo>
                  <a:lnTo>
                    <a:pt x="947998" y="198236"/>
                  </a:lnTo>
                  <a:lnTo>
                    <a:pt x="965889" y="198719"/>
                  </a:lnTo>
                  <a:lnTo>
                    <a:pt x="963787" y="192100"/>
                  </a:lnTo>
                  <a:lnTo>
                    <a:pt x="927074" y="192055"/>
                  </a:lnTo>
                  <a:lnTo>
                    <a:pt x="917144" y="177214"/>
                  </a:lnTo>
                  <a:lnTo>
                    <a:pt x="894736" y="172616"/>
                  </a:lnTo>
                  <a:lnTo>
                    <a:pt x="884118" y="160289"/>
                  </a:lnTo>
                  <a:lnTo>
                    <a:pt x="917923" y="154251"/>
                  </a:lnTo>
                  <a:lnTo>
                    <a:pt x="930786" y="146129"/>
                  </a:lnTo>
                  <a:lnTo>
                    <a:pt x="971050" y="156362"/>
                  </a:lnTo>
                  <a:lnTo>
                    <a:pt x="975013" y="165612"/>
                  </a:lnTo>
                  <a:close/>
                  <a:moveTo>
                    <a:pt x="751715" y="101544"/>
                  </a:moveTo>
                  <a:lnTo>
                    <a:pt x="731561" y="126261"/>
                  </a:lnTo>
                  <a:lnTo>
                    <a:pt x="712713" y="131056"/>
                  </a:lnTo>
                  <a:lnTo>
                    <a:pt x="688578" y="126189"/>
                  </a:lnTo>
                  <a:lnTo>
                    <a:pt x="646776" y="127433"/>
                  </a:lnTo>
                  <a:lnTo>
                    <a:pt x="624868" y="131020"/>
                  </a:lnTo>
                  <a:lnTo>
                    <a:pt x="621308" y="149877"/>
                  </a:lnTo>
                  <a:lnTo>
                    <a:pt x="643761" y="172035"/>
                  </a:lnTo>
                  <a:lnTo>
                    <a:pt x="657304" y="160746"/>
                  </a:lnTo>
                  <a:lnTo>
                    <a:pt x="704080" y="152265"/>
                  </a:lnTo>
                  <a:lnTo>
                    <a:pt x="702023" y="163742"/>
                  </a:lnTo>
                  <a:lnTo>
                    <a:pt x="691092" y="160120"/>
                  </a:lnTo>
                  <a:lnTo>
                    <a:pt x="680196" y="174718"/>
                  </a:lnTo>
                  <a:lnTo>
                    <a:pt x="658118" y="184380"/>
                  </a:lnTo>
                  <a:lnTo>
                    <a:pt x="681851" y="216342"/>
                  </a:lnTo>
                  <a:lnTo>
                    <a:pt x="677262" y="224912"/>
                  </a:lnTo>
                  <a:lnTo>
                    <a:pt x="699814" y="253743"/>
                  </a:lnTo>
                  <a:lnTo>
                    <a:pt x="699599" y="270176"/>
                  </a:lnTo>
                  <a:lnTo>
                    <a:pt x="686207" y="277529"/>
                  </a:lnTo>
                  <a:lnTo>
                    <a:pt x="676368" y="268727"/>
                  </a:lnTo>
                  <a:lnTo>
                    <a:pt x="688489" y="248250"/>
                  </a:lnTo>
                  <a:lnTo>
                    <a:pt x="663870" y="257930"/>
                  </a:lnTo>
                  <a:lnTo>
                    <a:pt x="657636" y="251015"/>
                  </a:lnTo>
                  <a:lnTo>
                    <a:pt x="660883" y="241363"/>
                  </a:lnTo>
                  <a:lnTo>
                    <a:pt x="642804" y="226719"/>
                  </a:lnTo>
                  <a:lnTo>
                    <a:pt x="644665" y="202405"/>
                  </a:lnTo>
                  <a:lnTo>
                    <a:pt x="627937" y="209991"/>
                  </a:lnTo>
                  <a:lnTo>
                    <a:pt x="630057" y="239090"/>
                  </a:lnTo>
                  <a:lnTo>
                    <a:pt x="631076" y="274863"/>
                  </a:lnTo>
                  <a:lnTo>
                    <a:pt x="615171" y="278495"/>
                  </a:lnTo>
                  <a:lnTo>
                    <a:pt x="604401" y="271151"/>
                  </a:lnTo>
                  <a:lnTo>
                    <a:pt x="611593" y="248134"/>
                  </a:lnTo>
                  <a:lnTo>
                    <a:pt x="607710" y="224035"/>
                  </a:lnTo>
                  <a:lnTo>
                    <a:pt x="597155" y="223847"/>
                  </a:lnTo>
                  <a:lnTo>
                    <a:pt x="589364" y="206752"/>
                  </a:lnTo>
                  <a:lnTo>
                    <a:pt x="599731" y="190418"/>
                  </a:lnTo>
                  <a:lnTo>
                    <a:pt x="603301" y="170630"/>
                  </a:lnTo>
                  <a:lnTo>
                    <a:pt x="615905" y="133068"/>
                  </a:lnTo>
                  <a:lnTo>
                    <a:pt x="621165" y="122799"/>
                  </a:lnTo>
                  <a:lnTo>
                    <a:pt x="642491" y="104291"/>
                  </a:lnTo>
                  <a:lnTo>
                    <a:pt x="662073" y="111653"/>
                  </a:lnTo>
                  <a:lnTo>
                    <a:pt x="693695" y="115115"/>
                  </a:lnTo>
                  <a:lnTo>
                    <a:pt x="722544" y="114068"/>
                  </a:lnTo>
                  <a:lnTo>
                    <a:pt x="747332" y="95971"/>
                  </a:lnTo>
                  <a:lnTo>
                    <a:pt x="751715" y="101544"/>
                  </a:lnTo>
                  <a:close/>
                  <a:moveTo>
                    <a:pt x="838191" y="108701"/>
                  </a:moveTo>
                  <a:lnTo>
                    <a:pt x="836885" y="130474"/>
                  </a:lnTo>
                  <a:lnTo>
                    <a:pt x="823950" y="128041"/>
                  </a:lnTo>
                  <a:lnTo>
                    <a:pt x="820131" y="143204"/>
                  </a:lnTo>
                  <a:lnTo>
                    <a:pt x="830462" y="156354"/>
                  </a:lnTo>
                  <a:lnTo>
                    <a:pt x="823440" y="159341"/>
                  </a:lnTo>
                  <a:lnTo>
                    <a:pt x="813314" y="143561"/>
                  </a:lnTo>
                  <a:lnTo>
                    <a:pt x="805862" y="111706"/>
                  </a:lnTo>
                  <a:lnTo>
                    <a:pt x="810908" y="91794"/>
                  </a:lnTo>
                  <a:lnTo>
                    <a:pt x="819227" y="82723"/>
                  </a:lnTo>
                  <a:lnTo>
                    <a:pt x="821034" y="96338"/>
                  </a:lnTo>
                  <a:lnTo>
                    <a:pt x="835839" y="98521"/>
                  </a:lnTo>
                  <a:lnTo>
                    <a:pt x="838191" y="108701"/>
                  </a:lnTo>
                  <a:close/>
                  <a:moveTo>
                    <a:pt x="566991" y="91373"/>
                  </a:moveTo>
                  <a:lnTo>
                    <a:pt x="595116" y="114435"/>
                  </a:lnTo>
                  <a:lnTo>
                    <a:pt x="565398" y="117378"/>
                  </a:lnTo>
                  <a:lnTo>
                    <a:pt x="557026" y="134356"/>
                  </a:lnTo>
                  <a:lnTo>
                    <a:pt x="558117" y="156935"/>
                  </a:lnTo>
                  <a:lnTo>
                    <a:pt x="534000" y="173976"/>
                  </a:lnTo>
                  <a:lnTo>
                    <a:pt x="533338" y="198800"/>
                  </a:lnTo>
                  <a:lnTo>
                    <a:pt x="523668" y="236961"/>
                  </a:lnTo>
                  <a:lnTo>
                    <a:pt x="519973" y="228078"/>
                  </a:lnTo>
                  <a:lnTo>
                    <a:pt x="491473" y="239314"/>
                  </a:lnTo>
                  <a:lnTo>
                    <a:pt x="481543" y="224044"/>
                  </a:lnTo>
                  <a:lnTo>
                    <a:pt x="463661" y="222631"/>
                  </a:lnTo>
                  <a:lnTo>
                    <a:pt x="451156" y="214633"/>
                  </a:lnTo>
                  <a:lnTo>
                    <a:pt x="421340" y="223606"/>
                  </a:lnTo>
                  <a:lnTo>
                    <a:pt x="412189" y="211529"/>
                  </a:lnTo>
                  <a:lnTo>
                    <a:pt x="395765" y="212907"/>
                  </a:lnTo>
                  <a:lnTo>
                    <a:pt x="375083" y="210027"/>
                  </a:lnTo>
                  <a:lnTo>
                    <a:pt x="371246" y="176588"/>
                  </a:lnTo>
                  <a:lnTo>
                    <a:pt x="358731" y="169664"/>
                  </a:lnTo>
                  <a:lnTo>
                    <a:pt x="346690" y="148347"/>
                  </a:lnTo>
                  <a:lnTo>
                    <a:pt x="343193" y="126547"/>
                  </a:lnTo>
                  <a:lnTo>
                    <a:pt x="346109" y="103459"/>
                  </a:lnTo>
                  <a:lnTo>
                    <a:pt x="361011" y="86892"/>
                  </a:lnTo>
                  <a:lnTo>
                    <a:pt x="365207" y="103548"/>
                  </a:lnTo>
                  <a:lnTo>
                    <a:pt x="382356" y="117628"/>
                  </a:lnTo>
                  <a:lnTo>
                    <a:pt x="398538" y="112565"/>
                  </a:lnTo>
                  <a:lnTo>
                    <a:pt x="414551" y="114363"/>
                  </a:lnTo>
                  <a:lnTo>
                    <a:pt x="429167" y="101759"/>
                  </a:lnTo>
                  <a:lnTo>
                    <a:pt x="441199" y="99576"/>
                  </a:lnTo>
                  <a:lnTo>
                    <a:pt x="464923" y="106563"/>
                  </a:lnTo>
                  <a:lnTo>
                    <a:pt x="485381" y="101249"/>
                  </a:lnTo>
                  <a:lnTo>
                    <a:pt x="498244" y="66576"/>
                  </a:lnTo>
                  <a:lnTo>
                    <a:pt x="507897" y="57899"/>
                  </a:lnTo>
                  <a:lnTo>
                    <a:pt x="516592" y="29497"/>
                  </a:lnTo>
                  <a:lnTo>
                    <a:pt x="545432" y="29506"/>
                  </a:lnTo>
                  <a:lnTo>
                    <a:pt x="567170" y="33720"/>
                  </a:lnTo>
                  <a:lnTo>
                    <a:pt x="552902" y="56271"/>
                  </a:lnTo>
                  <a:lnTo>
                    <a:pt x="571347" y="79887"/>
                  </a:lnTo>
                  <a:lnTo>
                    <a:pt x="566991" y="91373"/>
                  </a:lnTo>
                  <a:close/>
                  <a:moveTo>
                    <a:pt x="264553" y="282977"/>
                  </a:moveTo>
                  <a:lnTo>
                    <a:pt x="236786" y="283505"/>
                  </a:lnTo>
                  <a:lnTo>
                    <a:pt x="215665" y="262581"/>
                  </a:lnTo>
                  <a:lnTo>
                    <a:pt x="183452" y="242159"/>
                  </a:lnTo>
                  <a:lnTo>
                    <a:pt x="172718" y="227023"/>
                  </a:lnTo>
                  <a:lnTo>
                    <a:pt x="153736" y="206708"/>
                  </a:lnTo>
                  <a:lnTo>
                    <a:pt x="141275" y="188020"/>
                  </a:lnTo>
                  <a:lnTo>
                    <a:pt x="122194" y="153133"/>
                  </a:lnTo>
                  <a:lnTo>
                    <a:pt x="100170" y="132371"/>
                  </a:lnTo>
                  <a:lnTo>
                    <a:pt x="92799" y="110946"/>
                  </a:lnTo>
                  <a:lnTo>
                    <a:pt x="83558" y="91490"/>
                  </a:lnTo>
                  <a:lnTo>
                    <a:pt x="60944" y="75790"/>
                  </a:lnTo>
                  <a:lnTo>
                    <a:pt x="47830" y="54446"/>
                  </a:lnTo>
                  <a:lnTo>
                    <a:pt x="28946" y="40464"/>
                  </a:lnTo>
                  <a:lnTo>
                    <a:pt x="2780" y="12930"/>
                  </a:lnTo>
                  <a:lnTo>
                    <a:pt x="579" y="192"/>
                  </a:lnTo>
                  <a:lnTo>
                    <a:pt x="16735" y="1203"/>
                  </a:lnTo>
                  <a:lnTo>
                    <a:pt x="55558" y="6042"/>
                  </a:lnTo>
                  <a:lnTo>
                    <a:pt x="77734" y="30490"/>
                  </a:lnTo>
                  <a:lnTo>
                    <a:pt x="97137" y="47424"/>
                  </a:lnTo>
                  <a:lnTo>
                    <a:pt x="110967" y="57810"/>
                  </a:lnTo>
                  <a:lnTo>
                    <a:pt x="134726" y="84619"/>
                  </a:lnTo>
                  <a:lnTo>
                    <a:pt x="160230" y="85004"/>
                  </a:lnTo>
                  <a:lnTo>
                    <a:pt x="181297" y="102081"/>
                  </a:lnTo>
                  <a:lnTo>
                    <a:pt x="195815" y="122951"/>
                  </a:lnTo>
                  <a:lnTo>
                    <a:pt x="214914" y="134330"/>
                  </a:lnTo>
                  <a:lnTo>
                    <a:pt x="204868" y="154672"/>
                  </a:lnTo>
                  <a:lnTo>
                    <a:pt x="219234" y="163322"/>
                  </a:lnTo>
                  <a:lnTo>
                    <a:pt x="228243" y="163957"/>
                  </a:lnTo>
                  <a:lnTo>
                    <a:pt x="232501" y="181338"/>
                  </a:lnTo>
                  <a:lnTo>
                    <a:pt x="241240" y="195249"/>
                  </a:lnTo>
                  <a:lnTo>
                    <a:pt x="259659" y="197458"/>
                  </a:lnTo>
                  <a:lnTo>
                    <a:pt x="271861" y="213247"/>
                  </a:lnTo>
                  <a:lnTo>
                    <a:pt x="265563" y="244297"/>
                  </a:lnTo>
                  <a:lnTo>
                    <a:pt x="264553" y="28297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/>
            <p:cNvSpPr/>
            <p:nvPr/>
          </p:nvSpPr>
          <p:spPr>
            <a:xfrm>
              <a:off x="5587446" y="3004518"/>
              <a:ext cx="98919" cy="145409"/>
            </a:xfrm>
            <a:custGeom>
              <a:avLst/>
              <a:gdLst>
                <a:gd name="connsiteX0" fmla="*/ 95221 w 98919"/>
                <a:gd name="connsiteY0" fmla="*/ 54595 h 145409"/>
                <a:gd name="connsiteX1" fmla="*/ 99354 w 98919"/>
                <a:gd name="connsiteY1" fmla="*/ 84652 h 145409"/>
                <a:gd name="connsiteX2" fmla="*/ 80399 w 98919"/>
                <a:gd name="connsiteY2" fmla="*/ 121534 h 145409"/>
                <a:gd name="connsiteX3" fmla="*/ 35940 w 98919"/>
                <a:gd name="connsiteY3" fmla="*/ 145526 h 145409"/>
                <a:gd name="connsiteX4" fmla="*/ 435 w 98919"/>
                <a:gd name="connsiteY4" fmla="*/ 139416 h 145409"/>
                <a:gd name="connsiteX5" fmla="*/ 20768 w 98919"/>
                <a:gd name="connsiteY5" fmla="*/ 96657 h 145409"/>
                <a:gd name="connsiteX6" fmla="*/ 7672 w 98919"/>
                <a:gd name="connsiteY6" fmla="*/ 54013 h 145409"/>
                <a:gd name="connsiteX7" fmla="*/ 41790 w 98919"/>
                <a:gd name="connsiteY7" fmla="*/ 20441 h 145409"/>
                <a:gd name="connsiteX8" fmla="*/ 60745 w 98919"/>
                <a:gd name="connsiteY8" fmla="*/ 117 h 145409"/>
                <a:gd name="connsiteX9" fmla="*/ 65925 w 98919"/>
                <a:gd name="connsiteY9" fmla="*/ 23411 h 145409"/>
                <a:gd name="connsiteX10" fmla="*/ 60745 w 98919"/>
                <a:gd name="connsiteY10" fmla="*/ 46410 h 145409"/>
                <a:gd name="connsiteX11" fmla="*/ 76266 w 98919"/>
                <a:gd name="connsiteY11" fmla="*/ 45828 h 1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919" h="145409">
                  <a:moveTo>
                    <a:pt x="95221" y="54595"/>
                  </a:moveTo>
                  <a:lnTo>
                    <a:pt x="99354" y="84652"/>
                  </a:lnTo>
                  <a:lnTo>
                    <a:pt x="80399" y="121534"/>
                  </a:lnTo>
                  <a:lnTo>
                    <a:pt x="35940" y="145526"/>
                  </a:lnTo>
                  <a:lnTo>
                    <a:pt x="435" y="139416"/>
                  </a:lnTo>
                  <a:lnTo>
                    <a:pt x="20768" y="96657"/>
                  </a:lnTo>
                  <a:lnTo>
                    <a:pt x="7672" y="54013"/>
                  </a:lnTo>
                  <a:lnTo>
                    <a:pt x="41790" y="20441"/>
                  </a:lnTo>
                  <a:lnTo>
                    <a:pt x="60745" y="117"/>
                  </a:lnTo>
                  <a:lnTo>
                    <a:pt x="65925" y="23411"/>
                  </a:lnTo>
                  <a:lnTo>
                    <a:pt x="60745" y="46410"/>
                  </a:lnTo>
                  <a:lnTo>
                    <a:pt x="76266" y="4582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/>
            <p:cNvSpPr/>
            <p:nvPr/>
          </p:nvSpPr>
          <p:spPr>
            <a:xfrm>
              <a:off x="6697126" y="3780414"/>
              <a:ext cx="39404" cy="110441"/>
            </a:xfrm>
            <a:custGeom>
              <a:avLst/>
              <a:gdLst>
                <a:gd name="connsiteX0" fmla="*/ 36964 w 39404"/>
                <a:gd name="connsiteY0" fmla="*/ 17068 h 110441"/>
                <a:gd name="connsiteX1" fmla="*/ 32599 w 39404"/>
                <a:gd name="connsiteY1" fmla="*/ 26398 h 110441"/>
                <a:gd name="connsiteX2" fmla="*/ 23519 w 39404"/>
                <a:gd name="connsiteY2" fmla="*/ 22301 h 110441"/>
                <a:gd name="connsiteX3" fmla="*/ 18277 w 39404"/>
                <a:gd name="connsiteY3" fmla="*/ 41945 h 110441"/>
                <a:gd name="connsiteX4" fmla="*/ 24574 w 39404"/>
                <a:gd name="connsiteY4" fmla="*/ 45246 h 110441"/>
                <a:gd name="connsiteX5" fmla="*/ 18169 w 39404"/>
                <a:gd name="connsiteY5" fmla="*/ 49280 h 110441"/>
                <a:gd name="connsiteX6" fmla="*/ 17087 w 39404"/>
                <a:gd name="connsiteY6" fmla="*/ 56982 h 110441"/>
                <a:gd name="connsiteX7" fmla="*/ 28877 w 39404"/>
                <a:gd name="connsiteY7" fmla="*/ 53019 h 110441"/>
                <a:gd name="connsiteX8" fmla="*/ 29468 w 39404"/>
                <a:gd name="connsiteY8" fmla="*/ 64380 h 110441"/>
                <a:gd name="connsiteX9" fmla="*/ 16971 w 39404"/>
                <a:gd name="connsiteY9" fmla="*/ 110593 h 110441"/>
                <a:gd name="connsiteX10" fmla="*/ 484 w 39404"/>
                <a:gd name="connsiteY10" fmla="*/ 60900 h 110441"/>
                <a:gd name="connsiteX11" fmla="*/ 7784 w 39404"/>
                <a:gd name="connsiteY11" fmla="*/ 51266 h 110441"/>
                <a:gd name="connsiteX12" fmla="*/ 6075 w 39404"/>
                <a:gd name="connsiteY12" fmla="*/ 49602 h 110441"/>
                <a:gd name="connsiteX13" fmla="*/ 12703 w 39404"/>
                <a:gd name="connsiteY13" fmla="*/ 35871 h 110441"/>
                <a:gd name="connsiteX14" fmla="*/ 17794 w 39404"/>
                <a:gd name="connsiteY14" fmla="*/ 13561 h 110441"/>
                <a:gd name="connsiteX15" fmla="*/ 21381 w 39404"/>
                <a:gd name="connsiteY15" fmla="*/ 6020 h 110441"/>
                <a:gd name="connsiteX16" fmla="*/ 22070 w 39404"/>
                <a:gd name="connsiteY16" fmla="*/ 5716 h 110441"/>
                <a:gd name="connsiteX17" fmla="*/ 30469 w 39404"/>
                <a:gd name="connsiteY17" fmla="*/ 5769 h 110441"/>
                <a:gd name="connsiteX18" fmla="*/ 32777 w 39404"/>
                <a:gd name="connsiteY18" fmla="*/ 545 h 110441"/>
                <a:gd name="connsiteX19" fmla="*/ 39505 w 39404"/>
                <a:gd name="connsiteY19" fmla="*/ 151 h 110441"/>
                <a:gd name="connsiteX20" fmla="*/ 39889 w 39404"/>
                <a:gd name="connsiteY20" fmla="*/ 12344 h 110441"/>
                <a:gd name="connsiteX21" fmla="*/ 36490 w 39404"/>
                <a:gd name="connsiteY21" fmla="*/ 16862 h 11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9404" h="110441">
                  <a:moveTo>
                    <a:pt x="36964" y="17068"/>
                  </a:moveTo>
                  <a:lnTo>
                    <a:pt x="32599" y="26398"/>
                  </a:lnTo>
                  <a:lnTo>
                    <a:pt x="23519" y="22301"/>
                  </a:lnTo>
                  <a:lnTo>
                    <a:pt x="18277" y="41945"/>
                  </a:lnTo>
                  <a:lnTo>
                    <a:pt x="24574" y="45246"/>
                  </a:lnTo>
                  <a:lnTo>
                    <a:pt x="18169" y="49280"/>
                  </a:lnTo>
                  <a:lnTo>
                    <a:pt x="17087" y="56982"/>
                  </a:lnTo>
                  <a:lnTo>
                    <a:pt x="28877" y="53019"/>
                  </a:lnTo>
                  <a:lnTo>
                    <a:pt x="29468" y="64380"/>
                  </a:lnTo>
                  <a:lnTo>
                    <a:pt x="16971" y="110593"/>
                  </a:lnTo>
                  <a:lnTo>
                    <a:pt x="484" y="60900"/>
                  </a:lnTo>
                  <a:lnTo>
                    <a:pt x="7784" y="51266"/>
                  </a:lnTo>
                  <a:lnTo>
                    <a:pt x="6075" y="49602"/>
                  </a:lnTo>
                  <a:lnTo>
                    <a:pt x="12703" y="35871"/>
                  </a:lnTo>
                  <a:lnTo>
                    <a:pt x="17794" y="13561"/>
                  </a:lnTo>
                  <a:lnTo>
                    <a:pt x="21381" y="6020"/>
                  </a:lnTo>
                  <a:lnTo>
                    <a:pt x="22070" y="5716"/>
                  </a:lnTo>
                  <a:lnTo>
                    <a:pt x="30469" y="5769"/>
                  </a:lnTo>
                  <a:lnTo>
                    <a:pt x="32777" y="545"/>
                  </a:lnTo>
                  <a:lnTo>
                    <a:pt x="39505" y="151"/>
                  </a:lnTo>
                  <a:lnTo>
                    <a:pt x="39889" y="12344"/>
                  </a:lnTo>
                  <a:lnTo>
                    <a:pt x="36490" y="1686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/>
            <p:cNvSpPr/>
            <p:nvPr/>
          </p:nvSpPr>
          <p:spPr>
            <a:xfrm>
              <a:off x="7547682" y="3713350"/>
              <a:ext cx="733038" cy="748657"/>
            </a:xfrm>
            <a:custGeom>
              <a:avLst/>
              <a:gdLst>
                <a:gd name="connsiteX0" fmla="*/ 242855 w 733038"/>
                <a:gd name="connsiteY0" fmla="*/ 163 h 748657"/>
                <a:gd name="connsiteX1" fmla="*/ 269817 w 733038"/>
                <a:gd name="connsiteY1" fmla="*/ 35846 h 748657"/>
                <a:gd name="connsiteX2" fmla="*/ 267276 w 733038"/>
                <a:gd name="connsiteY2" fmla="*/ 60384 h 748657"/>
                <a:gd name="connsiteX3" fmla="*/ 277250 w 733038"/>
                <a:gd name="connsiteY3" fmla="*/ 75663 h 748657"/>
                <a:gd name="connsiteX4" fmla="*/ 276427 w 733038"/>
                <a:gd name="connsiteY4" fmla="*/ 90817 h 748657"/>
                <a:gd name="connsiteX5" fmla="*/ 258429 w 733038"/>
                <a:gd name="connsiteY5" fmla="*/ 86836 h 748657"/>
                <a:gd name="connsiteX6" fmla="*/ 265460 w 733038"/>
                <a:gd name="connsiteY6" fmla="*/ 119308 h 748657"/>
                <a:gd name="connsiteX7" fmla="*/ 290105 w 733038"/>
                <a:gd name="connsiteY7" fmla="*/ 137781 h 748657"/>
                <a:gd name="connsiteX8" fmla="*/ 324966 w 733038"/>
                <a:gd name="connsiteY8" fmla="*/ 158042 h 748657"/>
                <a:gd name="connsiteX9" fmla="*/ 309042 w 733038"/>
                <a:gd name="connsiteY9" fmla="*/ 171111 h 748657"/>
                <a:gd name="connsiteX10" fmla="*/ 299310 w 733038"/>
                <a:gd name="connsiteY10" fmla="*/ 197867 h 748657"/>
                <a:gd name="connsiteX11" fmla="*/ 323606 w 733038"/>
                <a:gd name="connsiteY11" fmla="*/ 208620 h 748657"/>
                <a:gd name="connsiteX12" fmla="*/ 347258 w 733038"/>
                <a:gd name="connsiteY12" fmla="*/ 222503 h 748657"/>
                <a:gd name="connsiteX13" fmla="*/ 379971 w 733038"/>
                <a:gd name="connsiteY13" fmla="*/ 238310 h 748657"/>
                <a:gd name="connsiteX14" fmla="*/ 414349 w 733038"/>
                <a:gd name="connsiteY14" fmla="*/ 241942 h 748657"/>
                <a:gd name="connsiteX15" fmla="*/ 428814 w 733038"/>
                <a:gd name="connsiteY15" fmla="*/ 256192 h 748657"/>
                <a:gd name="connsiteX16" fmla="*/ 448199 w 733038"/>
                <a:gd name="connsiteY16" fmla="*/ 258840 h 748657"/>
                <a:gd name="connsiteX17" fmla="*/ 478372 w 733038"/>
                <a:gd name="connsiteY17" fmla="*/ 265343 h 748657"/>
                <a:gd name="connsiteX18" fmla="*/ 499260 w 733038"/>
                <a:gd name="connsiteY18" fmla="*/ 264878 h 748657"/>
                <a:gd name="connsiteX19" fmla="*/ 502131 w 733038"/>
                <a:gd name="connsiteY19" fmla="*/ 253830 h 748657"/>
                <a:gd name="connsiteX20" fmla="*/ 498830 w 733038"/>
                <a:gd name="connsiteY20" fmla="*/ 236020 h 748657"/>
                <a:gd name="connsiteX21" fmla="*/ 500772 w 733038"/>
                <a:gd name="connsiteY21" fmla="*/ 223890 h 748657"/>
                <a:gd name="connsiteX22" fmla="*/ 516068 w 733038"/>
                <a:gd name="connsiteY22" fmla="*/ 217941 h 748657"/>
                <a:gd name="connsiteX23" fmla="*/ 518171 w 733038"/>
                <a:gd name="connsiteY23" fmla="*/ 240135 h 748657"/>
                <a:gd name="connsiteX24" fmla="*/ 518707 w 733038"/>
                <a:gd name="connsiteY24" fmla="*/ 245762 h 748657"/>
                <a:gd name="connsiteX25" fmla="*/ 541509 w 733038"/>
                <a:gd name="connsiteY25" fmla="*/ 256380 h 748657"/>
                <a:gd name="connsiteX26" fmla="*/ 557271 w 733038"/>
                <a:gd name="connsiteY26" fmla="*/ 252005 h 748657"/>
                <a:gd name="connsiteX27" fmla="*/ 578454 w 733038"/>
                <a:gd name="connsiteY27" fmla="*/ 253884 h 748657"/>
                <a:gd name="connsiteX28" fmla="*/ 598913 w 733038"/>
                <a:gd name="connsiteY28" fmla="*/ 253052 h 748657"/>
                <a:gd name="connsiteX29" fmla="*/ 600675 w 733038"/>
                <a:gd name="connsiteY29" fmla="*/ 235832 h 748657"/>
                <a:gd name="connsiteX30" fmla="*/ 590459 w 733038"/>
                <a:gd name="connsiteY30" fmla="*/ 226842 h 748657"/>
                <a:gd name="connsiteX31" fmla="*/ 610694 w 733038"/>
                <a:gd name="connsiteY31" fmla="*/ 223317 h 748657"/>
                <a:gd name="connsiteX32" fmla="*/ 633523 w 733038"/>
                <a:gd name="connsiteY32" fmla="*/ 202242 h 748657"/>
                <a:gd name="connsiteX33" fmla="*/ 662434 w 733038"/>
                <a:gd name="connsiteY33" fmla="*/ 184082 h 748657"/>
                <a:gd name="connsiteX34" fmla="*/ 683475 w 733038"/>
                <a:gd name="connsiteY34" fmla="*/ 191105 h 748657"/>
                <a:gd name="connsiteX35" fmla="*/ 701356 w 733038"/>
                <a:gd name="connsiteY35" fmla="*/ 179064 h 748657"/>
                <a:gd name="connsiteX36" fmla="*/ 713111 w 733038"/>
                <a:gd name="connsiteY36" fmla="*/ 196821 h 748657"/>
                <a:gd name="connsiteX37" fmla="*/ 704639 w 733038"/>
                <a:gd name="connsiteY37" fmla="*/ 208763 h 748657"/>
                <a:gd name="connsiteX38" fmla="*/ 731690 w 733038"/>
                <a:gd name="connsiteY38" fmla="*/ 212994 h 748657"/>
                <a:gd name="connsiteX39" fmla="*/ 733578 w 733038"/>
                <a:gd name="connsiteY39" fmla="*/ 223720 h 748657"/>
                <a:gd name="connsiteX40" fmla="*/ 724785 w 733038"/>
                <a:gd name="connsiteY40" fmla="*/ 228890 h 748657"/>
                <a:gd name="connsiteX41" fmla="*/ 726851 w 733038"/>
                <a:gd name="connsiteY41" fmla="*/ 246182 h 748657"/>
                <a:gd name="connsiteX42" fmla="*/ 708924 w 733038"/>
                <a:gd name="connsiteY42" fmla="*/ 241110 h 748657"/>
                <a:gd name="connsiteX43" fmla="*/ 676452 w 733038"/>
                <a:gd name="connsiteY43" fmla="*/ 260450 h 748657"/>
                <a:gd name="connsiteX44" fmla="*/ 677213 w 733038"/>
                <a:gd name="connsiteY44" fmla="*/ 276364 h 748657"/>
                <a:gd name="connsiteX45" fmla="*/ 663374 w 733038"/>
                <a:gd name="connsiteY45" fmla="*/ 299569 h 748657"/>
                <a:gd name="connsiteX46" fmla="*/ 662095 w 733038"/>
                <a:gd name="connsiteY46" fmla="*/ 312969 h 748657"/>
                <a:gd name="connsiteX47" fmla="*/ 650913 w 733038"/>
                <a:gd name="connsiteY47" fmla="*/ 335530 h 748657"/>
                <a:gd name="connsiteX48" fmla="*/ 631313 w 733038"/>
                <a:gd name="connsiteY48" fmla="*/ 329303 h 748657"/>
                <a:gd name="connsiteX49" fmla="*/ 630338 w 733038"/>
                <a:gd name="connsiteY49" fmla="*/ 357464 h 748657"/>
                <a:gd name="connsiteX50" fmla="*/ 624676 w 733038"/>
                <a:gd name="connsiteY50" fmla="*/ 366687 h 748657"/>
                <a:gd name="connsiteX51" fmla="*/ 627323 w 733038"/>
                <a:gd name="connsiteY51" fmla="*/ 378146 h 748657"/>
                <a:gd name="connsiteX52" fmla="*/ 614952 w 733038"/>
                <a:gd name="connsiteY52" fmla="*/ 384533 h 748657"/>
                <a:gd name="connsiteX53" fmla="*/ 601739 w 733038"/>
                <a:gd name="connsiteY53" fmla="*/ 341603 h 748657"/>
                <a:gd name="connsiteX54" fmla="*/ 594816 w 733038"/>
                <a:gd name="connsiteY54" fmla="*/ 341693 h 748657"/>
                <a:gd name="connsiteX55" fmla="*/ 590719 w 733038"/>
                <a:gd name="connsiteY55" fmla="*/ 359047 h 748657"/>
                <a:gd name="connsiteX56" fmla="*/ 576987 w 733038"/>
                <a:gd name="connsiteY56" fmla="*/ 344985 h 748657"/>
                <a:gd name="connsiteX57" fmla="*/ 584725 w 733038"/>
                <a:gd name="connsiteY57" fmla="*/ 329474 h 748657"/>
                <a:gd name="connsiteX58" fmla="*/ 595951 w 733038"/>
                <a:gd name="connsiteY58" fmla="*/ 327890 h 748657"/>
                <a:gd name="connsiteX59" fmla="*/ 607509 w 733038"/>
                <a:gd name="connsiteY59" fmla="*/ 304686 h 748657"/>
                <a:gd name="connsiteX60" fmla="*/ 593053 w 733038"/>
                <a:gd name="connsiteY60" fmla="*/ 299980 h 748657"/>
                <a:gd name="connsiteX61" fmla="*/ 569786 w 733038"/>
                <a:gd name="connsiteY61" fmla="*/ 300392 h 748657"/>
                <a:gd name="connsiteX62" fmla="*/ 545920 w 733038"/>
                <a:gd name="connsiteY62" fmla="*/ 296608 h 748657"/>
                <a:gd name="connsiteX63" fmla="*/ 543710 w 733038"/>
                <a:gd name="connsiteY63" fmla="*/ 277375 h 748657"/>
                <a:gd name="connsiteX64" fmla="*/ 531732 w 733038"/>
                <a:gd name="connsiteY64" fmla="*/ 276006 h 748657"/>
                <a:gd name="connsiteX65" fmla="*/ 511864 w 733038"/>
                <a:gd name="connsiteY65" fmla="*/ 263992 h 748657"/>
                <a:gd name="connsiteX66" fmla="*/ 503008 w 733038"/>
                <a:gd name="connsiteY66" fmla="*/ 282841 h 748657"/>
                <a:gd name="connsiteX67" fmla="*/ 521114 w 733038"/>
                <a:gd name="connsiteY67" fmla="*/ 297466 h 748657"/>
                <a:gd name="connsiteX68" fmla="*/ 505432 w 733038"/>
                <a:gd name="connsiteY68" fmla="*/ 307727 h 748657"/>
                <a:gd name="connsiteX69" fmla="*/ 499868 w 733038"/>
                <a:gd name="connsiteY69" fmla="*/ 317737 h 748657"/>
                <a:gd name="connsiteX70" fmla="*/ 515299 w 733038"/>
                <a:gd name="connsiteY70" fmla="*/ 325063 h 748657"/>
                <a:gd name="connsiteX71" fmla="*/ 511041 w 733038"/>
                <a:gd name="connsiteY71" fmla="*/ 341514 h 748657"/>
                <a:gd name="connsiteX72" fmla="*/ 519727 w 733038"/>
                <a:gd name="connsiteY72" fmla="*/ 361919 h 748657"/>
                <a:gd name="connsiteX73" fmla="*/ 523636 w 733038"/>
                <a:gd name="connsiteY73" fmla="*/ 384148 h 748657"/>
                <a:gd name="connsiteX74" fmla="*/ 520040 w 733038"/>
                <a:gd name="connsiteY74" fmla="*/ 393953 h 748657"/>
                <a:gd name="connsiteX75" fmla="*/ 502972 w 733038"/>
                <a:gd name="connsiteY75" fmla="*/ 393622 h 748657"/>
                <a:gd name="connsiteX76" fmla="*/ 472056 w 733038"/>
                <a:gd name="connsiteY76" fmla="*/ 399186 h 748657"/>
                <a:gd name="connsiteX77" fmla="*/ 473497 w 733038"/>
                <a:gd name="connsiteY77" fmla="*/ 419295 h 748657"/>
                <a:gd name="connsiteX78" fmla="*/ 460105 w 733038"/>
                <a:gd name="connsiteY78" fmla="*/ 435039 h 748657"/>
                <a:gd name="connsiteX79" fmla="*/ 424010 w 733038"/>
                <a:gd name="connsiteY79" fmla="*/ 452877 h 748657"/>
                <a:gd name="connsiteX80" fmla="*/ 395939 w 733038"/>
                <a:gd name="connsiteY80" fmla="*/ 483882 h 748657"/>
                <a:gd name="connsiteX81" fmla="*/ 377082 w 733038"/>
                <a:gd name="connsiteY81" fmla="*/ 500413 h 748657"/>
                <a:gd name="connsiteX82" fmla="*/ 352088 w 733038"/>
                <a:gd name="connsiteY82" fmla="*/ 517517 h 748657"/>
                <a:gd name="connsiteX83" fmla="*/ 352053 w 733038"/>
                <a:gd name="connsiteY83" fmla="*/ 529486 h 748657"/>
                <a:gd name="connsiteX84" fmla="*/ 339556 w 733038"/>
                <a:gd name="connsiteY84" fmla="*/ 535891 h 748657"/>
                <a:gd name="connsiteX85" fmla="*/ 316959 w 733038"/>
                <a:gd name="connsiteY85" fmla="*/ 545185 h 748657"/>
                <a:gd name="connsiteX86" fmla="*/ 305241 w 733038"/>
                <a:gd name="connsiteY86" fmla="*/ 546563 h 748657"/>
                <a:gd name="connsiteX87" fmla="*/ 297727 w 733038"/>
                <a:gd name="connsiteY87" fmla="*/ 566288 h 748657"/>
                <a:gd name="connsiteX88" fmla="*/ 302942 w 733038"/>
                <a:gd name="connsiteY88" fmla="*/ 599771 h 748657"/>
                <a:gd name="connsiteX89" fmla="*/ 304275 w 733038"/>
                <a:gd name="connsiteY89" fmla="*/ 621025 h 748657"/>
                <a:gd name="connsiteX90" fmla="*/ 293648 w 733038"/>
                <a:gd name="connsiteY90" fmla="*/ 645285 h 748657"/>
                <a:gd name="connsiteX91" fmla="*/ 293531 w 733038"/>
                <a:gd name="connsiteY91" fmla="*/ 688447 h 748657"/>
                <a:gd name="connsiteX92" fmla="*/ 280551 w 733038"/>
                <a:gd name="connsiteY92" fmla="*/ 689673 h 748657"/>
                <a:gd name="connsiteX93" fmla="*/ 269137 w 733038"/>
                <a:gd name="connsiteY93" fmla="*/ 708968 h 748657"/>
                <a:gd name="connsiteX94" fmla="*/ 276767 w 733038"/>
                <a:gd name="connsiteY94" fmla="*/ 717297 h 748657"/>
                <a:gd name="connsiteX95" fmla="*/ 253894 w 733038"/>
                <a:gd name="connsiteY95" fmla="*/ 724444 h 748657"/>
                <a:gd name="connsiteX96" fmla="*/ 245449 w 733038"/>
                <a:gd name="connsiteY96" fmla="*/ 741584 h 748657"/>
                <a:gd name="connsiteX97" fmla="*/ 235386 w 733038"/>
                <a:gd name="connsiteY97" fmla="*/ 748821 h 748657"/>
                <a:gd name="connsiteX98" fmla="*/ 211644 w 733038"/>
                <a:gd name="connsiteY98" fmla="*/ 725303 h 748657"/>
                <a:gd name="connsiteX99" fmla="*/ 200033 w 733038"/>
                <a:gd name="connsiteY99" fmla="*/ 689906 h 748657"/>
                <a:gd name="connsiteX100" fmla="*/ 190408 w 733038"/>
                <a:gd name="connsiteY100" fmla="*/ 664322 h 748657"/>
                <a:gd name="connsiteX101" fmla="*/ 181614 w 733038"/>
                <a:gd name="connsiteY101" fmla="*/ 652281 h 748657"/>
                <a:gd name="connsiteX102" fmla="*/ 168294 w 733038"/>
                <a:gd name="connsiteY102" fmla="*/ 627788 h 748657"/>
                <a:gd name="connsiteX103" fmla="*/ 162068 w 733038"/>
                <a:gd name="connsiteY103" fmla="*/ 595745 h 748657"/>
                <a:gd name="connsiteX104" fmla="*/ 157729 w 733038"/>
                <a:gd name="connsiteY104" fmla="*/ 579679 h 748657"/>
                <a:gd name="connsiteX105" fmla="*/ 134919 w 733038"/>
                <a:gd name="connsiteY105" fmla="*/ 544184 h 748657"/>
                <a:gd name="connsiteX106" fmla="*/ 124533 w 733038"/>
                <a:gd name="connsiteY106" fmla="*/ 493677 h 748657"/>
                <a:gd name="connsiteX107" fmla="*/ 117028 w 733038"/>
                <a:gd name="connsiteY107" fmla="*/ 460024 h 748657"/>
                <a:gd name="connsiteX108" fmla="*/ 117117 w 733038"/>
                <a:gd name="connsiteY108" fmla="*/ 427919 h 748657"/>
                <a:gd name="connsiteX109" fmla="*/ 112251 w 733038"/>
                <a:gd name="connsiteY109" fmla="*/ 402925 h 748657"/>
                <a:gd name="connsiteX110" fmla="*/ 75753 w 733038"/>
                <a:gd name="connsiteY110" fmla="*/ 418919 h 748657"/>
                <a:gd name="connsiteX111" fmla="*/ 58076 w 733038"/>
                <a:gd name="connsiteY111" fmla="*/ 415726 h 748657"/>
                <a:gd name="connsiteX112" fmla="*/ 25309 w 733038"/>
                <a:gd name="connsiteY112" fmla="*/ 383245 h 748657"/>
                <a:gd name="connsiteX113" fmla="*/ 37368 w 733038"/>
                <a:gd name="connsiteY113" fmla="*/ 373503 h 748657"/>
                <a:gd name="connsiteX114" fmla="*/ 29961 w 733038"/>
                <a:gd name="connsiteY114" fmla="*/ 362894 h 748657"/>
                <a:gd name="connsiteX115" fmla="*/ 539 w 733038"/>
                <a:gd name="connsiteY115" fmla="*/ 339859 h 748657"/>
                <a:gd name="connsiteX116" fmla="*/ 17240 w 733038"/>
                <a:gd name="connsiteY116" fmla="*/ 321637 h 748657"/>
                <a:gd name="connsiteX117" fmla="*/ 72434 w 733038"/>
                <a:gd name="connsiteY117" fmla="*/ 321709 h 748657"/>
                <a:gd name="connsiteX118" fmla="*/ 67460 w 733038"/>
                <a:gd name="connsiteY118" fmla="*/ 298119 h 748657"/>
                <a:gd name="connsiteX119" fmla="*/ 53362 w 733038"/>
                <a:gd name="connsiteY119" fmla="*/ 284111 h 748657"/>
                <a:gd name="connsiteX120" fmla="*/ 50508 w 733038"/>
                <a:gd name="connsiteY120" fmla="*/ 262722 h 748657"/>
                <a:gd name="connsiteX121" fmla="*/ 34094 w 733038"/>
                <a:gd name="connsiteY121" fmla="*/ 250180 h 748657"/>
                <a:gd name="connsiteX122" fmla="*/ 61735 w 733038"/>
                <a:gd name="connsiteY122" fmla="*/ 220705 h 748657"/>
                <a:gd name="connsiteX123" fmla="*/ 90862 w 733038"/>
                <a:gd name="connsiteY123" fmla="*/ 222852 h 748657"/>
                <a:gd name="connsiteX124" fmla="*/ 117099 w 733038"/>
                <a:gd name="connsiteY124" fmla="*/ 193099 h 748657"/>
                <a:gd name="connsiteX125" fmla="*/ 132816 w 733038"/>
                <a:gd name="connsiteY125" fmla="*/ 164018 h 748657"/>
                <a:gd name="connsiteX126" fmla="*/ 157175 w 733038"/>
                <a:gd name="connsiteY126" fmla="*/ 134954 h 748657"/>
                <a:gd name="connsiteX127" fmla="*/ 156781 w 733038"/>
                <a:gd name="connsiteY127" fmla="*/ 114129 h 748657"/>
                <a:gd name="connsiteX128" fmla="*/ 178179 w 733038"/>
                <a:gd name="connsiteY128" fmla="*/ 97105 h 748657"/>
                <a:gd name="connsiteX129" fmla="*/ 157927 w 733038"/>
                <a:gd name="connsiteY129" fmla="*/ 82488 h 748657"/>
                <a:gd name="connsiteX130" fmla="*/ 149214 w 733038"/>
                <a:gd name="connsiteY130" fmla="*/ 62325 h 748657"/>
                <a:gd name="connsiteX131" fmla="*/ 140330 w 733038"/>
                <a:gd name="connsiteY131" fmla="*/ 35972 h 748657"/>
                <a:gd name="connsiteX132" fmla="*/ 152622 w 733038"/>
                <a:gd name="connsiteY132" fmla="*/ 22902 h 748657"/>
                <a:gd name="connsiteX133" fmla="*/ 190676 w 733038"/>
                <a:gd name="connsiteY133" fmla="*/ 30309 h 748657"/>
                <a:gd name="connsiteX134" fmla="*/ 218630 w 733038"/>
                <a:gd name="connsiteY134" fmla="*/ 25801 h 74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3038" h="748657">
                  <a:moveTo>
                    <a:pt x="242855" y="163"/>
                  </a:moveTo>
                  <a:lnTo>
                    <a:pt x="269817" y="35846"/>
                  </a:lnTo>
                  <a:lnTo>
                    <a:pt x="267276" y="60384"/>
                  </a:lnTo>
                  <a:lnTo>
                    <a:pt x="277250" y="75663"/>
                  </a:lnTo>
                  <a:lnTo>
                    <a:pt x="276427" y="90817"/>
                  </a:lnTo>
                  <a:lnTo>
                    <a:pt x="258429" y="86836"/>
                  </a:lnTo>
                  <a:lnTo>
                    <a:pt x="265460" y="119308"/>
                  </a:lnTo>
                  <a:lnTo>
                    <a:pt x="290105" y="137781"/>
                  </a:lnTo>
                  <a:lnTo>
                    <a:pt x="324966" y="158042"/>
                  </a:lnTo>
                  <a:lnTo>
                    <a:pt x="309042" y="171111"/>
                  </a:lnTo>
                  <a:lnTo>
                    <a:pt x="299310" y="197867"/>
                  </a:lnTo>
                  <a:lnTo>
                    <a:pt x="323606" y="208620"/>
                  </a:lnTo>
                  <a:lnTo>
                    <a:pt x="347258" y="222503"/>
                  </a:lnTo>
                  <a:lnTo>
                    <a:pt x="379971" y="238310"/>
                  </a:lnTo>
                  <a:lnTo>
                    <a:pt x="414349" y="241942"/>
                  </a:lnTo>
                  <a:lnTo>
                    <a:pt x="428814" y="256192"/>
                  </a:lnTo>
                  <a:lnTo>
                    <a:pt x="448199" y="258840"/>
                  </a:lnTo>
                  <a:lnTo>
                    <a:pt x="478372" y="265343"/>
                  </a:lnTo>
                  <a:lnTo>
                    <a:pt x="499260" y="264878"/>
                  </a:lnTo>
                  <a:lnTo>
                    <a:pt x="502131" y="253830"/>
                  </a:lnTo>
                  <a:lnTo>
                    <a:pt x="498830" y="236020"/>
                  </a:lnTo>
                  <a:lnTo>
                    <a:pt x="500772" y="223890"/>
                  </a:lnTo>
                  <a:lnTo>
                    <a:pt x="516068" y="217941"/>
                  </a:lnTo>
                  <a:lnTo>
                    <a:pt x="518171" y="240135"/>
                  </a:lnTo>
                  <a:lnTo>
                    <a:pt x="518707" y="245762"/>
                  </a:lnTo>
                  <a:lnTo>
                    <a:pt x="541509" y="256380"/>
                  </a:lnTo>
                  <a:lnTo>
                    <a:pt x="557271" y="252005"/>
                  </a:lnTo>
                  <a:lnTo>
                    <a:pt x="578454" y="253884"/>
                  </a:lnTo>
                  <a:lnTo>
                    <a:pt x="598913" y="253052"/>
                  </a:lnTo>
                  <a:lnTo>
                    <a:pt x="600675" y="235832"/>
                  </a:lnTo>
                  <a:lnTo>
                    <a:pt x="590459" y="226842"/>
                  </a:lnTo>
                  <a:lnTo>
                    <a:pt x="610694" y="223317"/>
                  </a:lnTo>
                  <a:lnTo>
                    <a:pt x="633523" y="202242"/>
                  </a:lnTo>
                  <a:lnTo>
                    <a:pt x="662434" y="184082"/>
                  </a:lnTo>
                  <a:lnTo>
                    <a:pt x="683475" y="191105"/>
                  </a:lnTo>
                  <a:lnTo>
                    <a:pt x="701356" y="179064"/>
                  </a:lnTo>
                  <a:lnTo>
                    <a:pt x="713111" y="196821"/>
                  </a:lnTo>
                  <a:lnTo>
                    <a:pt x="704639" y="208763"/>
                  </a:lnTo>
                  <a:lnTo>
                    <a:pt x="731690" y="212994"/>
                  </a:lnTo>
                  <a:lnTo>
                    <a:pt x="733578" y="223720"/>
                  </a:lnTo>
                  <a:lnTo>
                    <a:pt x="724785" y="228890"/>
                  </a:lnTo>
                  <a:lnTo>
                    <a:pt x="726851" y="246182"/>
                  </a:lnTo>
                  <a:lnTo>
                    <a:pt x="708924" y="241110"/>
                  </a:lnTo>
                  <a:lnTo>
                    <a:pt x="676452" y="260450"/>
                  </a:lnTo>
                  <a:lnTo>
                    <a:pt x="677213" y="276364"/>
                  </a:lnTo>
                  <a:lnTo>
                    <a:pt x="663374" y="299569"/>
                  </a:lnTo>
                  <a:lnTo>
                    <a:pt x="662095" y="312969"/>
                  </a:lnTo>
                  <a:lnTo>
                    <a:pt x="650913" y="335530"/>
                  </a:lnTo>
                  <a:lnTo>
                    <a:pt x="631313" y="329303"/>
                  </a:lnTo>
                  <a:lnTo>
                    <a:pt x="630338" y="357464"/>
                  </a:lnTo>
                  <a:lnTo>
                    <a:pt x="624676" y="366687"/>
                  </a:lnTo>
                  <a:lnTo>
                    <a:pt x="627323" y="378146"/>
                  </a:lnTo>
                  <a:lnTo>
                    <a:pt x="614952" y="384533"/>
                  </a:lnTo>
                  <a:lnTo>
                    <a:pt x="601739" y="341603"/>
                  </a:lnTo>
                  <a:lnTo>
                    <a:pt x="594816" y="341693"/>
                  </a:lnTo>
                  <a:lnTo>
                    <a:pt x="590719" y="359047"/>
                  </a:lnTo>
                  <a:lnTo>
                    <a:pt x="576987" y="344985"/>
                  </a:lnTo>
                  <a:lnTo>
                    <a:pt x="584725" y="329474"/>
                  </a:lnTo>
                  <a:lnTo>
                    <a:pt x="595951" y="327890"/>
                  </a:lnTo>
                  <a:lnTo>
                    <a:pt x="607509" y="304686"/>
                  </a:lnTo>
                  <a:lnTo>
                    <a:pt x="593053" y="299980"/>
                  </a:lnTo>
                  <a:lnTo>
                    <a:pt x="569786" y="300392"/>
                  </a:lnTo>
                  <a:lnTo>
                    <a:pt x="545920" y="296608"/>
                  </a:lnTo>
                  <a:lnTo>
                    <a:pt x="543710" y="277375"/>
                  </a:lnTo>
                  <a:lnTo>
                    <a:pt x="531732" y="276006"/>
                  </a:lnTo>
                  <a:lnTo>
                    <a:pt x="511864" y="263992"/>
                  </a:lnTo>
                  <a:lnTo>
                    <a:pt x="503008" y="282841"/>
                  </a:lnTo>
                  <a:lnTo>
                    <a:pt x="521114" y="297466"/>
                  </a:lnTo>
                  <a:lnTo>
                    <a:pt x="505432" y="307727"/>
                  </a:lnTo>
                  <a:lnTo>
                    <a:pt x="499868" y="317737"/>
                  </a:lnTo>
                  <a:lnTo>
                    <a:pt x="515299" y="325063"/>
                  </a:lnTo>
                  <a:lnTo>
                    <a:pt x="511041" y="341514"/>
                  </a:lnTo>
                  <a:lnTo>
                    <a:pt x="519727" y="361919"/>
                  </a:lnTo>
                  <a:lnTo>
                    <a:pt x="523636" y="384148"/>
                  </a:lnTo>
                  <a:lnTo>
                    <a:pt x="520040" y="393953"/>
                  </a:lnTo>
                  <a:lnTo>
                    <a:pt x="502972" y="393622"/>
                  </a:lnTo>
                  <a:lnTo>
                    <a:pt x="472056" y="399186"/>
                  </a:lnTo>
                  <a:lnTo>
                    <a:pt x="473497" y="419295"/>
                  </a:lnTo>
                  <a:lnTo>
                    <a:pt x="460105" y="435039"/>
                  </a:lnTo>
                  <a:lnTo>
                    <a:pt x="424010" y="452877"/>
                  </a:lnTo>
                  <a:lnTo>
                    <a:pt x="395939" y="483882"/>
                  </a:lnTo>
                  <a:lnTo>
                    <a:pt x="377082" y="500413"/>
                  </a:lnTo>
                  <a:lnTo>
                    <a:pt x="352088" y="517517"/>
                  </a:lnTo>
                  <a:lnTo>
                    <a:pt x="352053" y="529486"/>
                  </a:lnTo>
                  <a:lnTo>
                    <a:pt x="339556" y="535891"/>
                  </a:lnTo>
                  <a:lnTo>
                    <a:pt x="316959" y="545185"/>
                  </a:lnTo>
                  <a:lnTo>
                    <a:pt x="305241" y="546563"/>
                  </a:lnTo>
                  <a:lnTo>
                    <a:pt x="297727" y="566288"/>
                  </a:lnTo>
                  <a:lnTo>
                    <a:pt x="302942" y="599771"/>
                  </a:lnTo>
                  <a:lnTo>
                    <a:pt x="304275" y="621025"/>
                  </a:lnTo>
                  <a:lnTo>
                    <a:pt x="293648" y="645285"/>
                  </a:lnTo>
                  <a:lnTo>
                    <a:pt x="293531" y="688447"/>
                  </a:lnTo>
                  <a:lnTo>
                    <a:pt x="280551" y="689673"/>
                  </a:lnTo>
                  <a:lnTo>
                    <a:pt x="269137" y="708968"/>
                  </a:lnTo>
                  <a:lnTo>
                    <a:pt x="276767" y="717297"/>
                  </a:lnTo>
                  <a:lnTo>
                    <a:pt x="253894" y="724444"/>
                  </a:lnTo>
                  <a:lnTo>
                    <a:pt x="245449" y="741584"/>
                  </a:lnTo>
                  <a:lnTo>
                    <a:pt x="235386" y="748821"/>
                  </a:lnTo>
                  <a:lnTo>
                    <a:pt x="211644" y="725303"/>
                  </a:lnTo>
                  <a:lnTo>
                    <a:pt x="200033" y="689906"/>
                  </a:lnTo>
                  <a:lnTo>
                    <a:pt x="190408" y="664322"/>
                  </a:lnTo>
                  <a:lnTo>
                    <a:pt x="181614" y="652281"/>
                  </a:lnTo>
                  <a:lnTo>
                    <a:pt x="168294" y="627788"/>
                  </a:lnTo>
                  <a:lnTo>
                    <a:pt x="162068" y="595745"/>
                  </a:lnTo>
                  <a:lnTo>
                    <a:pt x="157729" y="579679"/>
                  </a:lnTo>
                  <a:lnTo>
                    <a:pt x="134919" y="544184"/>
                  </a:lnTo>
                  <a:lnTo>
                    <a:pt x="124533" y="493677"/>
                  </a:lnTo>
                  <a:lnTo>
                    <a:pt x="117028" y="460024"/>
                  </a:lnTo>
                  <a:lnTo>
                    <a:pt x="117117" y="427919"/>
                  </a:lnTo>
                  <a:lnTo>
                    <a:pt x="112251" y="402925"/>
                  </a:lnTo>
                  <a:lnTo>
                    <a:pt x="75753" y="418919"/>
                  </a:lnTo>
                  <a:lnTo>
                    <a:pt x="58076" y="415726"/>
                  </a:lnTo>
                  <a:lnTo>
                    <a:pt x="25309" y="383245"/>
                  </a:lnTo>
                  <a:lnTo>
                    <a:pt x="37368" y="373503"/>
                  </a:lnTo>
                  <a:lnTo>
                    <a:pt x="29961" y="362894"/>
                  </a:lnTo>
                  <a:lnTo>
                    <a:pt x="539" y="339859"/>
                  </a:lnTo>
                  <a:lnTo>
                    <a:pt x="17240" y="321637"/>
                  </a:lnTo>
                  <a:lnTo>
                    <a:pt x="72434" y="321709"/>
                  </a:lnTo>
                  <a:lnTo>
                    <a:pt x="67460" y="298119"/>
                  </a:lnTo>
                  <a:lnTo>
                    <a:pt x="53362" y="284111"/>
                  </a:lnTo>
                  <a:lnTo>
                    <a:pt x="50508" y="262722"/>
                  </a:lnTo>
                  <a:lnTo>
                    <a:pt x="34094" y="250180"/>
                  </a:lnTo>
                  <a:lnTo>
                    <a:pt x="61735" y="220705"/>
                  </a:lnTo>
                  <a:lnTo>
                    <a:pt x="90862" y="222852"/>
                  </a:lnTo>
                  <a:lnTo>
                    <a:pt x="117099" y="193099"/>
                  </a:lnTo>
                  <a:lnTo>
                    <a:pt x="132816" y="164018"/>
                  </a:lnTo>
                  <a:lnTo>
                    <a:pt x="157175" y="134954"/>
                  </a:lnTo>
                  <a:lnTo>
                    <a:pt x="156781" y="114129"/>
                  </a:lnTo>
                  <a:lnTo>
                    <a:pt x="178179" y="97105"/>
                  </a:lnTo>
                  <a:lnTo>
                    <a:pt x="157927" y="82488"/>
                  </a:lnTo>
                  <a:lnTo>
                    <a:pt x="149214" y="62325"/>
                  </a:lnTo>
                  <a:lnTo>
                    <a:pt x="140330" y="35972"/>
                  </a:lnTo>
                  <a:lnTo>
                    <a:pt x="152622" y="22902"/>
                  </a:lnTo>
                  <a:lnTo>
                    <a:pt x="190676" y="30309"/>
                  </a:lnTo>
                  <a:lnTo>
                    <a:pt x="218630" y="2580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/>
            <p:cNvSpPr/>
            <p:nvPr/>
          </p:nvSpPr>
          <p:spPr>
            <a:xfrm>
              <a:off x="6810671" y="3654632"/>
              <a:ext cx="245187" cy="247736"/>
            </a:xfrm>
            <a:custGeom>
              <a:avLst/>
              <a:gdLst>
                <a:gd name="connsiteX0" fmla="*/ 166737 w 245187"/>
                <a:gd name="connsiteY0" fmla="*/ 43982 h 247736"/>
                <a:gd name="connsiteX1" fmla="*/ 183188 w 245187"/>
                <a:gd name="connsiteY1" fmla="*/ 53232 h 247736"/>
                <a:gd name="connsiteX2" fmla="*/ 185085 w 245187"/>
                <a:gd name="connsiteY2" fmla="*/ 71123 h 247736"/>
                <a:gd name="connsiteX3" fmla="*/ 172462 w 245187"/>
                <a:gd name="connsiteY3" fmla="*/ 81633 h 247736"/>
                <a:gd name="connsiteX4" fmla="*/ 166648 w 245187"/>
                <a:gd name="connsiteY4" fmla="*/ 105232 h 247736"/>
                <a:gd name="connsiteX5" fmla="*/ 184020 w 245187"/>
                <a:gd name="connsiteY5" fmla="*/ 133687 h 247736"/>
                <a:gd name="connsiteX6" fmla="*/ 214748 w 245187"/>
                <a:gd name="connsiteY6" fmla="*/ 149959 h 247736"/>
                <a:gd name="connsiteX7" fmla="*/ 227656 w 245187"/>
                <a:gd name="connsiteY7" fmla="*/ 172350 h 247736"/>
                <a:gd name="connsiteX8" fmla="*/ 223550 w 245187"/>
                <a:gd name="connsiteY8" fmla="*/ 193515 h 247736"/>
                <a:gd name="connsiteX9" fmla="*/ 231557 w 245187"/>
                <a:gd name="connsiteY9" fmla="*/ 193506 h 247736"/>
                <a:gd name="connsiteX10" fmla="*/ 231807 w 245187"/>
                <a:gd name="connsiteY10" fmla="*/ 208973 h 247736"/>
                <a:gd name="connsiteX11" fmla="*/ 245681 w 245187"/>
                <a:gd name="connsiteY11" fmla="*/ 224153 h 247736"/>
                <a:gd name="connsiteX12" fmla="*/ 230805 w 245187"/>
                <a:gd name="connsiteY12" fmla="*/ 222740 h 247736"/>
                <a:gd name="connsiteX13" fmla="*/ 213943 w 245187"/>
                <a:gd name="connsiteY13" fmla="*/ 220333 h 247736"/>
                <a:gd name="connsiteX14" fmla="*/ 195542 w 245187"/>
                <a:gd name="connsiteY14" fmla="*/ 247885 h 247736"/>
                <a:gd name="connsiteX15" fmla="*/ 148909 w 245187"/>
                <a:gd name="connsiteY15" fmla="*/ 245605 h 247736"/>
                <a:gd name="connsiteX16" fmla="*/ 78186 w 245187"/>
                <a:gd name="connsiteY16" fmla="*/ 187539 h 247736"/>
                <a:gd name="connsiteX17" fmla="*/ 40812 w 245187"/>
                <a:gd name="connsiteY17" fmla="*/ 167036 h 247736"/>
                <a:gd name="connsiteX18" fmla="*/ 10603 w 245187"/>
                <a:gd name="connsiteY18" fmla="*/ 159057 h 247736"/>
                <a:gd name="connsiteX19" fmla="*/ 494 w 245187"/>
                <a:gd name="connsiteY19" fmla="*/ 122908 h 247736"/>
                <a:gd name="connsiteX20" fmla="*/ 56019 w 245187"/>
                <a:gd name="connsiteY20" fmla="*/ 91608 h 247736"/>
                <a:gd name="connsiteX21" fmla="*/ 65501 w 245187"/>
                <a:gd name="connsiteY21" fmla="*/ 54743 h 247736"/>
                <a:gd name="connsiteX22" fmla="*/ 63131 w 245187"/>
                <a:gd name="connsiteY22" fmla="*/ 32192 h 247736"/>
                <a:gd name="connsiteX23" fmla="*/ 76862 w 245187"/>
                <a:gd name="connsiteY23" fmla="*/ 24525 h 247736"/>
                <a:gd name="connsiteX24" fmla="*/ 89717 w 245187"/>
                <a:gd name="connsiteY24" fmla="*/ 5024 h 247736"/>
                <a:gd name="connsiteX25" fmla="*/ 100487 w 245187"/>
                <a:gd name="connsiteY25" fmla="*/ 149 h 247736"/>
                <a:gd name="connsiteX26" fmla="*/ 129658 w 245187"/>
                <a:gd name="connsiteY26" fmla="*/ 4201 h 247736"/>
                <a:gd name="connsiteX27" fmla="*/ 138470 w 245187"/>
                <a:gd name="connsiteY27" fmla="*/ 12181 h 247736"/>
                <a:gd name="connsiteX28" fmla="*/ 150492 w 245187"/>
                <a:gd name="connsiteY28" fmla="*/ 6894 h 24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5187" h="247736">
                  <a:moveTo>
                    <a:pt x="166737" y="43982"/>
                  </a:moveTo>
                  <a:lnTo>
                    <a:pt x="183188" y="53232"/>
                  </a:lnTo>
                  <a:lnTo>
                    <a:pt x="185085" y="71123"/>
                  </a:lnTo>
                  <a:lnTo>
                    <a:pt x="172462" y="81633"/>
                  </a:lnTo>
                  <a:lnTo>
                    <a:pt x="166648" y="105232"/>
                  </a:lnTo>
                  <a:lnTo>
                    <a:pt x="184020" y="133687"/>
                  </a:lnTo>
                  <a:lnTo>
                    <a:pt x="214748" y="149959"/>
                  </a:lnTo>
                  <a:lnTo>
                    <a:pt x="227656" y="172350"/>
                  </a:lnTo>
                  <a:lnTo>
                    <a:pt x="223550" y="193515"/>
                  </a:lnTo>
                  <a:lnTo>
                    <a:pt x="231557" y="193506"/>
                  </a:lnTo>
                  <a:lnTo>
                    <a:pt x="231807" y="208973"/>
                  </a:lnTo>
                  <a:lnTo>
                    <a:pt x="245681" y="224153"/>
                  </a:lnTo>
                  <a:lnTo>
                    <a:pt x="230805" y="222740"/>
                  </a:lnTo>
                  <a:lnTo>
                    <a:pt x="213943" y="220333"/>
                  </a:lnTo>
                  <a:lnTo>
                    <a:pt x="195542" y="247885"/>
                  </a:lnTo>
                  <a:lnTo>
                    <a:pt x="148909" y="245605"/>
                  </a:lnTo>
                  <a:lnTo>
                    <a:pt x="78186" y="187539"/>
                  </a:lnTo>
                  <a:lnTo>
                    <a:pt x="40812" y="167036"/>
                  </a:lnTo>
                  <a:lnTo>
                    <a:pt x="10603" y="159057"/>
                  </a:lnTo>
                  <a:lnTo>
                    <a:pt x="494" y="122908"/>
                  </a:lnTo>
                  <a:lnTo>
                    <a:pt x="56019" y="91608"/>
                  </a:lnTo>
                  <a:lnTo>
                    <a:pt x="65501" y="54743"/>
                  </a:lnTo>
                  <a:lnTo>
                    <a:pt x="63131" y="32192"/>
                  </a:lnTo>
                  <a:lnTo>
                    <a:pt x="76862" y="24525"/>
                  </a:lnTo>
                  <a:lnTo>
                    <a:pt x="89717" y="5024"/>
                  </a:lnTo>
                  <a:lnTo>
                    <a:pt x="100487" y="149"/>
                  </a:lnTo>
                  <a:lnTo>
                    <a:pt x="129658" y="4201"/>
                  </a:lnTo>
                  <a:lnTo>
                    <a:pt x="138470" y="12181"/>
                  </a:lnTo>
                  <a:lnTo>
                    <a:pt x="150492" y="689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/>
            <p:cNvSpPr/>
            <p:nvPr/>
          </p:nvSpPr>
          <p:spPr>
            <a:xfrm>
              <a:off x="6944031" y="3580277"/>
              <a:ext cx="481750" cy="434804"/>
            </a:xfrm>
            <a:custGeom>
              <a:avLst/>
              <a:gdLst>
                <a:gd name="connsiteX0" fmla="*/ 246614 w 481750"/>
                <a:gd name="connsiteY0" fmla="*/ 80355 h 434804"/>
                <a:gd name="connsiteX1" fmla="*/ 268656 w 481750"/>
                <a:gd name="connsiteY1" fmla="*/ 74281 h 434804"/>
                <a:gd name="connsiteX2" fmla="*/ 286493 w 481750"/>
                <a:gd name="connsiteY2" fmla="*/ 56238 h 434804"/>
                <a:gd name="connsiteX3" fmla="*/ 303266 w 481750"/>
                <a:gd name="connsiteY3" fmla="*/ 57159 h 434804"/>
                <a:gd name="connsiteX4" fmla="*/ 314278 w 481750"/>
                <a:gd name="connsiteY4" fmla="*/ 51246 h 434804"/>
                <a:gd name="connsiteX5" fmla="*/ 332115 w 481750"/>
                <a:gd name="connsiteY5" fmla="*/ 54172 h 434804"/>
                <a:gd name="connsiteX6" fmla="*/ 359855 w 481750"/>
                <a:gd name="connsiteY6" fmla="*/ 70193 h 434804"/>
                <a:gd name="connsiteX7" fmla="*/ 379884 w 481750"/>
                <a:gd name="connsiteY7" fmla="*/ 73628 h 434804"/>
                <a:gd name="connsiteX8" fmla="*/ 408546 w 481750"/>
                <a:gd name="connsiteY8" fmla="*/ 101314 h 434804"/>
                <a:gd name="connsiteX9" fmla="*/ 427242 w 481750"/>
                <a:gd name="connsiteY9" fmla="*/ 102432 h 434804"/>
                <a:gd name="connsiteX10" fmla="*/ 429442 w 481750"/>
                <a:gd name="connsiteY10" fmla="*/ 128428 h 434804"/>
                <a:gd name="connsiteX11" fmla="*/ 419218 w 481750"/>
                <a:gd name="connsiteY11" fmla="*/ 166420 h 434804"/>
                <a:gd name="connsiteX12" fmla="*/ 412329 w 481750"/>
                <a:gd name="connsiteY12" fmla="*/ 188345 h 434804"/>
                <a:gd name="connsiteX13" fmla="*/ 423252 w 481750"/>
                <a:gd name="connsiteY13" fmla="*/ 192773 h 434804"/>
                <a:gd name="connsiteX14" fmla="*/ 412517 w 481750"/>
                <a:gd name="connsiteY14" fmla="*/ 209116 h 434804"/>
                <a:gd name="connsiteX15" fmla="*/ 420730 w 481750"/>
                <a:gd name="connsiteY15" fmla="*/ 232768 h 434804"/>
                <a:gd name="connsiteX16" fmla="*/ 422697 w 481750"/>
                <a:gd name="connsiteY16" fmla="*/ 251420 h 434804"/>
                <a:gd name="connsiteX17" fmla="*/ 441698 w 481750"/>
                <a:gd name="connsiteY17" fmla="*/ 256358 h 434804"/>
                <a:gd name="connsiteX18" fmla="*/ 443755 w 481750"/>
                <a:gd name="connsiteY18" fmla="*/ 275108 h 434804"/>
                <a:gd name="connsiteX19" fmla="*/ 421006 w 481750"/>
                <a:gd name="connsiteY19" fmla="*/ 301318 h 434804"/>
                <a:gd name="connsiteX20" fmla="*/ 433414 w 481750"/>
                <a:gd name="connsiteY20" fmla="*/ 316400 h 434804"/>
                <a:gd name="connsiteX21" fmla="*/ 443514 w 481750"/>
                <a:gd name="connsiteY21" fmla="*/ 333629 h 434804"/>
                <a:gd name="connsiteX22" fmla="*/ 467496 w 481750"/>
                <a:gd name="connsiteY22" fmla="*/ 346117 h 434804"/>
                <a:gd name="connsiteX23" fmla="*/ 468185 w 481750"/>
                <a:gd name="connsiteY23" fmla="*/ 370958 h 434804"/>
                <a:gd name="connsiteX24" fmla="*/ 480190 w 481750"/>
                <a:gd name="connsiteY24" fmla="*/ 375503 h 434804"/>
                <a:gd name="connsiteX25" fmla="*/ 482257 w 481750"/>
                <a:gd name="connsiteY25" fmla="*/ 388402 h 434804"/>
                <a:gd name="connsiteX26" fmla="*/ 446081 w 481750"/>
                <a:gd name="connsiteY26" fmla="*/ 402795 h 434804"/>
                <a:gd name="connsiteX27" fmla="*/ 436634 w 481750"/>
                <a:gd name="connsiteY27" fmla="*/ 434955 h 434804"/>
                <a:gd name="connsiteX28" fmla="*/ 389447 w 481750"/>
                <a:gd name="connsiteY28" fmla="*/ 426626 h 434804"/>
                <a:gd name="connsiteX29" fmla="*/ 362101 w 481750"/>
                <a:gd name="connsiteY29" fmla="*/ 420275 h 434804"/>
                <a:gd name="connsiteX30" fmla="*/ 333797 w 481750"/>
                <a:gd name="connsiteY30" fmla="*/ 416679 h 434804"/>
                <a:gd name="connsiteX31" fmla="*/ 323089 w 481750"/>
                <a:gd name="connsiteY31" fmla="*/ 382543 h 434804"/>
                <a:gd name="connsiteX32" fmla="*/ 311084 w 481750"/>
                <a:gd name="connsiteY32" fmla="*/ 377569 h 434804"/>
                <a:gd name="connsiteX33" fmla="*/ 291816 w 481750"/>
                <a:gd name="connsiteY33" fmla="*/ 382579 h 434804"/>
                <a:gd name="connsiteX34" fmla="*/ 266518 w 481750"/>
                <a:gd name="connsiteY34" fmla="*/ 396095 h 434804"/>
                <a:gd name="connsiteX35" fmla="*/ 235862 w 481750"/>
                <a:gd name="connsiteY35" fmla="*/ 386837 h 434804"/>
                <a:gd name="connsiteX36" fmla="*/ 210546 w 481750"/>
                <a:gd name="connsiteY36" fmla="*/ 365278 h 434804"/>
                <a:gd name="connsiteX37" fmla="*/ 186402 w 481750"/>
                <a:gd name="connsiteY37" fmla="*/ 357254 h 434804"/>
                <a:gd name="connsiteX38" fmla="*/ 169647 w 481750"/>
                <a:gd name="connsiteY38" fmla="*/ 330355 h 434804"/>
                <a:gd name="connsiteX39" fmla="*/ 151139 w 481750"/>
                <a:gd name="connsiteY39" fmla="*/ 292131 h 434804"/>
                <a:gd name="connsiteX40" fmla="*/ 137640 w 481750"/>
                <a:gd name="connsiteY40" fmla="*/ 296809 h 434804"/>
                <a:gd name="connsiteX41" fmla="*/ 121699 w 481750"/>
                <a:gd name="connsiteY41" fmla="*/ 287247 h 434804"/>
                <a:gd name="connsiteX42" fmla="*/ 112333 w 481750"/>
                <a:gd name="connsiteY42" fmla="*/ 298509 h 434804"/>
                <a:gd name="connsiteX43" fmla="*/ 98459 w 481750"/>
                <a:gd name="connsiteY43" fmla="*/ 283328 h 434804"/>
                <a:gd name="connsiteX44" fmla="*/ 98208 w 481750"/>
                <a:gd name="connsiteY44" fmla="*/ 267862 h 434804"/>
                <a:gd name="connsiteX45" fmla="*/ 90202 w 481750"/>
                <a:gd name="connsiteY45" fmla="*/ 267871 h 434804"/>
                <a:gd name="connsiteX46" fmla="*/ 94308 w 481750"/>
                <a:gd name="connsiteY46" fmla="*/ 246705 h 434804"/>
                <a:gd name="connsiteX47" fmla="*/ 81399 w 481750"/>
                <a:gd name="connsiteY47" fmla="*/ 224315 h 434804"/>
                <a:gd name="connsiteX48" fmla="*/ 50672 w 481750"/>
                <a:gd name="connsiteY48" fmla="*/ 208043 h 434804"/>
                <a:gd name="connsiteX49" fmla="*/ 33299 w 481750"/>
                <a:gd name="connsiteY49" fmla="*/ 179587 h 434804"/>
                <a:gd name="connsiteX50" fmla="*/ 39114 w 481750"/>
                <a:gd name="connsiteY50" fmla="*/ 155989 h 434804"/>
                <a:gd name="connsiteX51" fmla="*/ 51736 w 481750"/>
                <a:gd name="connsiteY51" fmla="*/ 145478 h 434804"/>
                <a:gd name="connsiteX52" fmla="*/ 49840 w 481750"/>
                <a:gd name="connsiteY52" fmla="*/ 127587 h 434804"/>
                <a:gd name="connsiteX53" fmla="*/ 33389 w 481750"/>
                <a:gd name="connsiteY53" fmla="*/ 118338 h 434804"/>
                <a:gd name="connsiteX54" fmla="*/ 17144 w 481750"/>
                <a:gd name="connsiteY54" fmla="*/ 81241 h 434804"/>
                <a:gd name="connsiteX55" fmla="*/ 3422 w 481750"/>
                <a:gd name="connsiteY55" fmla="*/ 56005 h 434804"/>
                <a:gd name="connsiteX56" fmla="*/ 8333 w 481750"/>
                <a:gd name="connsiteY56" fmla="*/ 46165 h 434804"/>
                <a:gd name="connsiteX57" fmla="*/ 506 w 481750"/>
                <a:gd name="connsiteY57" fmla="*/ 9381 h 434804"/>
                <a:gd name="connsiteX58" fmla="*/ 17681 w 481750"/>
                <a:gd name="connsiteY58" fmla="*/ 150 h 434804"/>
                <a:gd name="connsiteX59" fmla="*/ 21653 w 481750"/>
                <a:gd name="connsiteY59" fmla="*/ 12360 h 434804"/>
                <a:gd name="connsiteX60" fmla="*/ 34329 w 481750"/>
                <a:gd name="connsiteY60" fmla="*/ 27219 h 434804"/>
                <a:gd name="connsiteX61" fmla="*/ 51531 w 481750"/>
                <a:gd name="connsiteY61" fmla="*/ 31486 h 434804"/>
                <a:gd name="connsiteX62" fmla="*/ 60610 w 481750"/>
                <a:gd name="connsiteY62" fmla="*/ 30538 h 434804"/>
                <a:gd name="connsiteX63" fmla="*/ 90193 w 481750"/>
                <a:gd name="connsiteY63" fmla="*/ 6778 h 434804"/>
                <a:gd name="connsiteX64" fmla="*/ 99595 w 481750"/>
                <a:gd name="connsiteY64" fmla="*/ 4390 h 434804"/>
                <a:gd name="connsiteX65" fmla="*/ 107011 w 481750"/>
                <a:gd name="connsiteY65" fmla="*/ 13881 h 434804"/>
                <a:gd name="connsiteX66" fmla="*/ 98360 w 481750"/>
                <a:gd name="connsiteY66" fmla="*/ 29795 h 434804"/>
                <a:gd name="connsiteX67" fmla="*/ 114006 w 481750"/>
                <a:gd name="connsiteY67" fmla="*/ 46514 h 434804"/>
                <a:gd name="connsiteX68" fmla="*/ 120241 w 481750"/>
                <a:gd name="connsiteY68" fmla="*/ 44922 h 434804"/>
                <a:gd name="connsiteX69" fmla="*/ 128176 w 481750"/>
                <a:gd name="connsiteY69" fmla="*/ 68288 h 434804"/>
                <a:gd name="connsiteX70" fmla="*/ 151962 w 481750"/>
                <a:gd name="connsiteY70" fmla="*/ 74845 h 434804"/>
                <a:gd name="connsiteX71" fmla="*/ 169387 w 481750"/>
                <a:gd name="connsiteY71" fmla="*/ 90553 h 434804"/>
                <a:gd name="connsiteX72" fmla="*/ 205044 w 481750"/>
                <a:gd name="connsiteY72" fmla="*/ 95938 h 434804"/>
                <a:gd name="connsiteX73" fmla="*/ 244216 w 481750"/>
                <a:gd name="connsiteY73" fmla="*/ 87672 h 43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81750" h="434804">
                  <a:moveTo>
                    <a:pt x="246614" y="80355"/>
                  </a:moveTo>
                  <a:lnTo>
                    <a:pt x="268656" y="74281"/>
                  </a:lnTo>
                  <a:lnTo>
                    <a:pt x="286493" y="56238"/>
                  </a:lnTo>
                  <a:lnTo>
                    <a:pt x="303266" y="57159"/>
                  </a:lnTo>
                  <a:lnTo>
                    <a:pt x="314278" y="51246"/>
                  </a:lnTo>
                  <a:lnTo>
                    <a:pt x="332115" y="54172"/>
                  </a:lnTo>
                  <a:lnTo>
                    <a:pt x="359855" y="70193"/>
                  </a:lnTo>
                  <a:lnTo>
                    <a:pt x="379884" y="73628"/>
                  </a:lnTo>
                  <a:lnTo>
                    <a:pt x="408546" y="101314"/>
                  </a:lnTo>
                  <a:lnTo>
                    <a:pt x="427242" y="102432"/>
                  </a:lnTo>
                  <a:lnTo>
                    <a:pt x="429442" y="128428"/>
                  </a:lnTo>
                  <a:lnTo>
                    <a:pt x="419218" y="166420"/>
                  </a:lnTo>
                  <a:lnTo>
                    <a:pt x="412329" y="188345"/>
                  </a:lnTo>
                  <a:lnTo>
                    <a:pt x="423252" y="192773"/>
                  </a:lnTo>
                  <a:lnTo>
                    <a:pt x="412517" y="209116"/>
                  </a:lnTo>
                  <a:lnTo>
                    <a:pt x="420730" y="232768"/>
                  </a:lnTo>
                  <a:lnTo>
                    <a:pt x="422697" y="251420"/>
                  </a:lnTo>
                  <a:lnTo>
                    <a:pt x="441698" y="256358"/>
                  </a:lnTo>
                  <a:lnTo>
                    <a:pt x="443755" y="275108"/>
                  </a:lnTo>
                  <a:lnTo>
                    <a:pt x="421006" y="301318"/>
                  </a:lnTo>
                  <a:lnTo>
                    <a:pt x="433414" y="316400"/>
                  </a:lnTo>
                  <a:lnTo>
                    <a:pt x="443514" y="333629"/>
                  </a:lnTo>
                  <a:lnTo>
                    <a:pt x="467496" y="346117"/>
                  </a:lnTo>
                  <a:lnTo>
                    <a:pt x="468185" y="370958"/>
                  </a:lnTo>
                  <a:lnTo>
                    <a:pt x="480190" y="375503"/>
                  </a:lnTo>
                  <a:lnTo>
                    <a:pt x="482257" y="388402"/>
                  </a:lnTo>
                  <a:lnTo>
                    <a:pt x="446081" y="402795"/>
                  </a:lnTo>
                  <a:lnTo>
                    <a:pt x="436634" y="434955"/>
                  </a:lnTo>
                  <a:lnTo>
                    <a:pt x="389447" y="426626"/>
                  </a:lnTo>
                  <a:lnTo>
                    <a:pt x="362101" y="420275"/>
                  </a:lnTo>
                  <a:lnTo>
                    <a:pt x="333797" y="416679"/>
                  </a:lnTo>
                  <a:lnTo>
                    <a:pt x="323089" y="382543"/>
                  </a:lnTo>
                  <a:lnTo>
                    <a:pt x="311084" y="377569"/>
                  </a:lnTo>
                  <a:lnTo>
                    <a:pt x="291816" y="382579"/>
                  </a:lnTo>
                  <a:lnTo>
                    <a:pt x="266518" y="396095"/>
                  </a:lnTo>
                  <a:lnTo>
                    <a:pt x="235862" y="386837"/>
                  </a:lnTo>
                  <a:lnTo>
                    <a:pt x="210546" y="365278"/>
                  </a:lnTo>
                  <a:lnTo>
                    <a:pt x="186402" y="357254"/>
                  </a:lnTo>
                  <a:lnTo>
                    <a:pt x="169647" y="330355"/>
                  </a:lnTo>
                  <a:lnTo>
                    <a:pt x="151139" y="292131"/>
                  </a:lnTo>
                  <a:lnTo>
                    <a:pt x="137640" y="296809"/>
                  </a:lnTo>
                  <a:lnTo>
                    <a:pt x="121699" y="287247"/>
                  </a:lnTo>
                  <a:lnTo>
                    <a:pt x="112333" y="298509"/>
                  </a:lnTo>
                  <a:lnTo>
                    <a:pt x="98459" y="283328"/>
                  </a:lnTo>
                  <a:lnTo>
                    <a:pt x="98208" y="267862"/>
                  </a:lnTo>
                  <a:lnTo>
                    <a:pt x="90202" y="267871"/>
                  </a:lnTo>
                  <a:lnTo>
                    <a:pt x="94308" y="246705"/>
                  </a:lnTo>
                  <a:lnTo>
                    <a:pt x="81399" y="224315"/>
                  </a:lnTo>
                  <a:lnTo>
                    <a:pt x="50672" y="208043"/>
                  </a:lnTo>
                  <a:lnTo>
                    <a:pt x="33299" y="179587"/>
                  </a:lnTo>
                  <a:lnTo>
                    <a:pt x="39114" y="155989"/>
                  </a:lnTo>
                  <a:lnTo>
                    <a:pt x="51736" y="145478"/>
                  </a:lnTo>
                  <a:lnTo>
                    <a:pt x="49840" y="127587"/>
                  </a:lnTo>
                  <a:lnTo>
                    <a:pt x="33389" y="118338"/>
                  </a:lnTo>
                  <a:lnTo>
                    <a:pt x="17144" y="81241"/>
                  </a:lnTo>
                  <a:lnTo>
                    <a:pt x="3422" y="56005"/>
                  </a:lnTo>
                  <a:lnTo>
                    <a:pt x="8333" y="46165"/>
                  </a:lnTo>
                  <a:lnTo>
                    <a:pt x="506" y="9381"/>
                  </a:lnTo>
                  <a:lnTo>
                    <a:pt x="17681" y="150"/>
                  </a:lnTo>
                  <a:lnTo>
                    <a:pt x="21653" y="12360"/>
                  </a:lnTo>
                  <a:lnTo>
                    <a:pt x="34329" y="27219"/>
                  </a:lnTo>
                  <a:lnTo>
                    <a:pt x="51531" y="31486"/>
                  </a:lnTo>
                  <a:lnTo>
                    <a:pt x="60610" y="30538"/>
                  </a:lnTo>
                  <a:lnTo>
                    <a:pt x="90193" y="6778"/>
                  </a:lnTo>
                  <a:lnTo>
                    <a:pt x="99595" y="4390"/>
                  </a:lnTo>
                  <a:lnTo>
                    <a:pt x="107011" y="13881"/>
                  </a:lnTo>
                  <a:lnTo>
                    <a:pt x="98360" y="29795"/>
                  </a:lnTo>
                  <a:lnTo>
                    <a:pt x="114006" y="46514"/>
                  </a:lnTo>
                  <a:lnTo>
                    <a:pt x="120241" y="44922"/>
                  </a:lnTo>
                  <a:lnTo>
                    <a:pt x="128176" y="68288"/>
                  </a:lnTo>
                  <a:lnTo>
                    <a:pt x="151962" y="74845"/>
                  </a:lnTo>
                  <a:lnTo>
                    <a:pt x="169387" y="90553"/>
                  </a:lnTo>
                  <a:lnTo>
                    <a:pt x="205044" y="95938"/>
                  </a:lnTo>
                  <a:lnTo>
                    <a:pt x="244216" y="8767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5227542" y="2411735"/>
              <a:ext cx="268785" cy="179920"/>
            </a:xfrm>
            <a:custGeom>
              <a:avLst/>
              <a:gdLst>
                <a:gd name="connsiteX0" fmla="*/ 246665 w 268785"/>
                <a:gd name="connsiteY0" fmla="*/ 4536 h 179920"/>
                <a:gd name="connsiteX1" fmla="*/ 240868 w 268785"/>
                <a:gd name="connsiteY1" fmla="*/ 44612 h 179920"/>
                <a:gd name="connsiteX2" fmla="*/ 269208 w 268785"/>
                <a:gd name="connsiteY2" fmla="*/ 85770 h 179920"/>
                <a:gd name="connsiteX3" fmla="*/ 236601 w 268785"/>
                <a:gd name="connsiteY3" fmla="*/ 130552 h 179920"/>
                <a:gd name="connsiteX4" fmla="*/ 164250 w 268785"/>
                <a:gd name="connsiteY4" fmla="*/ 169742 h 179920"/>
                <a:gd name="connsiteX5" fmla="*/ 142629 w 268785"/>
                <a:gd name="connsiteY5" fmla="*/ 180011 h 179920"/>
                <a:gd name="connsiteX6" fmla="*/ 109611 w 268785"/>
                <a:gd name="connsiteY6" fmla="*/ 171728 h 179920"/>
                <a:gd name="connsiteX7" fmla="*/ 39630 w 268785"/>
                <a:gd name="connsiteY7" fmla="*/ 153765 h 179920"/>
                <a:gd name="connsiteX8" fmla="*/ 64320 w 268785"/>
                <a:gd name="connsiteY8" fmla="*/ 128351 h 179920"/>
                <a:gd name="connsiteX9" fmla="*/ 9726 w 268785"/>
                <a:gd name="connsiteY9" fmla="*/ 99734 h 179920"/>
                <a:gd name="connsiteX10" fmla="*/ 54140 w 268785"/>
                <a:gd name="connsiteY10" fmla="*/ 88257 h 179920"/>
                <a:gd name="connsiteX11" fmla="*/ 53067 w 268785"/>
                <a:gd name="connsiteY11" fmla="*/ 70697 h 179920"/>
                <a:gd name="connsiteX12" fmla="*/ 422 w 268785"/>
                <a:gd name="connsiteY12" fmla="*/ 56644 h 179920"/>
                <a:gd name="connsiteX13" fmla="*/ 17365 w 268785"/>
                <a:gd name="connsiteY13" fmla="*/ 16622 h 179920"/>
                <a:gd name="connsiteX14" fmla="*/ 55384 w 268785"/>
                <a:gd name="connsiteY14" fmla="*/ 7390 h 179920"/>
                <a:gd name="connsiteX15" fmla="*/ 94475 w 268785"/>
                <a:gd name="connsiteY15" fmla="*/ 49291 h 179920"/>
                <a:gd name="connsiteX16" fmla="*/ 132583 w 268785"/>
                <a:gd name="connsiteY16" fmla="*/ 15745 h 179920"/>
                <a:gd name="connsiteX17" fmla="*/ 164143 w 268785"/>
                <a:gd name="connsiteY17" fmla="*/ 33251 h 179920"/>
                <a:gd name="connsiteX18" fmla="*/ 205051 w 268785"/>
                <a:gd name="connsiteY18" fmla="*/ 90 h 1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8785" h="179920">
                  <a:moveTo>
                    <a:pt x="246665" y="4536"/>
                  </a:moveTo>
                  <a:lnTo>
                    <a:pt x="240868" y="44612"/>
                  </a:lnTo>
                  <a:lnTo>
                    <a:pt x="269208" y="85770"/>
                  </a:lnTo>
                  <a:lnTo>
                    <a:pt x="236601" y="130552"/>
                  </a:lnTo>
                  <a:lnTo>
                    <a:pt x="164250" y="169742"/>
                  </a:lnTo>
                  <a:lnTo>
                    <a:pt x="142629" y="180011"/>
                  </a:lnTo>
                  <a:lnTo>
                    <a:pt x="109611" y="171728"/>
                  </a:lnTo>
                  <a:lnTo>
                    <a:pt x="39630" y="153765"/>
                  </a:lnTo>
                  <a:lnTo>
                    <a:pt x="64320" y="128351"/>
                  </a:lnTo>
                  <a:lnTo>
                    <a:pt x="9726" y="99734"/>
                  </a:lnTo>
                  <a:lnTo>
                    <a:pt x="54140" y="88257"/>
                  </a:lnTo>
                  <a:lnTo>
                    <a:pt x="53067" y="70697"/>
                  </a:lnTo>
                  <a:lnTo>
                    <a:pt x="422" y="56644"/>
                  </a:lnTo>
                  <a:lnTo>
                    <a:pt x="17365" y="16622"/>
                  </a:lnTo>
                  <a:lnTo>
                    <a:pt x="55384" y="7390"/>
                  </a:lnTo>
                  <a:lnTo>
                    <a:pt x="94475" y="49291"/>
                  </a:lnTo>
                  <a:lnTo>
                    <a:pt x="132583" y="15745"/>
                  </a:lnTo>
                  <a:lnTo>
                    <a:pt x="164143" y="33251"/>
                  </a:lnTo>
                  <a:lnTo>
                    <a:pt x="205051" y="9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/>
            <p:cNvSpPr/>
            <p:nvPr/>
          </p:nvSpPr>
          <p:spPr>
            <a:xfrm>
              <a:off x="6006972" y="3325079"/>
              <a:ext cx="294226" cy="353481"/>
            </a:xfrm>
            <a:custGeom>
              <a:avLst/>
              <a:gdLst>
                <a:gd name="connsiteX0" fmla="*/ 220455 w 294226"/>
                <a:gd name="connsiteY0" fmla="*/ 302941 h 353481"/>
                <a:gd name="connsiteX1" fmla="*/ 211420 w 294226"/>
                <a:gd name="connsiteY1" fmla="*/ 327837 h 353481"/>
                <a:gd name="connsiteX2" fmla="*/ 215169 w 294226"/>
                <a:gd name="connsiteY2" fmla="*/ 337560 h 353481"/>
                <a:gd name="connsiteX3" fmla="*/ 209908 w 294226"/>
                <a:gd name="connsiteY3" fmla="*/ 353618 h 353481"/>
                <a:gd name="connsiteX4" fmla="*/ 190720 w 294226"/>
                <a:gd name="connsiteY4" fmla="*/ 341872 h 353481"/>
                <a:gd name="connsiteX5" fmla="*/ 177964 w 294226"/>
                <a:gd name="connsiteY5" fmla="*/ 338500 h 353481"/>
                <a:gd name="connsiteX6" fmla="*/ 142951 w 294226"/>
                <a:gd name="connsiteY6" fmla="*/ 322523 h 353481"/>
                <a:gd name="connsiteX7" fmla="*/ 146467 w 294226"/>
                <a:gd name="connsiteY7" fmla="*/ 306278 h 353481"/>
                <a:gd name="connsiteX8" fmla="*/ 175817 w 294226"/>
                <a:gd name="connsiteY8" fmla="*/ 309176 h 353481"/>
                <a:gd name="connsiteX9" fmla="*/ 201401 w 294226"/>
                <a:gd name="connsiteY9" fmla="*/ 305714 h 353481"/>
                <a:gd name="connsiteX10" fmla="*/ 220455 w 294226"/>
                <a:gd name="connsiteY10" fmla="*/ 302941 h 353481"/>
                <a:gd name="connsiteX11" fmla="*/ 62182 w 294226"/>
                <a:gd name="connsiteY11" fmla="*/ 206169 h 353481"/>
                <a:gd name="connsiteX12" fmla="*/ 77229 w 294226"/>
                <a:gd name="connsiteY12" fmla="*/ 229624 h 353481"/>
                <a:gd name="connsiteX13" fmla="*/ 73704 w 294226"/>
                <a:gd name="connsiteY13" fmla="*/ 272661 h 353481"/>
                <a:gd name="connsiteX14" fmla="*/ 62299 w 294226"/>
                <a:gd name="connsiteY14" fmla="*/ 270621 h 353481"/>
                <a:gd name="connsiteX15" fmla="*/ 52065 w 294226"/>
                <a:gd name="connsiteY15" fmla="*/ 281365 h 353481"/>
                <a:gd name="connsiteX16" fmla="*/ 42565 w 294226"/>
                <a:gd name="connsiteY16" fmla="*/ 272831 h 353481"/>
                <a:gd name="connsiteX17" fmla="*/ 41563 w 294226"/>
                <a:gd name="connsiteY17" fmla="*/ 233614 h 353481"/>
                <a:gd name="connsiteX18" fmla="*/ 35838 w 294226"/>
                <a:gd name="connsiteY18" fmla="*/ 214784 h 353481"/>
                <a:gd name="connsiteX19" fmla="*/ 49632 w 294226"/>
                <a:gd name="connsiteY19" fmla="*/ 216439 h 353481"/>
                <a:gd name="connsiteX20" fmla="*/ 62182 w 294226"/>
                <a:gd name="connsiteY20" fmla="*/ 206169 h 353481"/>
                <a:gd name="connsiteX21" fmla="*/ 141600 w 294226"/>
                <a:gd name="connsiteY21" fmla="*/ 12884 h 353481"/>
                <a:gd name="connsiteX22" fmla="*/ 177472 w 294226"/>
                <a:gd name="connsiteY22" fmla="*/ 22285 h 353481"/>
                <a:gd name="connsiteX23" fmla="*/ 174753 w 294226"/>
                <a:gd name="connsiteY23" fmla="*/ 40096 h 353481"/>
                <a:gd name="connsiteX24" fmla="*/ 180755 w 294226"/>
                <a:gd name="connsiteY24" fmla="*/ 55366 h 353481"/>
                <a:gd name="connsiteX25" fmla="*/ 160788 w 294226"/>
                <a:gd name="connsiteY25" fmla="*/ 50150 h 353481"/>
                <a:gd name="connsiteX26" fmla="*/ 140393 w 294226"/>
                <a:gd name="connsiteY26" fmla="*/ 62826 h 353481"/>
                <a:gd name="connsiteX27" fmla="*/ 141780 w 294226"/>
                <a:gd name="connsiteY27" fmla="*/ 80413 h 353481"/>
                <a:gd name="connsiteX28" fmla="*/ 138711 w 294226"/>
                <a:gd name="connsiteY28" fmla="*/ 90441 h 353481"/>
                <a:gd name="connsiteX29" fmla="*/ 146932 w 294226"/>
                <a:gd name="connsiteY29" fmla="*/ 108234 h 353481"/>
                <a:gd name="connsiteX30" fmla="*/ 170450 w 294226"/>
                <a:gd name="connsiteY30" fmla="*/ 125686 h 353481"/>
                <a:gd name="connsiteX31" fmla="*/ 183063 w 294226"/>
                <a:gd name="connsiteY31" fmla="*/ 154017 h 353481"/>
                <a:gd name="connsiteX32" fmla="*/ 210973 w 294226"/>
                <a:gd name="connsiteY32" fmla="*/ 181274 h 353481"/>
                <a:gd name="connsiteX33" fmla="*/ 230626 w 294226"/>
                <a:gd name="connsiteY33" fmla="*/ 181068 h 353481"/>
                <a:gd name="connsiteX34" fmla="*/ 236736 w 294226"/>
                <a:gd name="connsiteY34" fmla="*/ 188484 h 353481"/>
                <a:gd name="connsiteX35" fmla="*/ 229696 w 294226"/>
                <a:gd name="connsiteY35" fmla="*/ 195148 h 353481"/>
                <a:gd name="connsiteX36" fmla="*/ 252158 w 294226"/>
                <a:gd name="connsiteY36" fmla="*/ 207180 h 353481"/>
                <a:gd name="connsiteX37" fmla="*/ 270577 w 294226"/>
                <a:gd name="connsiteY37" fmla="*/ 217199 h 353481"/>
                <a:gd name="connsiteX38" fmla="*/ 292082 w 294226"/>
                <a:gd name="connsiteY38" fmla="*/ 234365 h 353481"/>
                <a:gd name="connsiteX39" fmla="*/ 294685 w 294226"/>
                <a:gd name="connsiteY39" fmla="*/ 240475 h 353481"/>
                <a:gd name="connsiteX40" fmla="*/ 289998 w 294226"/>
                <a:gd name="connsiteY40" fmla="*/ 252158 h 353481"/>
                <a:gd name="connsiteX41" fmla="*/ 276078 w 294226"/>
                <a:gd name="connsiteY41" fmla="*/ 236915 h 353481"/>
                <a:gd name="connsiteX42" fmla="*/ 254287 w 294226"/>
                <a:gd name="connsiteY42" fmla="*/ 231520 h 353481"/>
                <a:gd name="connsiteX43" fmla="*/ 243731 w 294226"/>
                <a:gd name="connsiteY43" fmla="*/ 252650 h 353481"/>
                <a:gd name="connsiteX44" fmla="*/ 261855 w 294226"/>
                <a:gd name="connsiteY44" fmla="*/ 264673 h 353481"/>
                <a:gd name="connsiteX45" fmla="*/ 258876 w 294226"/>
                <a:gd name="connsiteY45" fmla="*/ 281481 h 353481"/>
                <a:gd name="connsiteX46" fmla="*/ 248401 w 294226"/>
                <a:gd name="connsiteY46" fmla="*/ 283386 h 353481"/>
                <a:gd name="connsiteX47" fmla="*/ 235001 w 294226"/>
                <a:gd name="connsiteY47" fmla="*/ 310733 h 353481"/>
                <a:gd name="connsiteX48" fmla="*/ 224552 w 294226"/>
                <a:gd name="connsiteY48" fmla="*/ 313166 h 353481"/>
                <a:gd name="connsiteX49" fmla="*/ 224651 w 294226"/>
                <a:gd name="connsiteY49" fmla="*/ 303469 h 353481"/>
                <a:gd name="connsiteX50" fmla="*/ 229767 w 294226"/>
                <a:gd name="connsiteY50" fmla="*/ 286356 h 353481"/>
                <a:gd name="connsiteX51" fmla="*/ 235215 w 294226"/>
                <a:gd name="connsiteY51" fmla="*/ 279504 h 353481"/>
                <a:gd name="connsiteX52" fmla="*/ 225420 w 294226"/>
                <a:gd name="connsiteY52" fmla="*/ 260808 h 353481"/>
                <a:gd name="connsiteX53" fmla="*/ 217771 w 294226"/>
                <a:gd name="connsiteY53" fmla="*/ 244411 h 353481"/>
                <a:gd name="connsiteX54" fmla="*/ 207359 w 294226"/>
                <a:gd name="connsiteY54" fmla="*/ 240341 h 353481"/>
                <a:gd name="connsiteX55" fmla="*/ 199952 w 294226"/>
                <a:gd name="connsiteY55" fmla="*/ 226180 h 353481"/>
                <a:gd name="connsiteX56" fmla="*/ 183833 w 294226"/>
                <a:gd name="connsiteY56" fmla="*/ 220187 h 353481"/>
                <a:gd name="connsiteX57" fmla="*/ 172982 w 294226"/>
                <a:gd name="connsiteY57" fmla="*/ 206885 h 353481"/>
                <a:gd name="connsiteX58" fmla="*/ 154420 w 294226"/>
                <a:gd name="connsiteY58" fmla="*/ 204729 h 353481"/>
                <a:gd name="connsiteX59" fmla="*/ 134820 w 294226"/>
                <a:gd name="connsiteY59" fmla="*/ 189674 h 353481"/>
                <a:gd name="connsiteX60" fmla="*/ 111875 w 294226"/>
                <a:gd name="connsiteY60" fmla="*/ 167775 h 353481"/>
                <a:gd name="connsiteX61" fmla="*/ 94825 w 294226"/>
                <a:gd name="connsiteY61" fmla="*/ 148202 h 353481"/>
                <a:gd name="connsiteX62" fmla="*/ 86997 w 294226"/>
                <a:gd name="connsiteY62" fmla="*/ 114183 h 353481"/>
                <a:gd name="connsiteX63" fmla="*/ 74518 w 294226"/>
                <a:gd name="connsiteY63" fmla="*/ 110139 h 353481"/>
                <a:gd name="connsiteX64" fmla="*/ 54114 w 294226"/>
                <a:gd name="connsiteY64" fmla="*/ 98626 h 353481"/>
                <a:gd name="connsiteX65" fmla="*/ 42565 w 294226"/>
                <a:gd name="connsiteY65" fmla="*/ 103350 h 353481"/>
                <a:gd name="connsiteX66" fmla="*/ 28073 w 294226"/>
                <a:gd name="connsiteY66" fmla="*/ 119469 h 353481"/>
                <a:gd name="connsiteX67" fmla="*/ 17652 w 294226"/>
                <a:gd name="connsiteY67" fmla="*/ 122010 h 353481"/>
                <a:gd name="connsiteX68" fmla="*/ 20523 w 294226"/>
                <a:gd name="connsiteY68" fmla="*/ 106945 h 353481"/>
                <a:gd name="connsiteX69" fmla="*/ 6926 w 294226"/>
                <a:gd name="connsiteY69" fmla="*/ 102526 h 353481"/>
                <a:gd name="connsiteX70" fmla="*/ 459 w 294226"/>
                <a:gd name="connsiteY70" fmla="*/ 75341 h 353481"/>
                <a:gd name="connsiteX71" fmla="*/ 9153 w 294226"/>
                <a:gd name="connsiteY71" fmla="*/ 64535 h 353481"/>
                <a:gd name="connsiteX72" fmla="*/ 1774 w 294226"/>
                <a:gd name="connsiteY72" fmla="*/ 51135 h 353481"/>
                <a:gd name="connsiteX73" fmla="*/ 2811 w 294226"/>
                <a:gd name="connsiteY73" fmla="*/ 40990 h 353481"/>
                <a:gd name="connsiteX74" fmla="*/ 13608 w 294226"/>
                <a:gd name="connsiteY74" fmla="*/ 48683 h 353481"/>
                <a:gd name="connsiteX75" fmla="*/ 25703 w 294226"/>
                <a:gd name="connsiteY75" fmla="*/ 46984 h 353481"/>
                <a:gd name="connsiteX76" fmla="*/ 39765 w 294226"/>
                <a:gd name="connsiteY76" fmla="*/ 34782 h 353481"/>
                <a:gd name="connsiteX77" fmla="*/ 44113 w 294226"/>
                <a:gd name="connsiteY77" fmla="*/ 40498 h 353481"/>
                <a:gd name="connsiteX78" fmla="*/ 56055 w 294226"/>
                <a:gd name="connsiteY78" fmla="*/ 39353 h 353481"/>
                <a:gd name="connsiteX79" fmla="*/ 61485 w 294226"/>
                <a:gd name="connsiteY79" fmla="*/ 24772 h 353481"/>
                <a:gd name="connsiteX80" fmla="*/ 80047 w 294226"/>
                <a:gd name="connsiteY80" fmla="*/ 29317 h 353481"/>
                <a:gd name="connsiteX81" fmla="*/ 91094 w 294226"/>
                <a:gd name="connsiteY81" fmla="*/ 23198 h 353481"/>
                <a:gd name="connsiteX82" fmla="*/ 93080 w 294226"/>
                <a:gd name="connsiteY82" fmla="*/ 8259 h 353481"/>
                <a:gd name="connsiteX83" fmla="*/ 108279 w 294226"/>
                <a:gd name="connsiteY83" fmla="*/ 13456 h 353481"/>
                <a:gd name="connsiteX84" fmla="*/ 111195 w 294226"/>
                <a:gd name="connsiteY84" fmla="*/ 6505 h 353481"/>
                <a:gd name="connsiteX85" fmla="*/ 135983 w 294226"/>
                <a:gd name="connsiteY85" fmla="*/ 136 h 353481"/>
                <a:gd name="connsiteX86" fmla="*/ 141600 w 294226"/>
                <a:gd name="connsiteY86" fmla="*/ 12884 h 353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94226" h="353481">
                  <a:moveTo>
                    <a:pt x="220455" y="302941"/>
                  </a:moveTo>
                  <a:lnTo>
                    <a:pt x="211420" y="327837"/>
                  </a:lnTo>
                  <a:lnTo>
                    <a:pt x="215169" y="337560"/>
                  </a:lnTo>
                  <a:lnTo>
                    <a:pt x="209908" y="353618"/>
                  </a:lnTo>
                  <a:lnTo>
                    <a:pt x="190720" y="341872"/>
                  </a:lnTo>
                  <a:lnTo>
                    <a:pt x="177964" y="338500"/>
                  </a:lnTo>
                  <a:lnTo>
                    <a:pt x="142951" y="322523"/>
                  </a:lnTo>
                  <a:lnTo>
                    <a:pt x="146467" y="306278"/>
                  </a:lnTo>
                  <a:lnTo>
                    <a:pt x="175817" y="309176"/>
                  </a:lnTo>
                  <a:lnTo>
                    <a:pt x="201401" y="305714"/>
                  </a:lnTo>
                  <a:lnTo>
                    <a:pt x="220455" y="302941"/>
                  </a:lnTo>
                  <a:close/>
                  <a:moveTo>
                    <a:pt x="62182" y="206169"/>
                  </a:moveTo>
                  <a:lnTo>
                    <a:pt x="77229" y="229624"/>
                  </a:lnTo>
                  <a:lnTo>
                    <a:pt x="73704" y="272661"/>
                  </a:lnTo>
                  <a:lnTo>
                    <a:pt x="62299" y="270621"/>
                  </a:lnTo>
                  <a:lnTo>
                    <a:pt x="52065" y="281365"/>
                  </a:lnTo>
                  <a:lnTo>
                    <a:pt x="42565" y="272831"/>
                  </a:lnTo>
                  <a:lnTo>
                    <a:pt x="41563" y="233614"/>
                  </a:lnTo>
                  <a:lnTo>
                    <a:pt x="35838" y="214784"/>
                  </a:lnTo>
                  <a:lnTo>
                    <a:pt x="49632" y="216439"/>
                  </a:lnTo>
                  <a:lnTo>
                    <a:pt x="62182" y="206169"/>
                  </a:lnTo>
                  <a:close/>
                  <a:moveTo>
                    <a:pt x="141600" y="12884"/>
                  </a:moveTo>
                  <a:lnTo>
                    <a:pt x="177472" y="22285"/>
                  </a:lnTo>
                  <a:lnTo>
                    <a:pt x="174753" y="40096"/>
                  </a:lnTo>
                  <a:lnTo>
                    <a:pt x="180755" y="55366"/>
                  </a:lnTo>
                  <a:lnTo>
                    <a:pt x="160788" y="50150"/>
                  </a:lnTo>
                  <a:lnTo>
                    <a:pt x="140393" y="62826"/>
                  </a:lnTo>
                  <a:lnTo>
                    <a:pt x="141780" y="80413"/>
                  </a:lnTo>
                  <a:lnTo>
                    <a:pt x="138711" y="90441"/>
                  </a:lnTo>
                  <a:lnTo>
                    <a:pt x="146932" y="108234"/>
                  </a:lnTo>
                  <a:lnTo>
                    <a:pt x="170450" y="125686"/>
                  </a:lnTo>
                  <a:lnTo>
                    <a:pt x="183063" y="154017"/>
                  </a:lnTo>
                  <a:lnTo>
                    <a:pt x="210973" y="181274"/>
                  </a:lnTo>
                  <a:lnTo>
                    <a:pt x="230626" y="181068"/>
                  </a:lnTo>
                  <a:lnTo>
                    <a:pt x="236736" y="188484"/>
                  </a:lnTo>
                  <a:lnTo>
                    <a:pt x="229696" y="195148"/>
                  </a:lnTo>
                  <a:lnTo>
                    <a:pt x="252158" y="207180"/>
                  </a:lnTo>
                  <a:lnTo>
                    <a:pt x="270577" y="217199"/>
                  </a:lnTo>
                  <a:lnTo>
                    <a:pt x="292082" y="234365"/>
                  </a:lnTo>
                  <a:lnTo>
                    <a:pt x="294685" y="240475"/>
                  </a:lnTo>
                  <a:lnTo>
                    <a:pt x="289998" y="252158"/>
                  </a:lnTo>
                  <a:lnTo>
                    <a:pt x="276078" y="236915"/>
                  </a:lnTo>
                  <a:lnTo>
                    <a:pt x="254287" y="231520"/>
                  </a:lnTo>
                  <a:lnTo>
                    <a:pt x="243731" y="252650"/>
                  </a:lnTo>
                  <a:lnTo>
                    <a:pt x="261855" y="264673"/>
                  </a:lnTo>
                  <a:lnTo>
                    <a:pt x="258876" y="281481"/>
                  </a:lnTo>
                  <a:lnTo>
                    <a:pt x="248401" y="283386"/>
                  </a:lnTo>
                  <a:lnTo>
                    <a:pt x="235001" y="310733"/>
                  </a:lnTo>
                  <a:lnTo>
                    <a:pt x="224552" y="313166"/>
                  </a:lnTo>
                  <a:lnTo>
                    <a:pt x="224651" y="303469"/>
                  </a:lnTo>
                  <a:lnTo>
                    <a:pt x="229767" y="286356"/>
                  </a:lnTo>
                  <a:lnTo>
                    <a:pt x="235215" y="279504"/>
                  </a:lnTo>
                  <a:lnTo>
                    <a:pt x="225420" y="260808"/>
                  </a:lnTo>
                  <a:lnTo>
                    <a:pt x="217771" y="244411"/>
                  </a:lnTo>
                  <a:lnTo>
                    <a:pt x="207359" y="240341"/>
                  </a:lnTo>
                  <a:lnTo>
                    <a:pt x="199952" y="226180"/>
                  </a:lnTo>
                  <a:lnTo>
                    <a:pt x="183833" y="220187"/>
                  </a:lnTo>
                  <a:lnTo>
                    <a:pt x="172982" y="206885"/>
                  </a:lnTo>
                  <a:lnTo>
                    <a:pt x="154420" y="204729"/>
                  </a:lnTo>
                  <a:lnTo>
                    <a:pt x="134820" y="189674"/>
                  </a:lnTo>
                  <a:lnTo>
                    <a:pt x="111875" y="167775"/>
                  </a:lnTo>
                  <a:lnTo>
                    <a:pt x="94825" y="148202"/>
                  </a:lnTo>
                  <a:lnTo>
                    <a:pt x="86997" y="114183"/>
                  </a:lnTo>
                  <a:lnTo>
                    <a:pt x="74518" y="110139"/>
                  </a:lnTo>
                  <a:lnTo>
                    <a:pt x="54114" y="98626"/>
                  </a:lnTo>
                  <a:lnTo>
                    <a:pt x="42565" y="103350"/>
                  </a:lnTo>
                  <a:lnTo>
                    <a:pt x="28073" y="119469"/>
                  </a:lnTo>
                  <a:lnTo>
                    <a:pt x="17652" y="122010"/>
                  </a:lnTo>
                  <a:lnTo>
                    <a:pt x="20523" y="106945"/>
                  </a:lnTo>
                  <a:lnTo>
                    <a:pt x="6926" y="102526"/>
                  </a:lnTo>
                  <a:lnTo>
                    <a:pt x="459" y="75341"/>
                  </a:lnTo>
                  <a:lnTo>
                    <a:pt x="9153" y="64535"/>
                  </a:lnTo>
                  <a:lnTo>
                    <a:pt x="1774" y="51135"/>
                  </a:lnTo>
                  <a:lnTo>
                    <a:pt x="2811" y="40990"/>
                  </a:lnTo>
                  <a:lnTo>
                    <a:pt x="13608" y="48683"/>
                  </a:lnTo>
                  <a:lnTo>
                    <a:pt x="25703" y="46984"/>
                  </a:lnTo>
                  <a:lnTo>
                    <a:pt x="39765" y="34782"/>
                  </a:lnTo>
                  <a:lnTo>
                    <a:pt x="44113" y="40498"/>
                  </a:lnTo>
                  <a:lnTo>
                    <a:pt x="56055" y="39353"/>
                  </a:lnTo>
                  <a:lnTo>
                    <a:pt x="61485" y="24772"/>
                  </a:lnTo>
                  <a:lnTo>
                    <a:pt x="80047" y="29317"/>
                  </a:lnTo>
                  <a:lnTo>
                    <a:pt x="91094" y="23198"/>
                  </a:lnTo>
                  <a:lnTo>
                    <a:pt x="93080" y="8259"/>
                  </a:lnTo>
                  <a:lnTo>
                    <a:pt x="108279" y="13456"/>
                  </a:lnTo>
                  <a:lnTo>
                    <a:pt x="111195" y="6505"/>
                  </a:lnTo>
                  <a:lnTo>
                    <a:pt x="135983" y="136"/>
                  </a:lnTo>
                  <a:lnTo>
                    <a:pt x="141600" y="1288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/>
            <p:cNvSpPr/>
            <p:nvPr/>
          </p:nvSpPr>
          <p:spPr>
            <a:xfrm>
              <a:off x="3872826" y="4191227"/>
              <a:ext cx="53637" cy="21594"/>
            </a:xfrm>
            <a:custGeom>
              <a:avLst/>
              <a:gdLst>
                <a:gd name="connsiteX0" fmla="*/ 19624 w 53637"/>
                <a:gd name="connsiteY0" fmla="*/ 1063 h 21594"/>
                <a:gd name="connsiteX1" fmla="*/ 36504 w 53637"/>
                <a:gd name="connsiteY1" fmla="*/ 3415 h 21594"/>
                <a:gd name="connsiteX2" fmla="*/ 49833 w 53637"/>
                <a:gd name="connsiteY2" fmla="*/ 9722 h 21594"/>
                <a:gd name="connsiteX3" fmla="*/ 53993 w 53637"/>
                <a:gd name="connsiteY3" fmla="*/ 16905 h 21594"/>
                <a:gd name="connsiteX4" fmla="*/ 36352 w 53637"/>
                <a:gd name="connsiteY4" fmla="*/ 17388 h 21594"/>
                <a:gd name="connsiteX5" fmla="*/ 28740 w 53637"/>
                <a:gd name="connsiteY5" fmla="*/ 21763 h 21594"/>
                <a:gd name="connsiteX6" fmla="*/ 14695 w 53637"/>
                <a:gd name="connsiteY6" fmla="*/ 17558 h 21594"/>
                <a:gd name="connsiteX7" fmla="*/ 356 w 53637"/>
                <a:gd name="connsiteY7" fmla="*/ 8004 h 21594"/>
                <a:gd name="connsiteX8" fmla="*/ 3370 w 53637"/>
                <a:gd name="connsiteY8" fmla="*/ 2002 h 21594"/>
                <a:gd name="connsiteX9" fmla="*/ 13917 w 53637"/>
                <a:gd name="connsiteY9" fmla="*/ 168 h 2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637" h="21594">
                  <a:moveTo>
                    <a:pt x="19624" y="1063"/>
                  </a:moveTo>
                  <a:lnTo>
                    <a:pt x="36504" y="3415"/>
                  </a:lnTo>
                  <a:lnTo>
                    <a:pt x="49833" y="9722"/>
                  </a:lnTo>
                  <a:lnTo>
                    <a:pt x="53993" y="16905"/>
                  </a:lnTo>
                  <a:lnTo>
                    <a:pt x="36352" y="17388"/>
                  </a:lnTo>
                  <a:lnTo>
                    <a:pt x="28740" y="21763"/>
                  </a:lnTo>
                  <a:lnTo>
                    <a:pt x="14695" y="17558"/>
                  </a:lnTo>
                  <a:lnTo>
                    <a:pt x="356" y="8004"/>
                  </a:lnTo>
                  <a:lnTo>
                    <a:pt x="3370" y="2002"/>
                  </a:lnTo>
                  <a:lnTo>
                    <a:pt x="13917" y="16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/>
            <p:cNvSpPr/>
            <p:nvPr/>
          </p:nvSpPr>
          <p:spPr>
            <a:xfrm>
              <a:off x="6713613" y="3777391"/>
              <a:ext cx="107166" cy="122159"/>
            </a:xfrm>
            <a:custGeom>
              <a:avLst/>
              <a:gdLst>
                <a:gd name="connsiteX0" fmla="*/ 16114 w 107166"/>
                <a:gd name="connsiteY0" fmla="*/ 29421 h 122159"/>
                <a:gd name="connsiteX1" fmla="*/ 20480 w 107166"/>
                <a:gd name="connsiteY1" fmla="*/ 20091 h 122159"/>
                <a:gd name="connsiteX2" fmla="*/ 48426 w 107166"/>
                <a:gd name="connsiteY2" fmla="*/ 31818 h 122159"/>
                <a:gd name="connsiteX3" fmla="*/ 97545 w 107166"/>
                <a:gd name="connsiteY3" fmla="*/ 152 h 122159"/>
                <a:gd name="connsiteX4" fmla="*/ 107653 w 107166"/>
                <a:gd name="connsiteY4" fmla="*/ 36300 h 122159"/>
                <a:gd name="connsiteX5" fmla="*/ 102877 w 107166"/>
                <a:gd name="connsiteY5" fmla="*/ 40746 h 122159"/>
                <a:gd name="connsiteX6" fmla="*/ 52638 w 107166"/>
                <a:gd name="connsiteY6" fmla="*/ 55470 h 122159"/>
                <a:gd name="connsiteX7" fmla="*/ 77641 w 107166"/>
                <a:gd name="connsiteY7" fmla="*/ 84597 h 122159"/>
                <a:gd name="connsiteX8" fmla="*/ 69349 w 107166"/>
                <a:gd name="connsiteY8" fmla="*/ 89508 h 122159"/>
                <a:gd name="connsiteX9" fmla="*/ 65216 w 107166"/>
                <a:gd name="connsiteY9" fmla="*/ 99178 h 122159"/>
                <a:gd name="connsiteX10" fmla="*/ 46082 w 107166"/>
                <a:gd name="connsiteY10" fmla="*/ 103159 h 122159"/>
                <a:gd name="connsiteX11" fmla="*/ 40079 w 107166"/>
                <a:gd name="connsiteY11" fmla="*/ 113509 h 122159"/>
                <a:gd name="connsiteX12" fmla="*/ 29237 w 107166"/>
                <a:gd name="connsiteY12" fmla="*/ 122311 h 122159"/>
                <a:gd name="connsiteX13" fmla="*/ 1327 w 107166"/>
                <a:gd name="connsiteY13" fmla="*/ 117767 h 122159"/>
                <a:gd name="connsiteX14" fmla="*/ 487 w 107166"/>
                <a:gd name="connsiteY14" fmla="*/ 113616 h 122159"/>
                <a:gd name="connsiteX15" fmla="*/ 12983 w 107166"/>
                <a:gd name="connsiteY15" fmla="*/ 67404 h 122159"/>
                <a:gd name="connsiteX16" fmla="*/ 12393 w 107166"/>
                <a:gd name="connsiteY16" fmla="*/ 56043 h 122159"/>
                <a:gd name="connsiteX17" fmla="*/ 16105 w 107166"/>
                <a:gd name="connsiteY17" fmla="*/ 47437 h 12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166" h="122159">
                  <a:moveTo>
                    <a:pt x="16114" y="29421"/>
                  </a:moveTo>
                  <a:lnTo>
                    <a:pt x="20480" y="20091"/>
                  </a:lnTo>
                  <a:lnTo>
                    <a:pt x="48426" y="31818"/>
                  </a:lnTo>
                  <a:lnTo>
                    <a:pt x="97545" y="152"/>
                  </a:lnTo>
                  <a:lnTo>
                    <a:pt x="107653" y="36300"/>
                  </a:lnTo>
                  <a:lnTo>
                    <a:pt x="102877" y="40746"/>
                  </a:lnTo>
                  <a:lnTo>
                    <a:pt x="52638" y="55470"/>
                  </a:lnTo>
                  <a:lnTo>
                    <a:pt x="77641" y="84597"/>
                  </a:lnTo>
                  <a:lnTo>
                    <a:pt x="69349" y="89508"/>
                  </a:lnTo>
                  <a:lnTo>
                    <a:pt x="65216" y="99178"/>
                  </a:lnTo>
                  <a:lnTo>
                    <a:pt x="46082" y="103159"/>
                  </a:lnTo>
                  <a:lnTo>
                    <a:pt x="40079" y="113509"/>
                  </a:lnTo>
                  <a:lnTo>
                    <a:pt x="29237" y="122311"/>
                  </a:lnTo>
                  <a:lnTo>
                    <a:pt x="1327" y="117767"/>
                  </a:lnTo>
                  <a:lnTo>
                    <a:pt x="487" y="113616"/>
                  </a:lnTo>
                  <a:lnTo>
                    <a:pt x="12983" y="67404"/>
                  </a:lnTo>
                  <a:lnTo>
                    <a:pt x="12393" y="56043"/>
                  </a:lnTo>
                  <a:lnTo>
                    <a:pt x="16105" y="4743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/>
            <p:cNvSpPr/>
            <p:nvPr/>
          </p:nvSpPr>
          <p:spPr>
            <a:xfrm>
              <a:off x="9083499" y="3381731"/>
              <a:ext cx="404676" cy="464960"/>
            </a:xfrm>
            <a:custGeom>
              <a:avLst/>
              <a:gdLst>
                <a:gd name="connsiteX0" fmla="*/ 131778 w 404676"/>
                <a:gd name="connsiteY0" fmla="*/ 372659 h 464960"/>
                <a:gd name="connsiteX1" fmla="*/ 134981 w 404676"/>
                <a:gd name="connsiteY1" fmla="*/ 382982 h 464960"/>
                <a:gd name="connsiteX2" fmla="*/ 120856 w 404676"/>
                <a:gd name="connsiteY2" fmla="*/ 401096 h 464960"/>
                <a:gd name="connsiteX3" fmla="*/ 110568 w 404676"/>
                <a:gd name="connsiteY3" fmla="*/ 391507 h 464960"/>
                <a:gd name="connsiteX4" fmla="*/ 97705 w 404676"/>
                <a:gd name="connsiteY4" fmla="*/ 398458 h 464960"/>
                <a:gd name="connsiteX5" fmla="*/ 91049 w 404676"/>
                <a:gd name="connsiteY5" fmla="*/ 415865 h 464960"/>
                <a:gd name="connsiteX6" fmla="*/ 74706 w 404676"/>
                <a:gd name="connsiteY6" fmla="*/ 407403 h 464960"/>
                <a:gd name="connsiteX7" fmla="*/ 74903 w 404676"/>
                <a:gd name="connsiteY7" fmla="*/ 393242 h 464960"/>
                <a:gd name="connsiteX8" fmla="*/ 88777 w 404676"/>
                <a:gd name="connsiteY8" fmla="*/ 375325 h 464960"/>
                <a:gd name="connsiteX9" fmla="*/ 103045 w 404676"/>
                <a:gd name="connsiteY9" fmla="*/ 378813 h 464960"/>
                <a:gd name="connsiteX10" fmla="*/ 113351 w 404676"/>
                <a:gd name="connsiteY10" fmla="*/ 366137 h 464960"/>
                <a:gd name="connsiteX11" fmla="*/ 131778 w 404676"/>
                <a:gd name="connsiteY11" fmla="*/ 372659 h 464960"/>
                <a:gd name="connsiteX12" fmla="*/ 290740 w 404676"/>
                <a:gd name="connsiteY12" fmla="*/ 280672 h 464960"/>
                <a:gd name="connsiteX13" fmla="*/ 281285 w 404676"/>
                <a:gd name="connsiteY13" fmla="*/ 305550 h 464960"/>
                <a:gd name="connsiteX14" fmla="*/ 285659 w 404676"/>
                <a:gd name="connsiteY14" fmla="*/ 321034 h 464960"/>
                <a:gd name="connsiteX15" fmla="*/ 272589 w 404676"/>
                <a:gd name="connsiteY15" fmla="*/ 342647 h 464960"/>
                <a:gd name="connsiteX16" fmla="*/ 240547 w 404676"/>
                <a:gd name="connsiteY16" fmla="*/ 356977 h 464960"/>
                <a:gd name="connsiteX17" fmla="*/ 196454 w 404676"/>
                <a:gd name="connsiteY17" fmla="*/ 358838 h 464960"/>
                <a:gd name="connsiteX18" fmla="*/ 160717 w 404676"/>
                <a:gd name="connsiteY18" fmla="*/ 393225 h 464960"/>
                <a:gd name="connsiteX19" fmla="*/ 143864 w 404676"/>
                <a:gd name="connsiteY19" fmla="*/ 381703 h 464960"/>
                <a:gd name="connsiteX20" fmla="*/ 142826 w 404676"/>
                <a:gd name="connsiteY20" fmla="*/ 359133 h 464960"/>
                <a:gd name="connsiteX21" fmla="*/ 99199 w 404676"/>
                <a:gd name="connsiteY21" fmla="*/ 365815 h 464960"/>
                <a:gd name="connsiteX22" fmla="*/ 69518 w 404676"/>
                <a:gd name="connsiteY22" fmla="*/ 380021 h 464960"/>
                <a:gd name="connsiteX23" fmla="*/ 40159 w 404676"/>
                <a:gd name="connsiteY23" fmla="*/ 380593 h 464960"/>
                <a:gd name="connsiteX24" fmla="*/ 65591 w 404676"/>
                <a:gd name="connsiteY24" fmla="*/ 402626 h 464960"/>
                <a:gd name="connsiteX25" fmla="*/ 48853 w 404676"/>
                <a:gd name="connsiteY25" fmla="*/ 452819 h 464960"/>
                <a:gd name="connsiteX26" fmla="*/ 32635 w 404676"/>
                <a:gd name="connsiteY26" fmla="*/ 465101 h 464960"/>
                <a:gd name="connsiteX27" fmla="*/ 20505 w 404676"/>
                <a:gd name="connsiteY27" fmla="*/ 453759 h 464960"/>
                <a:gd name="connsiteX28" fmla="*/ 26660 w 404676"/>
                <a:gd name="connsiteY28" fmla="*/ 427271 h 464960"/>
                <a:gd name="connsiteX29" fmla="*/ 10790 w 404676"/>
                <a:gd name="connsiteY29" fmla="*/ 418666 h 464960"/>
                <a:gd name="connsiteX30" fmla="*/ 602 w 404676"/>
                <a:gd name="connsiteY30" fmla="*/ 398261 h 464960"/>
                <a:gd name="connsiteX31" fmla="*/ 24307 w 404676"/>
                <a:gd name="connsiteY31" fmla="*/ 389047 h 464960"/>
                <a:gd name="connsiteX32" fmla="*/ 37466 w 404676"/>
                <a:gd name="connsiteY32" fmla="*/ 370136 h 464960"/>
                <a:gd name="connsiteX33" fmla="*/ 62692 w 404676"/>
                <a:gd name="connsiteY33" fmla="*/ 354481 h 464960"/>
                <a:gd name="connsiteX34" fmla="*/ 81093 w 404676"/>
                <a:gd name="connsiteY34" fmla="*/ 333612 h 464960"/>
                <a:gd name="connsiteX35" fmla="*/ 131018 w 404676"/>
                <a:gd name="connsiteY35" fmla="*/ 324460 h 464960"/>
                <a:gd name="connsiteX36" fmla="*/ 157836 w 404676"/>
                <a:gd name="connsiteY36" fmla="*/ 330740 h 464960"/>
                <a:gd name="connsiteX37" fmla="*/ 184083 w 404676"/>
                <a:gd name="connsiteY37" fmla="*/ 275564 h 464960"/>
                <a:gd name="connsiteX38" fmla="*/ 200802 w 404676"/>
                <a:gd name="connsiteY38" fmla="*/ 290512 h 464960"/>
                <a:gd name="connsiteX39" fmla="*/ 237595 w 404676"/>
                <a:gd name="connsiteY39" fmla="*/ 259096 h 464960"/>
                <a:gd name="connsiteX40" fmla="*/ 251863 w 404676"/>
                <a:gd name="connsiteY40" fmla="*/ 246778 h 464960"/>
                <a:gd name="connsiteX41" fmla="*/ 267634 w 404676"/>
                <a:gd name="connsiteY41" fmla="*/ 207569 h 464960"/>
                <a:gd name="connsiteX42" fmla="*/ 263331 w 404676"/>
                <a:gd name="connsiteY42" fmla="*/ 170893 h 464960"/>
                <a:gd name="connsiteX43" fmla="*/ 273931 w 404676"/>
                <a:gd name="connsiteY43" fmla="*/ 150023 h 464960"/>
                <a:gd name="connsiteX44" fmla="*/ 300598 w 404676"/>
                <a:gd name="connsiteY44" fmla="*/ 143922 h 464960"/>
                <a:gd name="connsiteX45" fmla="*/ 314266 w 404676"/>
                <a:gd name="connsiteY45" fmla="*/ 189616 h 464960"/>
                <a:gd name="connsiteX46" fmla="*/ 313524 w 404676"/>
                <a:gd name="connsiteY46" fmla="*/ 215898 h 464960"/>
                <a:gd name="connsiteX47" fmla="*/ 290319 w 404676"/>
                <a:gd name="connsiteY47" fmla="*/ 248120 h 464960"/>
                <a:gd name="connsiteX48" fmla="*/ 290740 w 404676"/>
                <a:gd name="connsiteY48" fmla="*/ 280672 h 464960"/>
                <a:gd name="connsiteX49" fmla="*/ 364325 w 404676"/>
                <a:gd name="connsiteY49" fmla="*/ 48707 h 464960"/>
                <a:gd name="connsiteX50" fmla="*/ 381966 w 404676"/>
                <a:gd name="connsiteY50" fmla="*/ 56122 h 464960"/>
                <a:gd name="connsiteX51" fmla="*/ 399705 w 404676"/>
                <a:gd name="connsiteY51" fmla="*/ 41353 h 464960"/>
                <a:gd name="connsiteX52" fmla="*/ 405278 w 404676"/>
                <a:gd name="connsiteY52" fmla="*/ 80248 h 464960"/>
                <a:gd name="connsiteX53" fmla="*/ 368074 w 404676"/>
                <a:gd name="connsiteY53" fmla="*/ 89623 h 464960"/>
                <a:gd name="connsiteX54" fmla="*/ 346112 w 404676"/>
                <a:gd name="connsiteY54" fmla="*/ 123285 h 464960"/>
                <a:gd name="connsiteX55" fmla="*/ 306672 w 404676"/>
                <a:gd name="connsiteY55" fmla="*/ 100179 h 464960"/>
                <a:gd name="connsiteX56" fmla="*/ 293030 w 404676"/>
                <a:gd name="connsiteY56" fmla="*/ 137052 h 464960"/>
                <a:gd name="connsiteX57" fmla="*/ 265129 w 404676"/>
                <a:gd name="connsiteY57" fmla="*/ 137553 h 464960"/>
                <a:gd name="connsiteX58" fmla="*/ 261676 w 404676"/>
                <a:gd name="connsiteY58" fmla="*/ 104088 h 464960"/>
                <a:gd name="connsiteX59" fmla="*/ 274084 w 404676"/>
                <a:gd name="connsiteY59" fmla="*/ 77815 h 464960"/>
                <a:gd name="connsiteX60" fmla="*/ 300884 w 404676"/>
                <a:gd name="connsiteY60" fmla="*/ 75910 h 464960"/>
                <a:gd name="connsiteX61" fmla="*/ 308193 w 404676"/>
                <a:gd name="connsiteY61" fmla="*/ 27774 h 464960"/>
                <a:gd name="connsiteX62" fmla="*/ 315608 w 404676"/>
                <a:gd name="connsiteY62" fmla="*/ 141 h 464960"/>
                <a:gd name="connsiteX63" fmla="*/ 345084 w 404676"/>
                <a:gd name="connsiteY63" fmla="*/ 36970 h 464960"/>
                <a:gd name="connsiteX64" fmla="*/ 364325 w 404676"/>
                <a:gd name="connsiteY64" fmla="*/ 48707 h 46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04676" h="464960">
                  <a:moveTo>
                    <a:pt x="131778" y="372659"/>
                  </a:moveTo>
                  <a:lnTo>
                    <a:pt x="134981" y="382982"/>
                  </a:lnTo>
                  <a:lnTo>
                    <a:pt x="120856" y="401096"/>
                  </a:lnTo>
                  <a:lnTo>
                    <a:pt x="110568" y="391507"/>
                  </a:lnTo>
                  <a:lnTo>
                    <a:pt x="97705" y="398458"/>
                  </a:lnTo>
                  <a:lnTo>
                    <a:pt x="91049" y="415865"/>
                  </a:lnTo>
                  <a:lnTo>
                    <a:pt x="74706" y="407403"/>
                  </a:lnTo>
                  <a:lnTo>
                    <a:pt x="74903" y="393242"/>
                  </a:lnTo>
                  <a:lnTo>
                    <a:pt x="88777" y="375325"/>
                  </a:lnTo>
                  <a:lnTo>
                    <a:pt x="103045" y="378813"/>
                  </a:lnTo>
                  <a:lnTo>
                    <a:pt x="113351" y="366137"/>
                  </a:lnTo>
                  <a:lnTo>
                    <a:pt x="131778" y="372659"/>
                  </a:lnTo>
                  <a:close/>
                  <a:moveTo>
                    <a:pt x="290740" y="280672"/>
                  </a:moveTo>
                  <a:lnTo>
                    <a:pt x="281285" y="305550"/>
                  </a:lnTo>
                  <a:lnTo>
                    <a:pt x="285659" y="321034"/>
                  </a:lnTo>
                  <a:lnTo>
                    <a:pt x="272589" y="342647"/>
                  </a:lnTo>
                  <a:lnTo>
                    <a:pt x="240547" y="356977"/>
                  </a:lnTo>
                  <a:lnTo>
                    <a:pt x="196454" y="358838"/>
                  </a:lnTo>
                  <a:lnTo>
                    <a:pt x="160717" y="393225"/>
                  </a:lnTo>
                  <a:lnTo>
                    <a:pt x="143864" y="381703"/>
                  </a:lnTo>
                  <a:lnTo>
                    <a:pt x="142826" y="359133"/>
                  </a:lnTo>
                  <a:lnTo>
                    <a:pt x="99199" y="365815"/>
                  </a:lnTo>
                  <a:lnTo>
                    <a:pt x="69518" y="380021"/>
                  </a:lnTo>
                  <a:lnTo>
                    <a:pt x="40159" y="380593"/>
                  </a:lnTo>
                  <a:lnTo>
                    <a:pt x="65591" y="402626"/>
                  </a:lnTo>
                  <a:lnTo>
                    <a:pt x="48853" y="452819"/>
                  </a:lnTo>
                  <a:lnTo>
                    <a:pt x="32635" y="465101"/>
                  </a:lnTo>
                  <a:lnTo>
                    <a:pt x="20505" y="453759"/>
                  </a:lnTo>
                  <a:lnTo>
                    <a:pt x="26660" y="427271"/>
                  </a:lnTo>
                  <a:lnTo>
                    <a:pt x="10790" y="418666"/>
                  </a:lnTo>
                  <a:lnTo>
                    <a:pt x="602" y="398261"/>
                  </a:lnTo>
                  <a:lnTo>
                    <a:pt x="24307" y="389047"/>
                  </a:lnTo>
                  <a:lnTo>
                    <a:pt x="37466" y="370136"/>
                  </a:lnTo>
                  <a:lnTo>
                    <a:pt x="62692" y="354481"/>
                  </a:lnTo>
                  <a:lnTo>
                    <a:pt x="81093" y="333612"/>
                  </a:lnTo>
                  <a:lnTo>
                    <a:pt x="131018" y="324460"/>
                  </a:lnTo>
                  <a:lnTo>
                    <a:pt x="157836" y="330740"/>
                  </a:lnTo>
                  <a:lnTo>
                    <a:pt x="184083" y="275564"/>
                  </a:lnTo>
                  <a:lnTo>
                    <a:pt x="200802" y="290512"/>
                  </a:lnTo>
                  <a:lnTo>
                    <a:pt x="237595" y="259096"/>
                  </a:lnTo>
                  <a:lnTo>
                    <a:pt x="251863" y="246778"/>
                  </a:lnTo>
                  <a:lnTo>
                    <a:pt x="267634" y="207569"/>
                  </a:lnTo>
                  <a:lnTo>
                    <a:pt x="263331" y="170893"/>
                  </a:lnTo>
                  <a:lnTo>
                    <a:pt x="273931" y="150023"/>
                  </a:lnTo>
                  <a:lnTo>
                    <a:pt x="300598" y="143922"/>
                  </a:lnTo>
                  <a:lnTo>
                    <a:pt x="314266" y="189616"/>
                  </a:lnTo>
                  <a:lnTo>
                    <a:pt x="313524" y="215898"/>
                  </a:lnTo>
                  <a:lnTo>
                    <a:pt x="290319" y="248120"/>
                  </a:lnTo>
                  <a:lnTo>
                    <a:pt x="290740" y="280672"/>
                  </a:lnTo>
                  <a:close/>
                  <a:moveTo>
                    <a:pt x="364325" y="48707"/>
                  </a:moveTo>
                  <a:lnTo>
                    <a:pt x="381966" y="56122"/>
                  </a:lnTo>
                  <a:lnTo>
                    <a:pt x="399705" y="41353"/>
                  </a:lnTo>
                  <a:lnTo>
                    <a:pt x="405278" y="80248"/>
                  </a:lnTo>
                  <a:lnTo>
                    <a:pt x="368074" y="89623"/>
                  </a:lnTo>
                  <a:lnTo>
                    <a:pt x="346112" y="123285"/>
                  </a:lnTo>
                  <a:lnTo>
                    <a:pt x="306672" y="100179"/>
                  </a:lnTo>
                  <a:lnTo>
                    <a:pt x="293030" y="137052"/>
                  </a:lnTo>
                  <a:lnTo>
                    <a:pt x="265129" y="137553"/>
                  </a:lnTo>
                  <a:lnTo>
                    <a:pt x="261676" y="104088"/>
                  </a:lnTo>
                  <a:lnTo>
                    <a:pt x="274084" y="77815"/>
                  </a:lnTo>
                  <a:lnTo>
                    <a:pt x="300884" y="75910"/>
                  </a:lnTo>
                  <a:lnTo>
                    <a:pt x="308193" y="27774"/>
                  </a:lnTo>
                  <a:lnTo>
                    <a:pt x="315608" y="141"/>
                  </a:lnTo>
                  <a:lnTo>
                    <a:pt x="345084" y="36970"/>
                  </a:lnTo>
                  <a:lnTo>
                    <a:pt x="364325" y="4870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/>
            <p:cNvSpPr/>
            <p:nvPr/>
          </p:nvSpPr>
          <p:spPr>
            <a:xfrm>
              <a:off x="6687805" y="4523714"/>
              <a:ext cx="199681" cy="254043"/>
            </a:xfrm>
            <a:custGeom>
              <a:avLst/>
              <a:gdLst>
                <a:gd name="connsiteX0" fmla="*/ 178547 w 199681"/>
                <a:gd name="connsiteY0" fmla="*/ 158962 h 254043"/>
                <a:gd name="connsiteX1" fmla="*/ 193406 w 199681"/>
                <a:gd name="connsiteY1" fmla="*/ 179528 h 254043"/>
                <a:gd name="connsiteX2" fmla="*/ 175837 w 199681"/>
                <a:gd name="connsiteY2" fmla="*/ 189484 h 254043"/>
                <a:gd name="connsiteX3" fmla="*/ 169638 w 199681"/>
                <a:gd name="connsiteY3" fmla="*/ 199888 h 254043"/>
                <a:gd name="connsiteX4" fmla="*/ 160245 w 199681"/>
                <a:gd name="connsiteY4" fmla="*/ 201713 h 254043"/>
                <a:gd name="connsiteX5" fmla="*/ 156685 w 199681"/>
                <a:gd name="connsiteY5" fmla="*/ 219291 h 254043"/>
                <a:gd name="connsiteX6" fmla="*/ 148634 w 199681"/>
                <a:gd name="connsiteY6" fmla="*/ 229363 h 254043"/>
                <a:gd name="connsiteX7" fmla="*/ 143732 w 199681"/>
                <a:gd name="connsiteY7" fmla="*/ 245975 h 254043"/>
                <a:gd name="connsiteX8" fmla="*/ 133632 w 199681"/>
                <a:gd name="connsiteY8" fmla="*/ 254232 h 254043"/>
                <a:gd name="connsiteX9" fmla="*/ 97635 w 199681"/>
                <a:gd name="connsiteY9" fmla="*/ 229256 h 254043"/>
                <a:gd name="connsiteX10" fmla="*/ 95927 w 199681"/>
                <a:gd name="connsiteY10" fmla="*/ 214782 h 254043"/>
                <a:gd name="connsiteX11" fmla="*/ 4978 w 199681"/>
                <a:gd name="connsiteY11" fmla="*/ 163990 h 254043"/>
                <a:gd name="connsiteX12" fmla="*/ 738 w 199681"/>
                <a:gd name="connsiteY12" fmla="*/ 161252 h 254043"/>
                <a:gd name="connsiteX13" fmla="*/ 487 w 199681"/>
                <a:gd name="connsiteY13" fmla="*/ 134845 h 254043"/>
                <a:gd name="connsiteX14" fmla="*/ 7671 w 199681"/>
                <a:gd name="connsiteY14" fmla="*/ 124755 h 254043"/>
                <a:gd name="connsiteX15" fmla="*/ 20007 w 199681"/>
                <a:gd name="connsiteY15" fmla="*/ 108259 h 254043"/>
                <a:gd name="connsiteX16" fmla="*/ 29140 w 199681"/>
                <a:gd name="connsiteY16" fmla="*/ 90091 h 254043"/>
                <a:gd name="connsiteX17" fmla="*/ 18101 w 199681"/>
                <a:gd name="connsiteY17" fmla="*/ 61465 h 254043"/>
                <a:gd name="connsiteX18" fmla="*/ 15167 w 199681"/>
                <a:gd name="connsiteY18" fmla="*/ 48942 h 254043"/>
                <a:gd name="connsiteX19" fmla="*/ 3279 w 199681"/>
                <a:gd name="connsiteY19" fmla="*/ 31605 h 254043"/>
                <a:gd name="connsiteX20" fmla="*/ 18709 w 199681"/>
                <a:gd name="connsiteY20" fmla="*/ 16675 h 254043"/>
                <a:gd name="connsiteX21" fmla="*/ 35715 w 199681"/>
                <a:gd name="connsiteY21" fmla="*/ 189 h 254043"/>
                <a:gd name="connsiteX22" fmla="*/ 48739 w 199681"/>
                <a:gd name="connsiteY22" fmla="*/ 4393 h 254043"/>
                <a:gd name="connsiteX23" fmla="*/ 48739 w 199681"/>
                <a:gd name="connsiteY23" fmla="*/ 18429 h 254043"/>
                <a:gd name="connsiteX24" fmla="*/ 57309 w 199681"/>
                <a:gd name="connsiteY24" fmla="*/ 26658 h 254043"/>
                <a:gd name="connsiteX25" fmla="*/ 74762 w 199681"/>
                <a:gd name="connsiteY25" fmla="*/ 26658 h 254043"/>
                <a:gd name="connsiteX26" fmla="*/ 106509 w 199681"/>
                <a:gd name="connsiteY26" fmla="*/ 47868 h 254043"/>
                <a:gd name="connsiteX27" fmla="*/ 114435 w 199681"/>
                <a:gd name="connsiteY27" fmla="*/ 48119 h 254043"/>
                <a:gd name="connsiteX28" fmla="*/ 120313 w 199681"/>
                <a:gd name="connsiteY28" fmla="*/ 47430 h 254043"/>
                <a:gd name="connsiteX29" fmla="*/ 125868 w 199681"/>
                <a:gd name="connsiteY29" fmla="*/ 50310 h 254043"/>
                <a:gd name="connsiteX30" fmla="*/ 142596 w 199681"/>
                <a:gd name="connsiteY30" fmla="*/ 52278 h 254043"/>
                <a:gd name="connsiteX31" fmla="*/ 150002 w 199681"/>
                <a:gd name="connsiteY31" fmla="*/ 41875 h 254043"/>
                <a:gd name="connsiteX32" fmla="*/ 172921 w 199681"/>
                <a:gd name="connsiteY32" fmla="*/ 31426 h 254043"/>
                <a:gd name="connsiteX33" fmla="*/ 183029 w 199681"/>
                <a:gd name="connsiteY33" fmla="*/ 39862 h 254043"/>
                <a:gd name="connsiteX34" fmla="*/ 200169 w 199681"/>
                <a:gd name="connsiteY34" fmla="*/ 39871 h 254043"/>
                <a:gd name="connsiteX35" fmla="*/ 178253 w 199681"/>
                <a:gd name="connsiteY35" fmla="*/ 68184 h 25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9681" h="254043">
                  <a:moveTo>
                    <a:pt x="178547" y="158962"/>
                  </a:moveTo>
                  <a:lnTo>
                    <a:pt x="193406" y="179528"/>
                  </a:lnTo>
                  <a:lnTo>
                    <a:pt x="175837" y="189484"/>
                  </a:lnTo>
                  <a:lnTo>
                    <a:pt x="169638" y="199888"/>
                  </a:lnTo>
                  <a:lnTo>
                    <a:pt x="160245" y="201713"/>
                  </a:lnTo>
                  <a:lnTo>
                    <a:pt x="156685" y="219291"/>
                  </a:lnTo>
                  <a:lnTo>
                    <a:pt x="148634" y="229363"/>
                  </a:lnTo>
                  <a:lnTo>
                    <a:pt x="143732" y="245975"/>
                  </a:lnTo>
                  <a:lnTo>
                    <a:pt x="133632" y="254232"/>
                  </a:lnTo>
                  <a:lnTo>
                    <a:pt x="97635" y="229256"/>
                  </a:lnTo>
                  <a:lnTo>
                    <a:pt x="95927" y="214782"/>
                  </a:lnTo>
                  <a:lnTo>
                    <a:pt x="4978" y="163990"/>
                  </a:lnTo>
                  <a:lnTo>
                    <a:pt x="738" y="161252"/>
                  </a:lnTo>
                  <a:lnTo>
                    <a:pt x="487" y="134845"/>
                  </a:lnTo>
                  <a:lnTo>
                    <a:pt x="7671" y="124755"/>
                  </a:lnTo>
                  <a:lnTo>
                    <a:pt x="20007" y="108259"/>
                  </a:lnTo>
                  <a:lnTo>
                    <a:pt x="29140" y="90091"/>
                  </a:lnTo>
                  <a:lnTo>
                    <a:pt x="18101" y="61465"/>
                  </a:lnTo>
                  <a:lnTo>
                    <a:pt x="15167" y="48942"/>
                  </a:lnTo>
                  <a:lnTo>
                    <a:pt x="3279" y="31605"/>
                  </a:lnTo>
                  <a:lnTo>
                    <a:pt x="18709" y="16675"/>
                  </a:lnTo>
                  <a:lnTo>
                    <a:pt x="35715" y="189"/>
                  </a:lnTo>
                  <a:lnTo>
                    <a:pt x="48739" y="4393"/>
                  </a:lnTo>
                  <a:lnTo>
                    <a:pt x="48739" y="18429"/>
                  </a:lnTo>
                  <a:lnTo>
                    <a:pt x="57309" y="26658"/>
                  </a:lnTo>
                  <a:lnTo>
                    <a:pt x="74762" y="26658"/>
                  </a:lnTo>
                  <a:lnTo>
                    <a:pt x="106509" y="47868"/>
                  </a:lnTo>
                  <a:lnTo>
                    <a:pt x="114435" y="48119"/>
                  </a:lnTo>
                  <a:lnTo>
                    <a:pt x="120313" y="47430"/>
                  </a:lnTo>
                  <a:lnTo>
                    <a:pt x="125868" y="50310"/>
                  </a:lnTo>
                  <a:lnTo>
                    <a:pt x="142596" y="52278"/>
                  </a:lnTo>
                  <a:lnTo>
                    <a:pt x="150002" y="41875"/>
                  </a:lnTo>
                  <a:lnTo>
                    <a:pt x="172921" y="31426"/>
                  </a:lnTo>
                  <a:lnTo>
                    <a:pt x="183029" y="39862"/>
                  </a:lnTo>
                  <a:lnTo>
                    <a:pt x="200169" y="39871"/>
                  </a:lnTo>
                  <a:lnTo>
                    <a:pt x="178253" y="6818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/>
            <p:cNvSpPr/>
            <p:nvPr/>
          </p:nvSpPr>
          <p:spPr>
            <a:xfrm>
              <a:off x="7579993" y="3460595"/>
              <a:ext cx="270762" cy="133708"/>
            </a:xfrm>
            <a:custGeom>
              <a:avLst/>
              <a:gdLst>
                <a:gd name="connsiteX0" fmla="*/ 38092 w 270762"/>
                <a:gd name="connsiteY0" fmla="*/ 35284 h 133708"/>
                <a:gd name="connsiteX1" fmla="*/ 43710 w 270762"/>
                <a:gd name="connsiteY1" fmla="*/ 20435 h 133708"/>
                <a:gd name="connsiteX2" fmla="*/ 60214 w 270762"/>
                <a:gd name="connsiteY2" fmla="*/ 15631 h 133708"/>
                <a:gd name="connsiteX3" fmla="*/ 101489 w 270762"/>
                <a:gd name="connsiteY3" fmla="*/ 27340 h 133708"/>
                <a:gd name="connsiteX4" fmla="*/ 105380 w 270762"/>
                <a:gd name="connsiteY4" fmla="*/ 7240 h 133708"/>
                <a:gd name="connsiteX5" fmla="*/ 119622 w 270762"/>
                <a:gd name="connsiteY5" fmla="*/ 137 h 133708"/>
                <a:gd name="connsiteX6" fmla="*/ 155341 w 270762"/>
                <a:gd name="connsiteY6" fmla="*/ 14530 h 133708"/>
                <a:gd name="connsiteX7" fmla="*/ 164456 w 270762"/>
                <a:gd name="connsiteY7" fmla="*/ 10764 h 133708"/>
                <a:gd name="connsiteX8" fmla="*/ 206044 w 270762"/>
                <a:gd name="connsiteY8" fmla="*/ 11704 h 133708"/>
                <a:gd name="connsiteX9" fmla="*/ 243257 w 270762"/>
                <a:gd name="connsiteY9" fmla="*/ 15273 h 133708"/>
                <a:gd name="connsiteX10" fmla="*/ 255843 w 270762"/>
                <a:gd name="connsiteY10" fmla="*/ 27484 h 133708"/>
                <a:gd name="connsiteX11" fmla="*/ 271292 w 270762"/>
                <a:gd name="connsiteY11" fmla="*/ 32448 h 133708"/>
                <a:gd name="connsiteX12" fmla="*/ 267768 w 270762"/>
                <a:gd name="connsiteY12" fmla="*/ 40079 h 133708"/>
                <a:gd name="connsiteX13" fmla="*/ 228247 w 270762"/>
                <a:gd name="connsiteY13" fmla="*/ 58256 h 133708"/>
                <a:gd name="connsiteX14" fmla="*/ 219310 w 270762"/>
                <a:gd name="connsiteY14" fmla="*/ 71478 h 133708"/>
                <a:gd name="connsiteX15" fmla="*/ 187133 w 270762"/>
                <a:gd name="connsiteY15" fmla="*/ 75414 h 133708"/>
                <a:gd name="connsiteX16" fmla="*/ 177642 w 270762"/>
                <a:gd name="connsiteY16" fmla="*/ 96471 h 133708"/>
                <a:gd name="connsiteX17" fmla="*/ 151101 w 270762"/>
                <a:gd name="connsiteY17" fmla="*/ 92070 h 133708"/>
                <a:gd name="connsiteX18" fmla="*/ 133765 w 270762"/>
                <a:gd name="connsiteY18" fmla="*/ 98493 h 133708"/>
                <a:gd name="connsiteX19" fmla="*/ 109817 w 270762"/>
                <a:gd name="connsiteY19" fmla="*/ 113933 h 133708"/>
                <a:gd name="connsiteX20" fmla="*/ 113279 w 270762"/>
                <a:gd name="connsiteY20" fmla="*/ 121537 h 133708"/>
                <a:gd name="connsiteX21" fmla="*/ 106141 w 270762"/>
                <a:gd name="connsiteY21" fmla="*/ 128952 h 133708"/>
                <a:gd name="connsiteX22" fmla="*/ 58712 w 270762"/>
                <a:gd name="connsiteY22" fmla="*/ 133846 h 133708"/>
                <a:gd name="connsiteX23" fmla="*/ 27733 w 270762"/>
                <a:gd name="connsiteY23" fmla="*/ 123344 h 133708"/>
                <a:gd name="connsiteX24" fmla="*/ 530 w 270762"/>
                <a:gd name="connsiteY24" fmla="*/ 125857 h 133708"/>
                <a:gd name="connsiteX25" fmla="*/ 2910 w 270762"/>
                <a:gd name="connsiteY25" fmla="*/ 107108 h 133708"/>
                <a:gd name="connsiteX26" fmla="*/ 30212 w 270762"/>
                <a:gd name="connsiteY26" fmla="*/ 112564 h 133708"/>
                <a:gd name="connsiteX27" fmla="*/ 39390 w 270762"/>
                <a:gd name="connsiteY27" fmla="*/ 102492 h 133708"/>
                <a:gd name="connsiteX28" fmla="*/ 58470 w 270762"/>
                <a:gd name="connsiteY28" fmla="*/ 105712 h 133708"/>
                <a:gd name="connsiteX29" fmla="*/ 90594 w 270762"/>
                <a:gd name="connsiteY29" fmla="*/ 82051 h 133708"/>
                <a:gd name="connsiteX30" fmla="*/ 60868 w 270762"/>
                <a:gd name="connsiteY30" fmla="*/ 64572 h 133708"/>
                <a:gd name="connsiteX31" fmla="*/ 43004 w 270762"/>
                <a:gd name="connsiteY31" fmla="*/ 72864 h 133708"/>
                <a:gd name="connsiteX32" fmla="*/ 24486 w 270762"/>
                <a:gd name="connsiteY32" fmla="*/ 60332 h 133708"/>
                <a:gd name="connsiteX33" fmla="*/ 45544 w 270762"/>
                <a:gd name="connsiteY33" fmla="*/ 38603 h 133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0762" h="133708">
                  <a:moveTo>
                    <a:pt x="38092" y="35284"/>
                  </a:moveTo>
                  <a:lnTo>
                    <a:pt x="43710" y="20435"/>
                  </a:lnTo>
                  <a:lnTo>
                    <a:pt x="60214" y="15631"/>
                  </a:lnTo>
                  <a:lnTo>
                    <a:pt x="101489" y="27340"/>
                  </a:lnTo>
                  <a:lnTo>
                    <a:pt x="105380" y="7240"/>
                  </a:lnTo>
                  <a:lnTo>
                    <a:pt x="119622" y="137"/>
                  </a:lnTo>
                  <a:lnTo>
                    <a:pt x="155341" y="14530"/>
                  </a:lnTo>
                  <a:lnTo>
                    <a:pt x="164456" y="10764"/>
                  </a:lnTo>
                  <a:lnTo>
                    <a:pt x="206044" y="11704"/>
                  </a:lnTo>
                  <a:lnTo>
                    <a:pt x="243257" y="15273"/>
                  </a:lnTo>
                  <a:lnTo>
                    <a:pt x="255843" y="27484"/>
                  </a:lnTo>
                  <a:lnTo>
                    <a:pt x="271292" y="32448"/>
                  </a:lnTo>
                  <a:lnTo>
                    <a:pt x="267768" y="40079"/>
                  </a:lnTo>
                  <a:lnTo>
                    <a:pt x="228247" y="58256"/>
                  </a:lnTo>
                  <a:lnTo>
                    <a:pt x="219310" y="71478"/>
                  </a:lnTo>
                  <a:lnTo>
                    <a:pt x="187133" y="75414"/>
                  </a:lnTo>
                  <a:lnTo>
                    <a:pt x="177642" y="96471"/>
                  </a:lnTo>
                  <a:lnTo>
                    <a:pt x="151101" y="92070"/>
                  </a:lnTo>
                  <a:lnTo>
                    <a:pt x="133765" y="98493"/>
                  </a:lnTo>
                  <a:lnTo>
                    <a:pt x="109817" y="113933"/>
                  </a:lnTo>
                  <a:lnTo>
                    <a:pt x="113279" y="121537"/>
                  </a:lnTo>
                  <a:lnTo>
                    <a:pt x="106141" y="128952"/>
                  </a:lnTo>
                  <a:lnTo>
                    <a:pt x="58712" y="133846"/>
                  </a:lnTo>
                  <a:lnTo>
                    <a:pt x="27733" y="123344"/>
                  </a:lnTo>
                  <a:lnTo>
                    <a:pt x="530" y="125857"/>
                  </a:lnTo>
                  <a:lnTo>
                    <a:pt x="2910" y="107108"/>
                  </a:lnTo>
                  <a:lnTo>
                    <a:pt x="30212" y="112564"/>
                  </a:lnTo>
                  <a:lnTo>
                    <a:pt x="39390" y="102492"/>
                  </a:lnTo>
                  <a:lnTo>
                    <a:pt x="58470" y="105712"/>
                  </a:lnTo>
                  <a:lnTo>
                    <a:pt x="90594" y="82051"/>
                  </a:lnTo>
                  <a:lnTo>
                    <a:pt x="60868" y="64572"/>
                  </a:lnTo>
                  <a:lnTo>
                    <a:pt x="43004" y="72864"/>
                  </a:lnTo>
                  <a:lnTo>
                    <a:pt x="24486" y="60332"/>
                  </a:lnTo>
                  <a:lnTo>
                    <a:pt x="45544" y="3860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/>
            <p:cNvSpPr/>
            <p:nvPr/>
          </p:nvSpPr>
          <p:spPr>
            <a:xfrm>
              <a:off x="8404768" y="4294065"/>
              <a:ext cx="132089" cy="104295"/>
            </a:xfrm>
            <a:custGeom>
              <a:avLst/>
              <a:gdLst>
                <a:gd name="connsiteX0" fmla="*/ 29387 w 132089"/>
                <a:gd name="connsiteY0" fmla="*/ 100767 h 104295"/>
                <a:gd name="connsiteX1" fmla="*/ 19189 w 132089"/>
                <a:gd name="connsiteY1" fmla="*/ 87545 h 104295"/>
                <a:gd name="connsiteX2" fmla="*/ 6504 w 132089"/>
                <a:gd name="connsiteY2" fmla="*/ 61255 h 104295"/>
                <a:gd name="connsiteX3" fmla="*/ 564 w 132089"/>
                <a:gd name="connsiteY3" fmla="*/ 30393 h 104295"/>
                <a:gd name="connsiteX4" fmla="*/ 16631 w 132089"/>
                <a:gd name="connsiteY4" fmla="*/ 9057 h 104295"/>
                <a:gd name="connsiteX5" fmla="*/ 49058 w 132089"/>
                <a:gd name="connsiteY5" fmla="*/ 4138 h 104295"/>
                <a:gd name="connsiteX6" fmla="*/ 72567 w 132089"/>
                <a:gd name="connsiteY6" fmla="*/ 7832 h 104295"/>
                <a:gd name="connsiteX7" fmla="*/ 93267 w 132089"/>
                <a:gd name="connsiteY7" fmla="*/ 17905 h 104295"/>
                <a:gd name="connsiteX8" fmla="*/ 104619 w 132089"/>
                <a:gd name="connsiteY8" fmla="*/ 175 h 104295"/>
                <a:gd name="connsiteX9" fmla="*/ 126839 w 132089"/>
                <a:gd name="connsiteY9" fmla="*/ 9648 h 104295"/>
                <a:gd name="connsiteX10" fmla="*/ 132654 w 132089"/>
                <a:gd name="connsiteY10" fmla="*/ 26770 h 104295"/>
                <a:gd name="connsiteX11" fmla="*/ 129568 w 132089"/>
                <a:gd name="connsiteY11" fmla="*/ 57417 h 104295"/>
                <a:gd name="connsiteX12" fmla="*/ 87407 w 132089"/>
                <a:gd name="connsiteY12" fmla="*/ 77017 h 104295"/>
                <a:gd name="connsiteX13" fmla="*/ 98419 w 132089"/>
                <a:gd name="connsiteY13" fmla="*/ 92412 h 104295"/>
                <a:gd name="connsiteX14" fmla="*/ 72093 w 132089"/>
                <a:gd name="connsiteY14" fmla="*/ 94255 h 104295"/>
                <a:gd name="connsiteX15" fmla="*/ 50382 w 132089"/>
                <a:gd name="connsiteY15" fmla="*/ 104470 h 10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089" h="104295">
                  <a:moveTo>
                    <a:pt x="29387" y="100767"/>
                  </a:moveTo>
                  <a:lnTo>
                    <a:pt x="19189" y="87545"/>
                  </a:lnTo>
                  <a:lnTo>
                    <a:pt x="6504" y="61255"/>
                  </a:lnTo>
                  <a:lnTo>
                    <a:pt x="564" y="30393"/>
                  </a:lnTo>
                  <a:lnTo>
                    <a:pt x="16631" y="9057"/>
                  </a:lnTo>
                  <a:lnTo>
                    <a:pt x="49058" y="4138"/>
                  </a:lnTo>
                  <a:lnTo>
                    <a:pt x="72567" y="7832"/>
                  </a:lnTo>
                  <a:lnTo>
                    <a:pt x="93267" y="17905"/>
                  </a:lnTo>
                  <a:lnTo>
                    <a:pt x="104619" y="175"/>
                  </a:lnTo>
                  <a:lnTo>
                    <a:pt x="126839" y="9648"/>
                  </a:lnTo>
                  <a:lnTo>
                    <a:pt x="132654" y="26770"/>
                  </a:lnTo>
                  <a:lnTo>
                    <a:pt x="129568" y="57417"/>
                  </a:lnTo>
                  <a:lnTo>
                    <a:pt x="87407" y="77017"/>
                  </a:lnTo>
                  <a:lnTo>
                    <a:pt x="98419" y="92412"/>
                  </a:lnTo>
                  <a:lnTo>
                    <a:pt x="72093" y="94255"/>
                  </a:lnTo>
                  <a:lnTo>
                    <a:pt x="50382" y="10447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/>
            <p:cNvSpPr/>
            <p:nvPr/>
          </p:nvSpPr>
          <p:spPr>
            <a:xfrm>
              <a:off x="8954505" y="3471312"/>
              <a:ext cx="163380" cy="174383"/>
            </a:xfrm>
            <a:custGeom>
              <a:avLst/>
              <a:gdLst>
                <a:gd name="connsiteX0" fmla="*/ 160464 w 163380"/>
                <a:gd name="connsiteY0" fmla="*/ 20212 h 174383"/>
                <a:gd name="connsiteX1" fmla="*/ 163971 w 163380"/>
                <a:gd name="connsiteY1" fmla="*/ 26125 h 174383"/>
                <a:gd name="connsiteX2" fmla="*/ 154444 w 163380"/>
                <a:gd name="connsiteY2" fmla="*/ 24104 h 174383"/>
                <a:gd name="connsiteX3" fmla="*/ 143557 w 163380"/>
                <a:gd name="connsiteY3" fmla="*/ 35509 h 174383"/>
                <a:gd name="connsiteX4" fmla="*/ 136069 w 163380"/>
                <a:gd name="connsiteY4" fmla="*/ 46906 h 174383"/>
                <a:gd name="connsiteX5" fmla="*/ 137018 w 163380"/>
                <a:gd name="connsiteY5" fmla="*/ 70772 h 174383"/>
                <a:gd name="connsiteX6" fmla="*/ 124056 w 163380"/>
                <a:gd name="connsiteY6" fmla="*/ 78072 h 174383"/>
                <a:gd name="connsiteX7" fmla="*/ 119592 w 163380"/>
                <a:gd name="connsiteY7" fmla="*/ 83869 h 174383"/>
                <a:gd name="connsiteX8" fmla="*/ 110137 w 163380"/>
                <a:gd name="connsiteY8" fmla="*/ 93557 h 174383"/>
                <a:gd name="connsiteX9" fmla="*/ 93435 w 163380"/>
                <a:gd name="connsiteY9" fmla="*/ 98933 h 174383"/>
                <a:gd name="connsiteX10" fmla="*/ 82549 w 163380"/>
                <a:gd name="connsiteY10" fmla="*/ 107673 h 174383"/>
                <a:gd name="connsiteX11" fmla="*/ 81761 w 163380"/>
                <a:gd name="connsiteY11" fmla="*/ 121699 h 174383"/>
                <a:gd name="connsiteX12" fmla="*/ 78836 w 163380"/>
                <a:gd name="connsiteY12" fmla="*/ 125268 h 174383"/>
                <a:gd name="connsiteX13" fmla="*/ 88819 w 163380"/>
                <a:gd name="connsiteY13" fmla="*/ 130502 h 174383"/>
                <a:gd name="connsiteX14" fmla="*/ 103025 w 163380"/>
                <a:gd name="connsiteY14" fmla="*/ 144564 h 174383"/>
                <a:gd name="connsiteX15" fmla="*/ 99411 w 163380"/>
                <a:gd name="connsiteY15" fmla="*/ 152284 h 174383"/>
                <a:gd name="connsiteX16" fmla="*/ 88730 w 163380"/>
                <a:gd name="connsiteY16" fmla="*/ 154386 h 174383"/>
                <a:gd name="connsiteX17" fmla="*/ 71009 w 163380"/>
                <a:gd name="connsiteY17" fmla="*/ 155925 h 174383"/>
                <a:gd name="connsiteX18" fmla="*/ 61232 w 163380"/>
                <a:gd name="connsiteY18" fmla="*/ 170237 h 174383"/>
                <a:gd name="connsiteX19" fmla="*/ 50041 w 163380"/>
                <a:gd name="connsiteY19" fmla="*/ 169110 h 174383"/>
                <a:gd name="connsiteX20" fmla="*/ 48466 w 163380"/>
                <a:gd name="connsiteY20" fmla="*/ 171973 h 174383"/>
                <a:gd name="connsiteX21" fmla="*/ 36291 w 163380"/>
                <a:gd name="connsiteY21" fmla="*/ 165961 h 174383"/>
                <a:gd name="connsiteX22" fmla="*/ 33259 w 163380"/>
                <a:gd name="connsiteY22" fmla="*/ 171901 h 174383"/>
                <a:gd name="connsiteX23" fmla="*/ 25915 w 163380"/>
                <a:gd name="connsiteY23" fmla="*/ 174522 h 174383"/>
                <a:gd name="connsiteX24" fmla="*/ 25029 w 163380"/>
                <a:gd name="connsiteY24" fmla="*/ 168574 h 174383"/>
                <a:gd name="connsiteX25" fmla="*/ 18535 w 163380"/>
                <a:gd name="connsiteY25" fmla="*/ 165675 h 174383"/>
                <a:gd name="connsiteX26" fmla="*/ 11790 w 163380"/>
                <a:gd name="connsiteY26" fmla="*/ 160621 h 174383"/>
                <a:gd name="connsiteX27" fmla="*/ 18651 w 163380"/>
                <a:gd name="connsiteY27" fmla="*/ 146603 h 174383"/>
                <a:gd name="connsiteX28" fmla="*/ 24564 w 163380"/>
                <a:gd name="connsiteY28" fmla="*/ 142846 h 174383"/>
                <a:gd name="connsiteX29" fmla="*/ 22336 w 163380"/>
                <a:gd name="connsiteY29" fmla="*/ 136996 h 174383"/>
                <a:gd name="connsiteX30" fmla="*/ 28697 w 163380"/>
                <a:gd name="connsiteY30" fmla="*/ 119633 h 174383"/>
                <a:gd name="connsiteX31" fmla="*/ 27060 w 163380"/>
                <a:gd name="connsiteY31" fmla="*/ 114337 h 174383"/>
                <a:gd name="connsiteX32" fmla="*/ 12416 w 163380"/>
                <a:gd name="connsiteY32" fmla="*/ 110813 h 174383"/>
                <a:gd name="connsiteX33" fmla="*/ 590 w 163380"/>
                <a:gd name="connsiteY33" fmla="*/ 102091 h 174383"/>
                <a:gd name="connsiteX34" fmla="*/ 21012 w 163380"/>
                <a:gd name="connsiteY34" fmla="*/ 81095 h 174383"/>
                <a:gd name="connsiteX35" fmla="*/ 48654 w 163380"/>
                <a:gd name="connsiteY35" fmla="*/ 63348 h 174383"/>
                <a:gd name="connsiteX36" fmla="*/ 65892 w 163380"/>
                <a:gd name="connsiteY36" fmla="*/ 39696 h 174383"/>
                <a:gd name="connsiteX37" fmla="*/ 77799 w 163380"/>
                <a:gd name="connsiteY37" fmla="*/ 50180 h 174383"/>
                <a:gd name="connsiteX38" fmla="*/ 99473 w 163380"/>
                <a:gd name="connsiteY38" fmla="*/ 51396 h 174383"/>
                <a:gd name="connsiteX39" fmla="*/ 95565 w 163380"/>
                <a:gd name="connsiteY39" fmla="*/ 33729 h 174383"/>
                <a:gd name="connsiteX40" fmla="*/ 134298 w 163380"/>
                <a:gd name="connsiteY40" fmla="*/ 19201 h 174383"/>
                <a:gd name="connsiteX41" fmla="*/ 144264 w 163380"/>
                <a:gd name="connsiteY41" fmla="*/ 139 h 17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63380" h="174383">
                  <a:moveTo>
                    <a:pt x="160464" y="20212"/>
                  </a:moveTo>
                  <a:lnTo>
                    <a:pt x="163971" y="26125"/>
                  </a:lnTo>
                  <a:lnTo>
                    <a:pt x="154444" y="24104"/>
                  </a:lnTo>
                  <a:lnTo>
                    <a:pt x="143557" y="35509"/>
                  </a:lnTo>
                  <a:lnTo>
                    <a:pt x="136069" y="46906"/>
                  </a:lnTo>
                  <a:lnTo>
                    <a:pt x="137018" y="70772"/>
                  </a:lnTo>
                  <a:lnTo>
                    <a:pt x="124056" y="78072"/>
                  </a:lnTo>
                  <a:lnTo>
                    <a:pt x="119592" y="83869"/>
                  </a:lnTo>
                  <a:lnTo>
                    <a:pt x="110137" y="93557"/>
                  </a:lnTo>
                  <a:lnTo>
                    <a:pt x="93435" y="98933"/>
                  </a:lnTo>
                  <a:lnTo>
                    <a:pt x="82549" y="107673"/>
                  </a:lnTo>
                  <a:lnTo>
                    <a:pt x="81761" y="121699"/>
                  </a:lnTo>
                  <a:lnTo>
                    <a:pt x="78836" y="125268"/>
                  </a:lnTo>
                  <a:lnTo>
                    <a:pt x="88819" y="130502"/>
                  </a:lnTo>
                  <a:lnTo>
                    <a:pt x="103025" y="144564"/>
                  </a:lnTo>
                  <a:lnTo>
                    <a:pt x="99411" y="152284"/>
                  </a:lnTo>
                  <a:lnTo>
                    <a:pt x="88730" y="154386"/>
                  </a:lnTo>
                  <a:lnTo>
                    <a:pt x="71009" y="155925"/>
                  </a:lnTo>
                  <a:lnTo>
                    <a:pt x="61232" y="170237"/>
                  </a:lnTo>
                  <a:lnTo>
                    <a:pt x="50041" y="169110"/>
                  </a:lnTo>
                  <a:lnTo>
                    <a:pt x="48466" y="171973"/>
                  </a:lnTo>
                  <a:lnTo>
                    <a:pt x="36291" y="165961"/>
                  </a:lnTo>
                  <a:lnTo>
                    <a:pt x="33259" y="171901"/>
                  </a:lnTo>
                  <a:lnTo>
                    <a:pt x="25915" y="174522"/>
                  </a:lnTo>
                  <a:lnTo>
                    <a:pt x="25029" y="168574"/>
                  </a:lnTo>
                  <a:lnTo>
                    <a:pt x="18535" y="165675"/>
                  </a:lnTo>
                  <a:lnTo>
                    <a:pt x="11790" y="160621"/>
                  </a:lnTo>
                  <a:lnTo>
                    <a:pt x="18651" y="146603"/>
                  </a:lnTo>
                  <a:lnTo>
                    <a:pt x="24564" y="142846"/>
                  </a:lnTo>
                  <a:lnTo>
                    <a:pt x="22336" y="136996"/>
                  </a:lnTo>
                  <a:lnTo>
                    <a:pt x="28697" y="119633"/>
                  </a:lnTo>
                  <a:lnTo>
                    <a:pt x="27060" y="114337"/>
                  </a:lnTo>
                  <a:lnTo>
                    <a:pt x="12416" y="110813"/>
                  </a:lnTo>
                  <a:lnTo>
                    <a:pt x="590" y="102091"/>
                  </a:lnTo>
                  <a:lnTo>
                    <a:pt x="21012" y="81095"/>
                  </a:lnTo>
                  <a:lnTo>
                    <a:pt x="48654" y="63348"/>
                  </a:lnTo>
                  <a:lnTo>
                    <a:pt x="65892" y="39696"/>
                  </a:lnTo>
                  <a:lnTo>
                    <a:pt x="77799" y="50180"/>
                  </a:lnTo>
                  <a:lnTo>
                    <a:pt x="99473" y="51396"/>
                  </a:lnTo>
                  <a:lnTo>
                    <a:pt x="95565" y="33729"/>
                  </a:lnTo>
                  <a:lnTo>
                    <a:pt x="134298" y="19201"/>
                  </a:lnTo>
                  <a:lnTo>
                    <a:pt x="144264" y="13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/>
            <p:cNvSpPr/>
            <p:nvPr/>
          </p:nvSpPr>
          <p:spPr>
            <a:xfrm>
              <a:off x="9000941" y="3615737"/>
              <a:ext cx="84051" cy="131239"/>
            </a:xfrm>
            <a:custGeom>
              <a:avLst/>
              <a:gdLst>
                <a:gd name="connsiteX0" fmla="*/ 56589 w 84051"/>
                <a:gd name="connsiteY0" fmla="*/ 144 h 131239"/>
                <a:gd name="connsiteX1" fmla="*/ 78237 w 84051"/>
                <a:gd name="connsiteY1" fmla="*/ 37555 h 131239"/>
                <a:gd name="connsiteX2" fmla="*/ 84446 w 84051"/>
                <a:gd name="connsiteY2" fmla="*/ 57861 h 131239"/>
                <a:gd name="connsiteX3" fmla="*/ 84642 w 84051"/>
                <a:gd name="connsiteY3" fmla="*/ 93509 h 131239"/>
                <a:gd name="connsiteX4" fmla="*/ 75187 w 84051"/>
                <a:gd name="connsiteY4" fmla="*/ 110344 h 131239"/>
                <a:gd name="connsiteX5" fmla="*/ 52474 w 84051"/>
                <a:gd name="connsiteY5" fmla="*/ 116194 h 131239"/>
                <a:gd name="connsiteX6" fmla="*/ 32428 w 84051"/>
                <a:gd name="connsiteY6" fmla="*/ 128790 h 131239"/>
                <a:gd name="connsiteX7" fmla="*/ 9831 w 84051"/>
                <a:gd name="connsiteY7" fmla="*/ 131384 h 131239"/>
                <a:gd name="connsiteX8" fmla="*/ 7031 w 84051"/>
                <a:gd name="connsiteY8" fmla="*/ 114853 h 131239"/>
                <a:gd name="connsiteX9" fmla="*/ 11674 w 84051"/>
                <a:gd name="connsiteY9" fmla="*/ 91899 h 131239"/>
                <a:gd name="connsiteX10" fmla="*/ 591 w 84051"/>
                <a:gd name="connsiteY10" fmla="*/ 59686 h 131239"/>
                <a:gd name="connsiteX11" fmla="*/ 19224 w 84051"/>
                <a:gd name="connsiteY11" fmla="*/ 54435 h 131239"/>
                <a:gd name="connsiteX12" fmla="*/ 2031 w 84051"/>
                <a:gd name="connsiteY12" fmla="*/ 27553 h 131239"/>
                <a:gd name="connsiteX13" fmla="*/ 3605 w 84051"/>
                <a:gd name="connsiteY13" fmla="*/ 24691 h 131239"/>
                <a:gd name="connsiteX14" fmla="*/ 14796 w 84051"/>
                <a:gd name="connsiteY14" fmla="*/ 25818 h 131239"/>
                <a:gd name="connsiteX15" fmla="*/ 24573 w 84051"/>
                <a:gd name="connsiteY15" fmla="*/ 11505 h 131239"/>
                <a:gd name="connsiteX16" fmla="*/ 42294 w 84051"/>
                <a:gd name="connsiteY16" fmla="*/ 9966 h 131239"/>
                <a:gd name="connsiteX17" fmla="*/ 52976 w 84051"/>
                <a:gd name="connsiteY17" fmla="*/ 7864 h 13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4051" h="131239">
                  <a:moveTo>
                    <a:pt x="56589" y="144"/>
                  </a:moveTo>
                  <a:lnTo>
                    <a:pt x="78237" y="37555"/>
                  </a:lnTo>
                  <a:lnTo>
                    <a:pt x="84446" y="57861"/>
                  </a:lnTo>
                  <a:lnTo>
                    <a:pt x="84642" y="93509"/>
                  </a:lnTo>
                  <a:lnTo>
                    <a:pt x="75187" y="110344"/>
                  </a:lnTo>
                  <a:lnTo>
                    <a:pt x="52474" y="116194"/>
                  </a:lnTo>
                  <a:lnTo>
                    <a:pt x="32428" y="128790"/>
                  </a:lnTo>
                  <a:lnTo>
                    <a:pt x="9831" y="131384"/>
                  </a:lnTo>
                  <a:lnTo>
                    <a:pt x="7031" y="114853"/>
                  </a:lnTo>
                  <a:lnTo>
                    <a:pt x="11674" y="91899"/>
                  </a:lnTo>
                  <a:lnTo>
                    <a:pt x="591" y="59686"/>
                  </a:lnTo>
                  <a:lnTo>
                    <a:pt x="19224" y="54435"/>
                  </a:lnTo>
                  <a:lnTo>
                    <a:pt x="2031" y="27553"/>
                  </a:lnTo>
                  <a:lnTo>
                    <a:pt x="3605" y="24691"/>
                  </a:lnTo>
                  <a:lnTo>
                    <a:pt x="14796" y="25818"/>
                  </a:lnTo>
                  <a:lnTo>
                    <a:pt x="24573" y="11505"/>
                  </a:lnTo>
                  <a:lnTo>
                    <a:pt x="42294" y="9966"/>
                  </a:lnTo>
                  <a:lnTo>
                    <a:pt x="52976" y="786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/>
            <p:cNvSpPr/>
            <p:nvPr/>
          </p:nvSpPr>
          <p:spPr>
            <a:xfrm>
              <a:off x="6341095" y="3461498"/>
              <a:ext cx="42750" cy="48350"/>
            </a:xfrm>
            <a:custGeom>
              <a:avLst/>
              <a:gdLst>
                <a:gd name="connsiteX0" fmla="*/ 17813 w 42750"/>
                <a:gd name="connsiteY0" fmla="*/ 41598 h 48350"/>
                <a:gd name="connsiteX1" fmla="*/ 16686 w 42750"/>
                <a:gd name="connsiteY1" fmla="*/ 48486 h 48350"/>
                <a:gd name="connsiteX2" fmla="*/ 13501 w 42750"/>
                <a:gd name="connsiteY2" fmla="*/ 48209 h 48350"/>
                <a:gd name="connsiteX3" fmla="*/ 11811 w 42750"/>
                <a:gd name="connsiteY3" fmla="*/ 36007 h 48350"/>
                <a:gd name="connsiteX4" fmla="*/ 5808 w 42750"/>
                <a:gd name="connsiteY4" fmla="*/ 32554 h 48350"/>
                <a:gd name="connsiteX5" fmla="*/ 468 w 42750"/>
                <a:gd name="connsiteY5" fmla="*/ 23465 h 48350"/>
                <a:gd name="connsiteX6" fmla="*/ 5155 w 42750"/>
                <a:gd name="connsiteY6" fmla="*/ 15844 h 48350"/>
                <a:gd name="connsiteX7" fmla="*/ 11158 w 42750"/>
                <a:gd name="connsiteY7" fmla="*/ 13393 h 48350"/>
                <a:gd name="connsiteX8" fmla="*/ 14629 w 42750"/>
                <a:gd name="connsiteY8" fmla="*/ 2032 h 48350"/>
                <a:gd name="connsiteX9" fmla="*/ 19128 w 42750"/>
                <a:gd name="connsiteY9" fmla="*/ 135 h 48350"/>
                <a:gd name="connsiteX10" fmla="*/ 22689 w 42750"/>
                <a:gd name="connsiteY10" fmla="*/ 4975 h 48350"/>
                <a:gd name="connsiteX11" fmla="*/ 27376 w 42750"/>
                <a:gd name="connsiteY11" fmla="*/ 7104 h 48350"/>
                <a:gd name="connsiteX12" fmla="*/ 30659 w 42750"/>
                <a:gd name="connsiteY12" fmla="*/ 12534 h 48350"/>
                <a:gd name="connsiteX13" fmla="*/ 34783 w 42750"/>
                <a:gd name="connsiteY13" fmla="*/ 14144 h 48350"/>
                <a:gd name="connsiteX14" fmla="*/ 39658 w 42750"/>
                <a:gd name="connsiteY14" fmla="*/ 20451 h 48350"/>
                <a:gd name="connsiteX15" fmla="*/ 43219 w 42750"/>
                <a:gd name="connsiteY15" fmla="*/ 20263 h 48350"/>
                <a:gd name="connsiteX16" fmla="*/ 40409 w 42750"/>
                <a:gd name="connsiteY16" fmla="*/ 28529 h 48350"/>
                <a:gd name="connsiteX17" fmla="*/ 37404 w 42750"/>
                <a:gd name="connsiteY17" fmla="*/ 32554 h 48350"/>
                <a:gd name="connsiteX18" fmla="*/ 38236 w 42750"/>
                <a:gd name="connsiteY18" fmla="*/ 35086 h 48350"/>
                <a:gd name="connsiteX19" fmla="*/ 32627 w 42750"/>
                <a:gd name="connsiteY19" fmla="*/ 36383 h 4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2750" h="48350">
                  <a:moveTo>
                    <a:pt x="17813" y="41598"/>
                  </a:moveTo>
                  <a:lnTo>
                    <a:pt x="16686" y="48486"/>
                  </a:lnTo>
                  <a:lnTo>
                    <a:pt x="13501" y="48209"/>
                  </a:lnTo>
                  <a:lnTo>
                    <a:pt x="11811" y="36007"/>
                  </a:lnTo>
                  <a:lnTo>
                    <a:pt x="5808" y="32554"/>
                  </a:lnTo>
                  <a:lnTo>
                    <a:pt x="468" y="23465"/>
                  </a:lnTo>
                  <a:lnTo>
                    <a:pt x="5155" y="15844"/>
                  </a:lnTo>
                  <a:lnTo>
                    <a:pt x="11158" y="13393"/>
                  </a:lnTo>
                  <a:lnTo>
                    <a:pt x="14629" y="2032"/>
                  </a:lnTo>
                  <a:lnTo>
                    <a:pt x="19128" y="135"/>
                  </a:lnTo>
                  <a:lnTo>
                    <a:pt x="22689" y="4975"/>
                  </a:lnTo>
                  <a:lnTo>
                    <a:pt x="27376" y="7104"/>
                  </a:lnTo>
                  <a:lnTo>
                    <a:pt x="30659" y="12534"/>
                  </a:lnTo>
                  <a:lnTo>
                    <a:pt x="34783" y="14144"/>
                  </a:lnTo>
                  <a:lnTo>
                    <a:pt x="39658" y="20451"/>
                  </a:lnTo>
                  <a:lnTo>
                    <a:pt x="43219" y="20263"/>
                  </a:lnTo>
                  <a:lnTo>
                    <a:pt x="40409" y="28529"/>
                  </a:lnTo>
                  <a:lnTo>
                    <a:pt x="37404" y="32554"/>
                  </a:lnTo>
                  <a:lnTo>
                    <a:pt x="38236" y="35086"/>
                  </a:lnTo>
                  <a:lnTo>
                    <a:pt x="32627" y="3638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/>
          </p:nvSpPr>
          <p:spPr>
            <a:xfrm>
              <a:off x="7005719" y="3874816"/>
              <a:ext cx="46328" cy="43868"/>
            </a:xfrm>
            <a:custGeom>
              <a:avLst/>
              <a:gdLst>
                <a:gd name="connsiteX0" fmla="*/ 35762 w 46328"/>
                <a:gd name="connsiteY0" fmla="*/ 2561 h 43868"/>
                <a:gd name="connsiteX1" fmla="*/ 40995 w 46328"/>
                <a:gd name="connsiteY1" fmla="*/ 15245 h 43868"/>
                <a:gd name="connsiteX2" fmla="*/ 38749 w 46328"/>
                <a:gd name="connsiteY2" fmla="*/ 21784 h 43868"/>
                <a:gd name="connsiteX3" fmla="*/ 46827 w 46328"/>
                <a:gd name="connsiteY3" fmla="*/ 43289 h 43868"/>
                <a:gd name="connsiteX4" fmla="*/ 29088 w 46328"/>
                <a:gd name="connsiteY4" fmla="*/ 44023 h 43868"/>
                <a:gd name="connsiteX5" fmla="*/ 22844 w 46328"/>
                <a:gd name="connsiteY5" fmla="*/ 30462 h 43868"/>
                <a:gd name="connsiteX6" fmla="*/ 498 w 46328"/>
                <a:gd name="connsiteY6" fmla="*/ 27706 h 43868"/>
                <a:gd name="connsiteX7" fmla="*/ 18899 w 46328"/>
                <a:gd name="connsiteY7" fmla="*/ 154 h 4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328" h="43868">
                  <a:moveTo>
                    <a:pt x="35762" y="2561"/>
                  </a:moveTo>
                  <a:lnTo>
                    <a:pt x="40995" y="15245"/>
                  </a:lnTo>
                  <a:lnTo>
                    <a:pt x="38749" y="21784"/>
                  </a:lnTo>
                  <a:lnTo>
                    <a:pt x="46827" y="43289"/>
                  </a:lnTo>
                  <a:lnTo>
                    <a:pt x="29088" y="44023"/>
                  </a:lnTo>
                  <a:lnTo>
                    <a:pt x="22844" y="30462"/>
                  </a:lnTo>
                  <a:lnTo>
                    <a:pt x="498" y="27706"/>
                  </a:lnTo>
                  <a:lnTo>
                    <a:pt x="18899" y="15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/>
          </p:nvSpPr>
          <p:spPr>
            <a:xfrm>
              <a:off x="7003152" y="2993380"/>
              <a:ext cx="1025681" cy="555846"/>
            </a:xfrm>
            <a:custGeom>
              <a:avLst/>
              <a:gdLst>
                <a:gd name="connsiteX0" fmla="*/ 614924 w 1025681"/>
                <a:gd name="connsiteY0" fmla="*/ 502487 h 555846"/>
                <a:gd name="connsiteX1" fmla="*/ 600540 w 1025681"/>
                <a:gd name="connsiteY1" fmla="*/ 508722 h 555846"/>
                <a:gd name="connsiteX2" fmla="*/ 567459 w 1025681"/>
                <a:gd name="connsiteY2" fmla="*/ 532061 h 555846"/>
                <a:gd name="connsiteX3" fmla="*/ 556483 w 1025681"/>
                <a:gd name="connsiteY3" fmla="*/ 555758 h 555846"/>
                <a:gd name="connsiteX4" fmla="*/ 547144 w 1025681"/>
                <a:gd name="connsiteY4" fmla="*/ 555972 h 555846"/>
                <a:gd name="connsiteX5" fmla="*/ 540265 w 1025681"/>
                <a:gd name="connsiteY5" fmla="*/ 540308 h 555846"/>
                <a:gd name="connsiteX6" fmla="*/ 508374 w 1025681"/>
                <a:gd name="connsiteY6" fmla="*/ 539235 h 555846"/>
                <a:gd name="connsiteX7" fmla="*/ 503267 w 1025681"/>
                <a:gd name="connsiteY7" fmla="*/ 511871 h 555846"/>
                <a:gd name="connsiteX8" fmla="*/ 491047 w 1025681"/>
                <a:gd name="connsiteY8" fmla="*/ 511638 h 555846"/>
                <a:gd name="connsiteX9" fmla="*/ 492916 w 1025681"/>
                <a:gd name="connsiteY9" fmla="*/ 477636 h 555846"/>
                <a:gd name="connsiteX10" fmla="*/ 462896 w 1025681"/>
                <a:gd name="connsiteY10" fmla="*/ 452526 h 555846"/>
                <a:gd name="connsiteX11" fmla="*/ 419877 w 1025681"/>
                <a:gd name="connsiteY11" fmla="*/ 455228 h 555846"/>
                <a:gd name="connsiteX12" fmla="*/ 390464 w 1025681"/>
                <a:gd name="connsiteY12" fmla="*/ 460246 h 555846"/>
                <a:gd name="connsiteX13" fmla="*/ 366508 w 1025681"/>
                <a:gd name="connsiteY13" fmla="*/ 428955 h 555846"/>
                <a:gd name="connsiteX14" fmla="*/ 345987 w 1025681"/>
                <a:gd name="connsiteY14" fmla="*/ 415680 h 555846"/>
                <a:gd name="connsiteX15" fmla="*/ 307109 w 1025681"/>
                <a:gd name="connsiteY15" fmla="*/ 390302 h 555846"/>
                <a:gd name="connsiteX16" fmla="*/ 302422 w 1025681"/>
                <a:gd name="connsiteY16" fmla="*/ 387206 h 555846"/>
                <a:gd name="connsiteX17" fmla="*/ 237853 w 1025681"/>
                <a:gd name="connsiteY17" fmla="*/ 408202 h 555846"/>
                <a:gd name="connsiteX18" fmla="*/ 238846 w 1025681"/>
                <a:gd name="connsiteY18" fmla="*/ 534574 h 555846"/>
                <a:gd name="connsiteX19" fmla="*/ 225974 w 1025681"/>
                <a:gd name="connsiteY19" fmla="*/ 536203 h 555846"/>
                <a:gd name="connsiteX20" fmla="*/ 208423 w 1025681"/>
                <a:gd name="connsiteY20" fmla="*/ 509974 h 555846"/>
                <a:gd name="connsiteX21" fmla="*/ 191471 w 1025681"/>
                <a:gd name="connsiteY21" fmla="*/ 500528 h 555846"/>
                <a:gd name="connsiteX22" fmla="*/ 162998 w 1025681"/>
                <a:gd name="connsiteY22" fmla="*/ 507550 h 555846"/>
                <a:gd name="connsiteX23" fmla="*/ 151914 w 1025681"/>
                <a:gd name="connsiteY23" fmla="*/ 518732 h 555846"/>
                <a:gd name="connsiteX24" fmla="*/ 150510 w 1025681"/>
                <a:gd name="connsiteY24" fmla="*/ 510547 h 555846"/>
                <a:gd name="connsiteX25" fmla="*/ 156673 w 1025681"/>
                <a:gd name="connsiteY25" fmla="*/ 496476 h 555846"/>
                <a:gd name="connsiteX26" fmla="*/ 151887 w 1025681"/>
                <a:gd name="connsiteY26" fmla="*/ 484650 h 555846"/>
                <a:gd name="connsiteX27" fmla="*/ 122824 w 1025681"/>
                <a:gd name="connsiteY27" fmla="*/ 473012 h 555846"/>
                <a:gd name="connsiteX28" fmla="*/ 111498 w 1025681"/>
                <a:gd name="connsiteY28" fmla="*/ 442024 h 555846"/>
                <a:gd name="connsiteX29" fmla="*/ 97651 w 1025681"/>
                <a:gd name="connsiteY29" fmla="*/ 433213 h 555846"/>
                <a:gd name="connsiteX30" fmla="*/ 96819 w 1025681"/>
                <a:gd name="connsiteY30" fmla="*/ 421799 h 555846"/>
                <a:gd name="connsiteX31" fmla="*/ 121213 w 1025681"/>
                <a:gd name="connsiteY31" fmla="*/ 425135 h 555846"/>
                <a:gd name="connsiteX32" fmla="*/ 122179 w 1025681"/>
                <a:gd name="connsiteY32" fmla="*/ 399345 h 555846"/>
                <a:gd name="connsiteX33" fmla="*/ 143505 w 1025681"/>
                <a:gd name="connsiteY33" fmla="*/ 393567 h 555846"/>
                <a:gd name="connsiteX34" fmla="*/ 165422 w 1025681"/>
                <a:gd name="connsiteY34" fmla="*/ 398880 h 555846"/>
                <a:gd name="connsiteX35" fmla="*/ 169939 w 1025681"/>
                <a:gd name="connsiteY35" fmla="*/ 363930 h 555846"/>
                <a:gd name="connsiteX36" fmla="*/ 165467 w 1025681"/>
                <a:gd name="connsiteY36" fmla="*/ 341441 h 555846"/>
                <a:gd name="connsiteX37" fmla="*/ 140366 w 1025681"/>
                <a:gd name="connsiteY37" fmla="*/ 343212 h 555846"/>
                <a:gd name="connsiteX38" fmla="*/ 119039 w 1025681"/>
                <a:gd name="connsiteY38" fmla="*/ 334276 h 555846"/>
                <a:gd name="connsiteX39" fmla="*/ 90003 w 1025681"/>
                <a:gd name="connsiteY39" fmla="*/ 350351 h 555846"/>
                <a:gd name="connsiteX40" fmla="*/ 66601 w 1025681"/>
                <a:gd name="connsiteY40" fmla="*/ 357963 h 555846"/>
                <a:gd name="connsiteX41" fmla="*/ 53862 w 1025681"/>
                <a:gd name="connsiteY41" fmla="*/ 352095 h 555846"/>
                <a:gd name="connsiteX42" fmla="*/ 56412 w 1025681"/>
                <a:gd name="connsiteY42" fmla="*/ 333292 h 555846"/>
                <a:gd name="connsiteX43" fmla="*/ 40427 w 1025681"/>
                <a:gd name="connsiteY43" fmla="*/ 308602 h 555846"/>
                <a:gd name="connsiteX44" fmla="*/ 21811 w 1025681"/>
                <a:gd name="connsiteY44" fmla="*/ 309640 h 555846"/>
                <a:gd name="connsiteX45" fmla="*/ 521 w 1025681"/>
                <a:gd name="connsiteY45" fmla="*/ 284262 h 555846"/>
                <a:gd name="connsiteX46" fmla="*/ 14994 w 1025681"/>
                <a:gd name="connsiteY46" fmla="*/ 255502 h 555846"/>
                <a:gd name="connsiteX47" fmla="*/ 7668 w 1025681"/>
                <a:gd name="connsiteY47" fmla="*/ 247683 h 555846"/>
                <a:gd name="connsiteX48" fmla="*/ 27688 w 1025681"/>
                <a:gd name="connsiteY48" fmla="*/ 205013 h 555846"/>
                <a:gd name="connsiteX49" fmla="*/ 53478 w 1025681"/>
                <a:gd name="connsiteY49" fmla="*/ 227663 h 555846"/>
                <a:gd name="connsiteX50" fmla="*/ 56600 w 1025681"/>
                <a:gd name="connsiteY50" fmla="*/ 199100 h 555846"/>
                <a:gd name="connsiteX51" fmla="*/ 108376 w 1025681"/>
                <a:gd name="connsiteY51" fmla="*/ 155724 h 555846"/>
                <a:gd name="connsiteX52" fmla="*/ 147557 w 1025681"/>
                <a:gd name="connsiteY52" fmla="*/ 154677 h 555846"/>
                <a:gd name="connsiteX53" fmla="*/ 202841 w 1025681"/>
                <a:gd name="connsiteY53" fmla="*/ 182426 h 555846"/>
                <a:gd name="connsiteX54" fmla="*/ 232540 w 1025681"/>
                <a:gd name="connsiteY54" fmla="*/ 198447 h 555846"/>
                <a:gd name="connsiteX55" fmla="*/ 259153 w 1025681"/>
                <a:gd name="connsiteY55" fmla="*/ 181737 h 555846"/>
                <a:gd name="connsiteX56" fmla="*/ 298916 w 1025681"/>
                <a:gd name="connsiteY56" fmla="*/ 180941 h 555846"/>
                <a:gd name="connsiteX57" fmla="*/ 330994 w 1025681"/>
                <a:gd name="connsiteY57" fmla="*/ 201444 h 555846"/>
                <a:gd name="connsiteX58" fmla="*/ 338285 w 1025681"/>
                <a:gd name="connsiteY58" fmla="*/ 189726 h 555846"/>
                <a:gd name="connsiteX59" fmla="*/ 373512 w 1025681"/>
                <a:gd name="connsiteY59" fmla="*/ 191434 h 555846"/>
                <a:gd name="connsiteX60" fmla="*/ 379801 w 1025681"/>
                <a:gd name="connsiteY60" fmla="*/ 172595 h 555846"/>
                <a:gd name="connsiteX61" fmla="*/ 339152 w 1025681"/>
                <a:gd name="connsiteY61" fmla="*/ 144891 h 555846"/>
                <a:gd name="connsiteX62" fmla="*/ 363225 w 1025681"/>
                <a:gd name="connsiteY62" fmla="*/ 125005 h 555846"/>
                <a:gd name="connsiteX63" fmla="*/ 358529 w 1025681"/>
                <a:gd name="connsiteY63" fmla="*/ 113787 h 555846"/>
                <a:gd name="connsiteX64" fmla="*/ 382609 w 1025681"/>
                <a:gd name="connsiteY64" fmla="*/ 103017 h 555846"/>
                <a:gd name="connsiteX65" fmla="*/ 364504 w 1025681"/>
                <a:gd name="connsiteY65" fmla="*/ 74320 h 555846"/>
                <a:gd name="connsiteX66" fmla="*/ 375999 w 1025681"/>
                <a:gd name="connsiteY66" fmla="*/ 59846 h 555846"/>
                <a:gd name="connsiteX67" fmla="*/ 469855 w 1025681"/>
                <a:gd name="connsiteY67" fmla="*/ 44969 h 555846"/>
                <a:gd name="connsiteX68" fmla="*/ 482101 w 1025681"/>
                <a:gd name="connsiteY68" fmla="*/ 34324 h 555846"/>
                <a:gd name="connsiteX69" fmla="*/ 544863 w 1025681"/>
                <a:gd name="connsiteY69" fmla="*/ 18303 h 555846"/>
                <a:gd name="connsiteX70" fmla="*/ 567414 w 1025681"/>
                <a:gd name="connsiteY70" fmla="*/ 126 h 555846"/>
                <a:gd name="connsiteX71" fmla="*/ 612491 w 1025681"/>
                <a:gd name="connsiteY71" fmla="*/ 9590 h 555846"/>
                <a:gd name="connsiteX72" fmla="*/ 620390 w 1025681"/>
                <a:gd name="connsiteY72" fmla="*/ 54425 h 555846"/>
                <a:gd name="connsiteX73" fmla="*/ 646573 w 1025681"/>
                <a:gd name="connsiteY73" fmla="*/ 44003 h 555846"/>
                <a:gd name="connsiteX74" fmla="*/ 678786 w 1025681"/>
                <a:gd name="connsiteY74" fmla="*/ 58594 h 555846"/>
                <a:gd name="connsiteX75" fmla="*/ 676711 w 1025681"/>
                <a:gd name="connsiteY75" fmla="*/ 81700 h 555846"/>
                <a:gd name="connsiteX76" fmla="*/ 700765 w 1025681"/>
                <a:gd name="connsiteY76" fmla="*/ 79302 h 555846"/>
                <a:gd name="connsiteX77" fmla="*/ 763625 w 1025681"/>
                <a:gd name="connsiteY77" fmla="*/ 39101 h 555846"/>
                <a:gd name="connsiteX78" fmla="*/ 754447 w 1025681"/>
                <a:gd name="connsiteY78" fmla="*/ 52555 h 555846"/>
                <a:gd name="connsiteX79" fmla="*/ 786454 w 1025681"/>
                <a:gd name="connsiteY79" fmla="*/ 85287 h 555846"/>
                <a:gd name="connsiteX80" fmla="*/ 842498 w 1025681"/>
                <a:gd name="connsiteY80" fmla="*/ 188840 h 555846"/>
                <a:gd name="connsiteX81" fmla="*/ 855863 w 1025681"/>
                <a:gd name="connsiteY81" fmla="*/ 167970 h 555846"/>
                <a:gd name="connsiteX82" fmla="*/ 890419 w 1025681"/>
                <a:gd name="connsiteY82" fmla="*/ 190915 h 555846"/>
                <a:gd name="connsiteX83" fmla="*/ 926460 w 1025681"/>
                <a:gd name="connsiteY83" fmla="*/ 180717 h 555846"/>
                <a:gd name="connsiteX84" fmla="*/ 940308 w 1025681"/>
                <a:gd name="connsiteY84" fmla="*/ 187865 h 555846"/>
                <a:gd name="connsiteX85" fmla="*/ 952375 w 1025681"/>
                <a:gd name="connsiteY85" fmla="*/ 210640 h 555846"/>
                <a:gd name="connsiteX86" fmla="*/ 969908 w 1025681"/>
                <a:gd name="connsiteY86" fmla="*/ 218226 h 555846"/>
                <a:gd name="connsiteX87" fmla="*/ 980590 w 1025681"/>
                <a:gd name="connsiteY87" fmla="*/ 234712 h 555846"/>
                <a:gd name="connsiteX88" fmla="*/ 1012901 w 1025681"/>
                <a:gd name="connsiteY88" fmla="*/ 229533 h 555846"/>
                <a:gd name="connsiteX89" fmla="*/ 1026203 w 1025681"/>
                <a:gd name="connsiteY89" fmla="*/ 253095 h 555846"/>
                <a:gd name="connsiteX90" fmla="*/ 1007113 w 1025681"/>
                <a:gd name="connsiteY90" fmla="*/ 278420 h 555846"/>
                <a:gd name="connsiteX91" fmla="*/ 986279 w 1025681"/>
                <a:gd name="connsiteY91" fmla="*/ 281945 h 555846"/>
                <a:gd name="connsiteX92" fmla="*/ 985089 w 1025681"/>
                <a:gd name="connsiteY92" fmla="*/ 319391 h 555846"/>
                <a:gd name="connsiteX93" fmla="*/ 971134 w 1025681"/>
                <a:gd name="connsiteY93" fmla="*/ 336029 h 555846"/>
                <a:gd name="connsiteX94" fmla="*/ 921379 w 1025681"/>
                <a:gd name="connsiteY94" fmla="*/ 323926 h 555846"/>
                <a:gd name="connsiteX95" fmla="*/ 903282 w 1025681"/>
                <a:gd name="connsiteY95" fmla="*/ 388888 h 555846"/>
                <a:gd name="connsiteX96" fmla="*/ 890446 w 1025681"/>
                <a:gd name="connsiteY96" fmla="*/ 396814 h 555846"/>
                <a:gd name="connsiteX97" fmla="*/ 840753 w 1025681"/>
                <a:gd name="connsiteY97" fmla="*/ 410966 h 555846"/>
                <a:gd name="connsiteX98" fmla="*/ 863332 w 1025681"/>
                <a:gd name="connsiteY98" fmla="*/ 471383 h 555846"/>
                <a:gd name="connsiteX99" fmla="*/ 846121 w 1025681"/>
                <a:gd name="connsiteY99" fmla="*/ 480284 h 555846"/>
                <a:gd name="connsiteX100" fmla="*/ 848124 w 1025681"/>
                <a:gd name="connsiteY100" fmla="*/ 499651 h 555846"/>
                <a:gd name="connsiteX101" fmla="*/ 832676 w 1025681"/>
                <a:gd name="connsiteY101" fmla="*/ 494687 h 555846"/>
                <a:gd name="connsiteX102" fmla="*/ 820089 w 1025681"/>
                <a:gd name="connsiteY102" fmla="*/ 482476 h 555846"/>
                <a:gd name="connsiteX103" fmla="*/ 782876 w 1025681"/>
                <a:gd name="connsiteY103" fmla="*/ 478907 h 555846"/>
                <a:gd name="connsiteX104" fmla="*/ 741288 w 1025681"/>
                <a:gd name="connsiteY104" fmla="*/ 477967 h 555846"/>
                <a:gd name="connsiteX105" fmla="*/ 732173 w 1025681"/>
                <a:gd name="connsiteY105" fmla="*/ 481733 h 555846"/>
                <a:gd name="connsiteX106" fmla="*/ 696454 w 1025681"/>
                <a:gd name="connsiteY106" fmla="*/ 467340 h 555846"/>
                <a:gd name="connsiteX107" fmla="*/ 682212 w 1025681"/>
                <a:gd name="connsiteY107" fmla="*/ 474443 h 555846"/>
                <a:gd name="connsiteX108" fmla="*/ 678321 w 1025681"/>
                <a:gd name="connsiteY108" fmla="*/ 494543 h 555846"/>
                <a:gd name="connsiteX109" fmla="*/ 637046 w 1025681"/>
                <a:gd name="connsiteY109" fmla="*/ 482834 h 555846"/>
                <a:gd name="connsiteX110" fmla="*/ 620542 w 1025681"/>
                <a:gd name="connsiteY110" fmla="*/ 487637 h 55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025681" h="555846">
                  <a:moveTo>
                    <a:pt x="614924" y="502487"/>
                  </a:moveTo>
                  <a:lnTo>
                    <a:pt x="600540" y="508722"/>
                  </a:lnTo>
                  <a:lnTo>
                    <a:pt x="567459" y="532061"/>
                  </a:lnTo>
                  <a:lnTo>
                    <a:pt x="556483" y="555758"/>
                  </a:lnTo>
                  <a:lnTo>
                    <a:pt x="547144" y="555972"/>
                  </a:lnTo>
                  <a:lnTo>
                    <a:pt x="540265" y="540308"/>
                  </a:lnTo>
                  <a:lnTo>
                    <a:pt x="508374" y="539235"/>
                  </a:lnTo>
                  <a:lnTo>
                    <a:pt x="503267" y="511871"/>
                  </a:lnTo>
                  <a:lnTo>
                    <a:pt x="491047" y="511638"/>
                  </a:lnTo>
                  <a:lnTo>
                    <a:pt x="492916" y="477636"/>
                  </a:lnTo>
                  <a:lnTo>
                    <a:pt x="462896" y="452526"/>
                  </a:lnTo>
                  <a:lnTo>
                    <a:pt x="419877" y="455228"/>
                  </a:lnTo>
                  <a:lnTo>
                    <a:pt x="390464" y="460246"/>
                  </a:lnTo>
                  <a:lnTo>
                    <a:pt x="366508" y="428955"/>
                  </a:lnTo>
                  <a:lnTo>
                    <a:pt x="345987" y="415680"/>
                  </a:lnTo>
                  <a:lnTo>
                    <a:pt x="307109" y="390302"/>
                  </a:lnTo>
                  <a:lnTo>
                    <a:pt x="302422" y="387206"/>
                  </a:lnTo>
                  <a:lnTo>
                    <a:pt x="237853" y="408202"/>
                  </a:lnTo>
                  <a:lnTo>
                    <a:pt x="238846" y="534574"/>
                  </a:lnTo>
                  <a:lnTo>
                    <a:pt x="225974" y="536203"/>
                  </a:lnTo>
                  <a:lnTo>
                    <a:pt x="208423" y="509974"/>
                  </a:lnTo>
                  <a:lnTo>
                    <a:pt x="191471" y="500528"/>
                  </a:lnTo>
                  <a:lnTo>
                    <a:pt x="162998" y="507550"/>
                  </a:lnTo>
                  <a:lnTo>
                    <a:pt x="151914" y="518732"/>
                  </a:lnTo>
                  <a:lnTo>
                    <a:pt x="150510" y="510547"/>
                  </a:lnTo>
                  <a:lnTo>
                    <a:pt x="156673" y="496476"/>
                  </a:lnTo>
                  <a:lnTo>
                    <a:pt x="151887" y="484650"/>
                  </a:lnTo>
                  <a:lnTo>
                    <a:pt x="122824" y="473012"/>
                  </a:lnTo>
                  <a:lnTo>
                    <a:pt x="111498" y="442024"/>
                  </a:lnTo>
                  <a:lnTo>
                    <a:pt x="97651" y="433213"/>
                  </a:lnTo>
                  <a:lnTo>
                    <a:pt x="96819" y="421799"/>
                  </a:lnTo>
                  <a:lnTo>
                    <a:pt x="121213" y="425135"/>
                  </a:lnTo>
                  <a:lnTo>
                    <a:pt x="122179" y="399345"/>
                  </a:lnTo>
                  <a:lnTo>
                    <a:pt x="143505" y="393567"/>
                  </a:lnTo>
                  <a:lnTo>
                    <a:pt x="165422" y="398880"/>
                  </a:lnTo>
                  <a:lnTo>
                    <a:pt x="169939" y="363930"/>
                  </a:lnTo>
                  <a:lnTo>
                    <a:pt x="165467" y="341441"/>
                  </a:lnTo>
                  <a:lnTo>
                    <a:pt x="140366" y="343212"/>
                  </a:lnTo>
                  <a:lnTo>
                    <a:pt x="119039" y="334276"/>
                  </a:lnTo>
                  <a:lnTo>
                    <a:pt x="90003" y="350351"/>
                  </a:lnTo>
                  <a:lnTo>
                    <a:pt x="66601" y="357963"/>
                  </a:lnTo>
                  <a:lnTo>
                    <a:pt x="53862" y="352095"/>
                  </a:lnTo>
                  <a:lnTo>
                    <a:pt x="56412" y="333292"/>
                  </a:lnTo>
                  <a:lnTo>
                    <a:pt x="40427" y="308602"/>
                  </a:lnTo>
                  <a:lnTo>
                    <a:pt x="21811" y="309640"/>
                  </a:lnTo>
                  <a:lnTo>
                    <a:pt x="521" y="284262"/>
                  </a:lnTo>
                  <a:lnTo>
                    <a:pt x="14994" y="255502"/>
                  </a:lnTo>
                  <a:lnTo>
                    <a:pt x="7668" y="247683"/>
                  </a:lnTo>
                  <a:lnTo>
                    <a:pt x="27688" y="205013"/>
                  </a:lnTo>
                  <a:lnTo>
                    <a:pt x="53478" y="227663"/>
                  </a:lnTo>
                  <a:lnTo>
                    <a:pt x="56600" y="199100"/>
                  </a:lnTo>
                  <a:lnTo>
                    <a:pt x="108376" y="155724"/>
                  </a:lnTo>
                  <a:lnTo>
                    <a:pt x="147557" y="154677"/>
                  </a:lnTo>
                  <a:lnTo>
                    <a:pt x="202841" y="182426"/>
                  </a:lnTo>
                  <a:lnTo>
                    <a:pt x="232540" y="198447"/>
                  </a:lnTo>
                  <a:lnTo>
                    <a:pt x="259153" y="181737"/>
                  </a:lnTo>
                  <a:lnTo>
                    <a:pt x="298916" y="180941"/>
                  </a:lnTo>
                  <a:lnTo>
                    <a:pt x="330994" y="201444"/>
                  </a:lnTo>
                  <a:lnTo>
                    <a:pt x="338285" y="189726"/>
                  </a:lnTo>
                  <a:lnTo>
                    <a:pt x="373512" y="191434"/>
                  </a:lnTo>
                  <a:lnTo>
                    <a:pt x="379801" y="172595"/>
                  </a:lnTo>
                  <a:lnTo>
                    <a:pt x="339152" y="144891"/>
                  </a:lnTo>
                  <a:lnTo>
                    <a:pt x="363225" y="125005"/>
                  </a:lnTo>
                  <a:lnTo>
                    <a:pt x="358529" y="113787"/>
                  </a:lnTo>
                  <a:lnTo>
                    <a:pt x="382609" y="103017"/>
                  </a:lnTo>
                  <a:lnTo>
                    <a:pt x="364504" y="74320"/>
                  </a:lnTo>
                  <a:lnTo>
                    <a:pt x="375999" y="59846"/>
                  </a:lnTo>
                  <a:lnTo>
                    <a:pt x="469855" y="44969"/>
                  </a:lnTo>
                  <a:lnTo>
                    <a:pt x="482101" y="34324"/>
                  </a:lnTo>
                  <a:lnTo>
                    <a:pt x="544863" y="18303"/>
                  </a:lnTo>
                  <a:lnTo>
                    <a:pt x="567414" y="126"/>
                  </a:lnTo>
                  <a:lnTo>
                    <a:pt x="612491" y="9590"/>
                  </a:lnTo>
                  <a:lnTo>
                    <a:pt x="620390" y="54425"/>
                  </a:lnTo>
                  <a:lnTo>
                    <a:pt x="646573" y="44003"/>
                  </a:lnTo>
                  <a:lnTo>
                    <a:pt x="678786" y="58594"/>
                  </a:lnTo>
                  <a:lnTo>
                    <a:pt x="676711" y="81700"/>
                  </a:lnTo>
                  <a:lnTo>
                    <a:pt x="700765" y="79302"/>
                  </a:lnTo>
                  <a:lnTo>
                    <a:pt x="763625" y="39101"/>
                  </a:lnTo>
                  <a:lnTo>
                    <a:pt x="754447" y="52555"/>
                  </a:lnTo>
                  <a:lnTo>
                    <a:pt x="786454" y="85287"/>
                  </a:lnTo>
                  <a:lnTo>
                    <a:pt x="842498" y="188840"/>
                  </a:lnTo>
                  <a:lnTo>
                    <a:pt x="855863" y="167970"/>
                  </a:lnTo>
                  <a:lnTo>
                    <a:pt x="890419" y="190915"/>
                  </a:lnTo>
                  <a:lnTo>
                    <a:pt x="926460" y="180717"/>
                  </a:lnTo>
                  <a:lnTo>
                    <a:pt x="940308" y="187865"/>
                  </a:lnTo>
                  <a:lnTo>
                    <a:pt x="952375" y="210640"/>
                  </a:lnTo>
                  <a:lnTo>
                    <a:pt x="969908" y="218226"/>
                  </a:lnTo>
                  <a:lnTo>
                    <a:pt x="980590" y="234712"/>
                  </a:lnTo>
                  <a:lnTo>
                    <a:pt x="1012901" y="229533"/>
                  </a:lnTo>
                  <a:lnTo>
                    <a:pt x="1026203" y="253095"/>
                  </a:lnTo>
                  <a:lnTo>
                    <a:pt x="1007113" y="278420"/>
                  </a:lnTo>
                  <a:lnTo>
                    <a:pt x="986279" y="281945"/>
                  </a:lnTo>
                  <a:lnTo>
                    <a:pt x="985089" y="319391"/>
                  </a:lnTo>
                  <a:lnTo>
                    <a:pt x="971134" y="336029"/>
                  </a:lnTo>
                  <a:lnTo>
                    <a:pt x="921379" y="323926"/>
                  </a:lnTo>
                  <a:lnTo>
                    <a:pt x="903282" y="388888"/>
                  </a:lnTo>
                  <a:lnTo>
                    <a:pt x="890446" y="396814"/>
                  </a:lnTo>
                  <a:lnTo>
                    <a:pt x="840753" y="410966"/>
                  </a:lnTo>
                  <a:lnTo>
                    <a:pt x="863332" y="471383"/>
                  </a:lnTo>
                  <a:lnTo>
                    <a:pt x="846121" y="480284"/>
                  </a:lnTo>
                  <a:lnTo>
                    <a:pt x="848124" y="499651"/>
                  </a:lnTo>
                  <a:lnTo>
                    <a:pt x="832676" y="494687"/>
                  </a:lnTo>
                  <a:lnTo>
                    <a:pt x="820089" y="482476"/>
                  </a:lnTo>
                  <a:lnTo>
                    <a:pt x="782876" y="478907"/>
                  </a:lnTo>
                  <a:lnTo>
                    <a:pt x="741288" y="477967"/>
                  </a:lnTo>
                  <a:lnTo>
                    <a:pt x="732173" y="481733"/>
                  </a:lnTo>
                  <a:lnTo>
                    <a:pt x="696454" y="467340"/>
                  </a:lnTo>
                  <a:lnTo>
                    <a:pt x="682212" y="474443"/>
                  </a:lnTo>
                  <a:lnTo>
                    <a:pt x="678321" y="494543"/>
                  </a:lnTo>
                  <a:lnTo>
                    <a:pt x="637046" y="482834"/>
                  </a:lnTo>
                  <a:lnTo>
                    <a:pt x="620542" y="48763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/>
            <p:cNvSpPr/>
            <p:nvPr/>
          </p:nvSpPr>
          <p:spPr>
            <a:xfrm>
              <a:off x="8348787" y="4086306"/>
              <a:ext cx="186818" cy="225489"/>
            </a:xfrm>
            <a:custGeom>
              <a:avLst/>
              <a:gdLst>
                <a:gd name="connsiteX0" fmla="*/ 128546 w 186818"/>
                <a:gd name="connsiteY0" fmla="*/ 215585 h 225489"/>
                <a:gd name="connsiteX1" fmla="*/ 136714 w 186818"/>
                <a:gd name="connsiteY1" fmla="*/ 203982 h 225489"/>
                <a:gd name="connsiteX2" fmla="*/ 137832 w 186818"/>
                <a:gd name="connsiteY2" fmla="*/ 182128 h 225489"/>
                <a:gd name="connsiteX3" fmla="*/ 117526 w 186818"/>
                <a:gd name="connsiteY3" fmla="*/ 159523 h 225489"/>
                <a:gd name="connsiteX4" fmla="*/ 115960 w 186818"/>
                <a:gd name="connsiteY4" fmla="*/ 133805 h 225489"/>
                <a:gd name="connsiteX5" fmla="*/ 96880 w 186818"/>
                <a:gd name="connsiteY5" fmla="*/ 112532 h 225489"/>
                <a:gd name="connsiteX6" fmla="*/ 77915 w 186818"/>
                <a:gd name="connsiteY6" fmla="*/ 110735 h 225489"/>
                <a:gd name="connsiteX7" fmla="*/ 72861 w 186818"/>
                <a:gd name="connsiteY7" fmla="*/ 119859 h 225489"/>
                <a:gd name="connsiteX8" fmla="*/ 58172 w 186818"/>
                <a:gd name="connsiteY8" fmla="*/ 120619 h 225489"/>
                <a:gd name="connsiteX9" fmla="*/ 50658 w 186818"/>
                <a:gd name="connsiteY9" fmla="*/ 115994 h 225489"/>
                <a:gd name="connsiteX10" fmla="*/ 24224 w 186818"/>
                <a:gd name="connsiteY10" fmla="*/ 131613 h 225489"/>
                <a:gd name="connsiteX11" fmla="*/ 23634 w 186818"/>
                <a:gd name="connsiteY11" fmla="*/ 108122 h 225489"/>
                <a:gd name="connsiteX12" fmla="*/ 29797 w 186818"/>
                <a:gd name="connsiteY12" fmla="*/ 80355 h 225489"/>
                <a:gd name="connsiteX13" fmla="*/ 12854 w 186818"/>
                <a:gd name="connsiteY13" fmla="*/ 79139 h 225489"/>
                <a:gd name="connsiteX14" fmla="*/ 11414 w 186818"/>
                <a:gd name="connsiteY14" fmla="*/ 63216 h 225489"/>
                <a:gd name="connsiteX15" fmla="*/ 563 w 186818"/>
                <a:gd name="connsiteY15" fmla="*/ 55013 h 225489"/>
                <a:gd name="connsiteX16" fmla="*/ 5903 w 186818"/>
                <a:gd name="connsiteY16" fmla="*/ 45209 h 225489"/>
                <a:gd name="connsiteX17" fmla="*/ 27248 w 186818"/>
                <a:gd name="connsiteY17" fmla="*/ 27819 h 225489"/>
                <a:gd name="connsiteX18" fmla="*/ 29502 w 186818"/>
                <a:gd name="connsiteY18" fmla="*/ 34107 h 225489"/>
                <a:gd name="connsiteX19" fmla="*/ 42875 w 186818"/>
                <a:gd name="connsiteY19" fmla="*/ 34832 h 225489"/>
                <a:gd name="connsiteX20" fmla="*/ 39091 w 186818"/>
                <a:gd name="connsiteY20" fmla="*/ 4122 h 225489"/>
                <a:gd name="connsiteX21" fmla="*/ 52089 w 186818"/>
                <a:gd name="connsiteY21" fmla="*/ 168 h 225489"/>
                <a:gd name="connsiteX22" fmla="*/ 66742 w 186818"/>
                <a:gd name="connsiteY22" fmla="*/ 21423 h 225489"/>
                <a:gd name="connsiteX23" fmla="*/ 78004 w 186818"/>
                <a:gd name="connsiteY23" fmla="*/ 45727 h 225489"/>
                <a:gd name="connsiteX24" fmla="*/ 108884 w 186818"/>
                <a:gd name="connsiteY24" fmla="*/ 45933 h 225489"/>
                <a:gd name="connsiteX25" fmla="*/ 118608 w 186818"/>
                <a:gd name="connsiteY25" fmla="*/ 69120 h 225489"/>
                <a:gd name="connsiteX26" fmla="*/ 102577 w 186818"/>
                <a:gd name="connsiteY26" fmla="*/ 76062 h 225489"/>
                <a:gd name="connsiteX27" fmla="*/ 95376 w 186818"/>
                <a:gd name="connsiteY27" fmla="*/ 85571 h 225489"/>
                <a:gd name="connsiteX28" fmla="*/ 125433 w 186818"/>
                <a:gd name="connsiteY28" fmla="*/ 101333 h 225489"/>
                <a:gd name="connsiteX29" fmla="*/ 146276 w 186818"/>
                <a:gd name="connsiteY29" fmla="*/ 132329 h 225489"/>
                <a:gd name="connsiteX30" fmla="*/ 162092 w 186818"/>
                <a:gd name="connsiteY30" fmla="*/ 155301 h 225489"/>
                <a:gd name="connsiteX31" fmla="*/ 181066 w 186818"/>
                <a:gd name="connsiteY31" fmla="*/ 173362 h 225489"/>
                <a:gd name="connsiteX32" fmla="*/ 187381 w 186818"/>
                <a:gd name="connsiteY32" fmla="*/ 191637 h 225489"/>
                <a:gd name="connsiteX33" fmla="*/ 182819 w 186818"/>
                <a:gd name="connsiteY33" fmla="*/ 217401 h 225489"/>
                <a:gd name="connsiteX34" fmla="*/ 160598 w 186818"/>
                <a:gd name="connsiteY34" fmla="*/ 207927 h 225489"/>
                <a:gd name="connsiteX35" fmla="*/ 149247 w 186818"/>
                <a:gd name="connsiteY35" fmla="*/ 225657 h 22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6818" h="225489">
                  <a:moveTo>
                    <a:pt x="128546" y="215585"/>
                  </a:moveTo>
                  <a:lnTo>
                    <a:pt x="136714" y="203982"/>
                  </a:lnTo>
                  <a:lnTo>
                    <a:pt x="137832" y="182128"/>
                  </a:lnTo>
                  <a:lnTo>
                    <a:pt x="117526" y="159523"/>
                  </a:lnTo>
                  <a:lnTo>
                    <a:pt x="115960" y="133805"/>
                  </a:lnTo>
                  <a:lnTo>
                    <a:pt x="96880" y="112532"/>
                  </a:lnTo>
                  <a:lnTo>
                    <a:pt x="77915" y="110735"/>
                  </a:lnTo>
                  <a:lnTo>
                    <a:pt x="72861" y="119859"/>
                  </a:lnTo>
                  <a:lnTo>
                    <a:pt x="58172" y="120619"/>
                  </a:lnTo>
                  <a:lnTo>
                    <a:pt x="50658" y="115994"/>
                  </a:lnTo>
                  <a:lnTo>
                    <a:pt x="24224" y="131613"/>
                  </a:lnTo>
                  <a:lnTo>
                    <a:pt x="23634" y="108122"/>
                  </a:lnTo>
                  <a:lnTo>
                    <a:pt x="29797" y="80355"/>
                  </a:lnTo>
                  <a:lnTo>
                    <a:pt x="12854" y="79139"/>
                  </a:lnTo>
                  <a:lnTo>
                    <a:pt x="11414" y="63216"/>
                  </a:lnTo>
                  <a:lnTo>
                    <a:pt x="563" y="55013"/>
                  </a:lnTo>
                  <a:lnTo>
                    <a:pt x="5903" y="45209"/>
                  </a:lnTo>
                  <a:lnTo>
                    <a:pt x="27248" y="27819"/>
                  </a:lnTo>
                  <a:lnTo>
                    <a:pt x="29502" y="34107"/>
                  </a:lnTo>
                  <a:lnTo>
                    <a:pt x="42875" y="34832"/>
                  </a:lnTo>
                  <a:lnTo>
                    <a:pt x="39091" y="4122"/>
                  </a:lnTo>
                  <a:lnTo>
                    <a:pt x="52089" y="168"/>
                  </a:lnTo>
                  <a:lnTo>
                    <a:pt x="66742" y="21423"/>
                  </a:lnTo>
                  <a:lnTo>
                    <a:pt x="78004" y="45727"/>
                  </a:lnTo>
                  <a:lnTo>
                    <a:pt x="108884" y="45933"/>
                  </a:lnTo>
                  <a:lnTo>
                    <a:pt x="118608" y="69120"/>
                  </a:lnTo>
                  <a:lnTo>
                    <a:pt x="102577" y="76062"/>
                  </a:lnTo>
                  <a:lnTo>
                    <a:pt x="95376" y="85571"/>
                  </a:lnTo>
                  <a:lnTo>
                    <a:pt x="125433" y="101333"/>
                  </a:lnTo>
                  <a:lnTo>
                    <a:pt x="146276" y="132329"/>
                  </a:lnTo>
                  <a:lnTo>
                    <a:pt x="162092" y="155301"/>
                  </a:lnTo>
                  <a:lnTo>
                    <a:pt x="181066" y="173362"/>
                  </a:lnTo>
                  <a:lnTo>
                    <a:pt x="187381" y="191637"/>
                  </a:lnTo>
                  <a:lnTo>
                    <a:pt x="182819" y="217401"/>
                  </a:lnTo>
                  <a:lnTo>
                    <a:pt x="160598" y="207927"/>
                  </a:lnTo>
                  <a:lnTo>
                    <a:pt x="149247" y="22565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/>
            <p:cNvSpPr/>
            <p:nvPr/>
          </p:nvSpPr>
          <p:spPr>
            <a:xfrm>
              <a:off x="6718712" y="3739247"/>
              <a:ext cx="37266" cy="46785"/>
            </a:xfrm>
            <a:custGeom>
              <a:avLst/>
              <a:gdLst>
                <a:gd name="connsiteX0" fmla="*/ 17920 w 37266"/>
                <a:gd name="connsiteY0" fmla="*/ 41315 h 46785"/>
                <a:gd name="connsiteX1" fmla="*/ 11193 w 37266"/>
                <a:gd name="connsiteY1" fmla="*/ 41709 h 46785"/>
                <a:gd name="connsiteX2" fmla="*/ 8885 w 37266"/>
                <a:gd name="connsiteY2" fmla="*/ 46933 h 46785"/>
                <a:gd name="connsiteX3" fmla="*/ 485 w 37266"/>
                <a:gd name="connsiteY3" fmla="*/ 46879 h 46785"/>
                <a:gd name="connsiteX4" fmla="*/ 9421 w 37266"/>
                <a:gd name="connsiteY4" fmla="*/ 22494 h 46785"/>
                <a:gd name="connsiteX5" fmla="*/ 21891 w 37266"/>
                <a:gd name="connsiteY5" fmla="*/ 1213 h 46785"/>
                <a:gd name="connsiteX6" fmla="*/ 22366 w 37266"/>
                <a:gd name="connsiteY6" fmla="*/ 148 h 46785"/>
                <a:gd name="connsiteX7" fmla="*/ 33646 w 37266"/>
                <a:gd name="connsiteY7" fmla="*/ 1696 h 46785"/>
                <a:gd name="connsiteX8" fmla="*/ 37752 w 37266"/>
                <a:gd name="connsiteY8" fmla="*/ 13566 h 46785"/>
                <a:gd name="connsiteX9" fmla="*/ 24074 w 37266"/>
                <a:gd name="connsiteY9" fmla="*/ 24918 h 4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266" h="46785">
                  <a:moveTo>
                    <a:pt x="17920" y="41315"/>
                  </a:moveTo>
                  <a:lnTo>
                    <a:pt x="11193" y="41709"/>
                  </a:lnTo>
                  <a:lnTo>
                    <a:pt x="8885" y="46933"/>
                  </a:lnTo>
                  <a:lnTo>
                    <a:pt x="485" y="46879"/>
                  </a:lnTo>
                  <a:lnTo>
                    <a:pt x="9421" y="22494"/>
                  </a:lnTo>
                  <a:lnTo>
                    <a:pt x="21891" y="1213"/>
                  </a:lnTo>
                  <a:lnTo>
                    <a:pt x="22366" y="148"/>
                  </a:lnTo>
                  <a:lnTo>
                    <a:pt x="33646" y="1696"/>
                  </a:lnTo>
                  <a:lnTo>
                    <a:pt x="37752" y="13566"/>
                  </a:lnTo>
                  <a:lnTo>
                    <a:pt x="24074" y="2491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/>
            <p:cNvSpPr/>
            <p:nvPr/>
          </p:nvSpPr>
          <p:spPr>
            <a:xfrm>
              <a:off x="7836586" y="4415133"/>
              <a:ext cx="52492" cy="97004"/>
            </a:xfrm>
            <a:custGeom>
              <a:avLst/>
              <a:gdLst>
                <a:gd name="connsiteX0" fmla="*/ 53029 w 52492"/>
                <a:gd name="connsiteY0" fmla="*/ 58183 h 97004"/>
                <a:gd name="connsiteX1" fmla="*/ 49254 w 52492"/>
                <a:gd name="connsiteY1" fmla="*/ 84322 h 97004"/>
                <a:gd name="connsiteX2" fmla="*/ 38743 w 52492"/>
                <a:gd name="connsiteY2" fmla="*/ 91451 h 97004"/>
                <a:gd name="connsiteX3" fmla="*/ 16925 w 52492"/>
                <a:gd name="connsiteY3" fmla="*/ 97185 h 97004"/>
                <a:gd name="connsiteX4" fmla="*/ 4983 w 52492"/>
                <a:gd name="connsiteY4" fmla="*/ 77255 h 97004"/>
                <a:gd name="connsiteX5" fmla="*/ 537 w 52492"/>
                <a:gd name="connsiteY5" fmla="*/ 41133 h 97004"/>
                <a:gd name="connsiteX6" fmla="*/ 11898 w 52492"/>
                <a:gd name="connsiteY6" fmla="*/ 180 h 97004"/>
                <a:gd name="connsiteX7" fmla="*/ 29225 w 52492"/>
                <a:gd name="connsiteY7" fmla="*/ 14216 h 97004"/>
                <a:gd name="connsiteX8" fmla="*/ 40908 w 52492"/>
                <a:gd name="connsiteY8" fmla="*/ 31972 h 9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92" h="97004">
                  <a:moveTo>
                    <a:pt x="53029" y="58183"/>
                  </a:moveTo>
                  <a:lnTo>
                    <a:pt x="49254" y="84322"/>
                  </a:lnTo>
                  <a:lnTo>
                    <a:pt x="38743" y="91451"/>
                  </a:lnTo>
                  <a:lnTo>
                    <a:pt x="16925" y="97185"/>
                  </a:lnTo>
                  <a:lnTo>
                    <a:pt x="4983" y="77255"/>
                  </a:lnTo>
                  <a:lnTo>
                    <a:pt x="537" y="41133"/>
                  </a:lnTo>
                  <a:lnTo>
                    <a:pt x="11898" y="180"/>
                  </a:lnTo>
                  <a:lnTo>
                    <a:pt x="29225" y="14216"/>
                  </a:lnTo>
                  <a:lnTo>
                    <a:pt x="40908" y="3197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/>
            <p:cNvSpPr/>
            <p:nvPr/>
          </p:nvSpPr>
          <p:spPr>
            <a:xfrm>
              <a:off x="5550778" y="4447516"/>
              <a:ext cx="97801" cy="104966"/>
            </a:xfrm>
            <a:custGeom>
              <a:avLst/>
              <a:gdLst>
                <a:gd name="connsiteX0" fmla="*/ 93905 w 97801"/>
                <a:gd name="connsiteY0" fmla="*/ 104934 h 104966"/>
                <a:gd name="connsiteX1" fmla="*/ 87339 w 97801"/>
                <a:gd name="connsiteY1" fmla="*/ 105148 h 104966"/>
                <a:gd name="connsiteX2" fmla="*/ 61486 w 97801"/>
                <a:gd name="connsiteY2" fmla="*/ 93233 h 104966"/>
                <a:gd name="connsiteX3" fmla="*/ 38693 w 97801"/>
                <a:gd name="connsiteY3" fmla="*/ 74188 h 104966"/>
                <a:gd name="connsiteX4" fmla="*/ 17322 w 97801"/>
                <a:gd name="connsiteY4" fmla="*/ 60492 h 104966"/>
                <a:gd name="connsiteX5" fmla="*/ 433 w 97801"/>
                <a:gd name="connsiteY5" fmla="*/ 44310 h 104966"/>
                <a:gd name="connsiteX6" fmla="*/ 6436 w 97801"/>
                <a:gd name="connsiteY6" fmla="*/ 36277 h 104966"/>
                <a:gd name="connsiteX7" fmla="*/ 7760 w 97801"/>
                <a:gd name="connsiteY7" fmla="*/ 28977 h 104966"/>
                <a:gd name="connsiteX8" fmla="*/ 19076 w 97801"/>
                <a:gd name="connsiteY8" fmla="*/ 15326 h 104966"/>
                <a:gd name="connsiteX9" fmla="*/ 30750 w 97801"/>
                <a:gd name="connsiteY9" fmla="*/ 3581 h 104966"/>
                <a:gd name="connsiteX10" fmla="*/ 36108 w 97801"/>
                <a:gd name="connsiteY10" fmla="*/ 3018 h 104966"/>
                <a:gd name="connsiteX11" fmla="*/ 42656 w 97801"/>
                <a:gd name="connsiteY11" fmla="*/ 182 h 104966"/>
                <a:gd name="connsiteX12" fmla="*/ 53149 w 97801"/>
                <a:gd name="connsiteY12" fmla="*/ 15604 h 104966"/>
                <a:gd name="connsiteX13" fmla="*/ 51485 w 97801"/>
                <a:gd name="connsiteY13" fmla="*/ 25703 h 104966"/>
                <a:gd name="connsiteX14" fmla="*/ 56370 w 97801"/>
                <a:gd name="connsiteY14" fmla="*/ 31053 h 104966"/>
                <a:gd name="connsiteX15" fmla="*/ 63463 w 97801"/>
                <a:gd name="connsiteY15" fmla="*/ 31178 h 104966"/>
                <a:gd name="connsiteX16" fmla="*/ 68571 w 97801"/>
                <a:gd name="connsiteY16" fmla="*/ 21052 h 104966"/>
                <a:gd name="connsiteX17" fmla="*/ 75665 w 97801"/>
                <a:gd name="connsiteY17" fmla="*/ 21705 h 104966"/>
                <a:gd name="connsiteX18" fmla="*/ 74511 w 97801"/>
                <a:gd name="connsiteY18" fmla="*/ 29004 h 104966"/>
                <a:gd name="connsiteX19" fmla="*/ 77016 w 97801"/>
                <a:gd name="connsiteY19" fmla="*/ 41152 h 104966"/>
                <a:gd name="connsiteX20" fmla="*/ 71568 w 97801"/>
                <a:gd name="connsiteY20" fmla="*/ 52289 h 104966"/>
                <a:gd name="connsiteX21" fmla="*/ 78876 w 97801"/>
                <a:gd name="connsiteY21" fmla="*/ 59177 h 104966"/>
                <a:gd name="connsiteX22" fmla="*/ 86847 w 97801"/>
                <a:gd name="connsiteY22" fmla="*/ 60850 h 104966"/>
                <a:gd name="connsiteX23" fmla="*/ 97465 w 97801"/>
                <a:gd name="connsiteY23" fmla="*/ 71343 h 104966"/>
                <a:gd name="connsiteX24" fmla="*/ 98234 w 97801"/>
                <a:gd name="connsiteY24" fmla="*/ 81201 h 104966"/>
                <a:gd name="connsiteX25" fmla="*/ 95837 w 97801"/>
                <a:gd name="connsiteY25" fmla="*/ 84341 h 10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7801" h="104966">
                  <a:moveTo>
                    <a:pt x="93905" y="104934"/>
                  </a:moveTo>
                  <a:lnTo>
                    <a:pt x="87339" y="105148"/>
                  </a:lnTo>
                  <a:lnTo>
                    <a:pt x="61486" y="93233"/>
                  </a:lnTo>
                  <a:lnTo>
                    <a:pt x="38693" y="74188"/>
                  </a:lnTo>
                  <a:lnTo>
                    <a:pt x="17322" y="60492"/>
                  </a:lnTo>
                  <a:lnTo>
                    <a:pt x="433" y="44310"/>
                  </a:lnTo>
                  <a:lnTo>
                    <a:pt x="6436" y="36277"/>
                  </a:lnTo>
                  <a:lnTo>
                    <a:pt x="7760" y="28977"/>
                  </a:lnTo>
                  <a:lnTo>
                    <a:pt x="19076" y="15326"/>
                  </a:lnTo>
                  <a:lnTo>
                    <a:pt x="30750" y="3581"/>
                  </a:lnTo>
                  <a:lnTo>
                    <a:pt x="36108" y="3018"/>
                  </a:lnTo>
                  <a:lnTo>
                    <a:pt x="42656" y="182"/>
                  </a:lnTo>
                  <a:lnTo>
                    <a:pt x="53149" y="15604"/>
                  </a:lnTo>
                  <a:lnTo>
                    <a:pt x="51485" y="25703"/>
                  </a:lnTo>
                  <a:lnTo>
                    <a:pt x="56370" y="31053"/>
                  </a:lnTo>
                  <a:lnTo>
                    <a:pt x="63463" y="31178"/>
                  </a:lnTo>
                  <a:lnTo>
                    <a:pt x="68571" y="21052"/>
                  </a:lnTo>
                  <a:lnTo>
                    <a:pt x="75665" y="21705"/>
                  </a:lnTo>
                  <a:lnTo>
                    <a:pt x="74511" y="29004"/>
                  </a:lnTo>
                  <a:lnTo>
                    <a:pt x="77016" y="41152"/>
                  </a:lnTo>
                  <a:lnTo>
                    <a:pt x="71568" y="52289"/>
                  </a:lnTo>
                  <a:lnTo>
                    <a:pt x="78876" y="59177"/>
                  </a:lnTo>
                  <a:lnTo>
                    <a:pt x="86847" y="60850"/>
                  </a:lnTo>
                  <a:lnTo>
                    <a:pt x="97465" y="71343"/>
                  </a:lnTo>
                  <a:lnTo>
                    <a:pt x="98234" y="81201"/>
                  </a:lnTo>
                  <a:lnTo>
                    <a:pt x="95837" y="8434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/>
            <p:cNvSpPr/>
            <p:nvPr/>
          </p:nvSpPr>
          <p:spPr>
            <a:xfrm>
              <a:off x="6514880" y="5406984"/>
              <a:ext cx="58342" cy="57367"/>
            </a:xfrm>
            <a:custGeom>
              <a:avLst/>
              <a:gdLst>
                <a:gd name="connsiteX0" fmla="*/ 50115 w 58342"/>
                <a:gd name="connsiteY0" fmla="*/ 9000 h 57367"/>
                <a:gd name="connsiteX1" fmla="*/ 58819 w 58342"/>
                <a:gd name="connsiteY1" fmla="*/ 17614 h 57367"/>
                <a:gd name="connsiteX2" fmla="*/ 51117 w 58342"/>
                <a:gd name="connsiteY2" fmla="*/ 31561 h 57367"/>
                <a:gd name="connsiteX3" fmla="*/ 46859 w 58342"/>
                <a:gd name="connsiteY3" fmla="*/ 40953 h 57367"/>
                <a:gd name="connsiteX4" fmla="*/ 32877 w 58342"/>
                <a:gd name="connsiteY4" fmla="*/ 45462 h 57367"/>
                <a:gd name="connsiteX5" fmla="*/ 28270 w 58342"/>
                <a:gd name="connsiteY5" fmla="*/ 54702 h 57367"/>
                <a:gd name="connsiteX6" fmla="*/ 19288 w 58342"/>
                <a:gd name="connsiteY6" fmla="*/ 57592 h 57367"/>
                <a:gd name="connsiteX7" fmla="*/ 476 w 58342"/>
                <a:gd name="connsiteY7" fmla="*/ 35362 h 57367"/>
                <a:gd name="connsiteX8" fmla="*/ 13850 w 58342"/>
                <a:gd name="connsiteY8" fmla="*/ 17194 h 57367"/>
                <a:gd name="connsiteX9" fmla="*/ 27438 w 58342"/>
                <a:gd name="connsiteY9" fmla="*/ 6030 h 57367"/>
                <a:gd name="connsiteX10" fmla="*/ 39166 w 58342"/>
                <a:gd name="connsiteY10" fmla="*/ 225 h 5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342" h="57367">
                  <a:moveTo>
                    <a:pt x="50115" y="9000"/>
                  </a:moveTo>
                  <a:lnTo>
                    <a:pt x="58819" y="17614"/>
                  </a:lnTo>
                  <a:lnTo>
                    <a:pt x="51117" y="31561"/>
                  </a:lnTo>
                  <a:lnTo>
                    <a:pt x="46859" y="40953"/>
                  </a:lnTo>
                  <a:lnTo>
                    <a:pt x="32877" y="45462"/>
                  </a:lnTo>
                  <a:lnTo>
                    <a:pt x="28270" y="54702"/>
                  </a:lnTo>
                  <a:lnTo>
                    <a:pt x="19288" y="57592"/>
                  </a:lnTo>
                  <a:lnTo>
                    <a:pt x="476" y="35362"/>
                  </a:lnTo>
                  <a:lnTo>
                    <a:pt x="13850" y="17194"/>
                  </a:lnTo>
                  <a:lnTo>
                    <a:pt x="27438" y="6030"/>
                  </a:lnTo>
                  <a:lnTo>
                    <a:pt x="39166" y="22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/>
            <p:cNvSpPr/>
            <p:nvPr/>
          </p:nvSpPr>
          <p:spPr>
            <a:xfrm>
              <a:off x="6365812" y="2949324"/>
              <a:ext cx="138762" cy="108052"/>
            </a:xfrm>
            <a:custGeom>
              <a:avLst/>
              <a:gdLst>
                <a:gd name="connsiteX0" fmla="*/ 42488 w 138762"/>
                <a:gd name="connsiteY0" fmla="*/ 90159 h 108052"/>
                <a:gd name="connsiteX1" fmla="*/ 40476 w 138762"/>
                <a:gd name="connsiteY1" fmla="*/ 79174 h 108052"/>
                <a:gd name="connsiteX2" fmla="*/ 43159 w 138762"/>
                <a:gd name="connsiteY2" fmla="*/ 67303 h 108052"/>
                <a:gd name="connsiteX3" fmla="*/ 32067 w 138762"/>
                <a:gd name="connsiteY3" fmla="*/ 60388 h 108052"/>
                <a:gd name="connsiteX4" fmla="*/ 5803 w 138762"/>
                <a:gd name="connsiteY4" fmla="*/ 52731 h 108052"/>
                <a:gd name="connsiteX5" fmla="*/ 471 w 138762"/>
                <a:gd name="connsiteY5" fmla="*/ 15482 h 108052"/>
                <a:gd name="connsiteX6" fmla="*/ 29195 w 138762"/>
                <a:gd name="connsiteY6" fmla="*/ 1679 h 108052"/>
                <a:gd name="connsiteX7" fmla="*/ 71257 w 138762"/>
                <a:gd name="connsiteY7" fmla="*/ 4577 h 108052"/>
                <a:gd name="connsiteX8" fmla="*/ 95893 w 138762"/>
                <a:gd name="connsiteY8" fmla="*/ 113 h 108052"/>
                <a:gd name="connsiteX9" fmla="*/ 99417 w 138762"/>
                <a:gd name="connsiteY9" fmla="*/ 9488 h 108052"/>
                <a:gd name="connsiteX10" fmla="*/ 112764 w 138762"/>
                <a:gd name="connsiteY10" fmla="*/ 12369 h 108052"/>
                <a:gd name="connsiteX11" fmla="*/ 136872 w 138762"/>
                <a:gd name="connsiteY11" fmla="*/ 34008 h 108052"/>
                <a:gd name="connsiteX12" fmla="*/ 139234 w 138762"/>
                <a:gd name="connsiteY12" fmla="*/ 53750 h 108052"/>
                <a:gd name="connsiteX13" fmla="*/ 118668 w 138762"/>
                <a:gd name="connsiteY13" fmla="*/ 67723 h 108052"/>
                <a:gd name="connsiteX14" fmla="*/ 112845 w 138762"/>
                <a:gd name="connsiteY14" fmla="*/ 92091 h 108052"/>
                <a:gd name="connsiteX15" fmla="*/ 85615 w 138762"/>
                <a:gd name="connsiteY15" fmla="*/ 108166 h 108052"/>
                <a:gd name="connsiteX16" fmla="*/ 61372 w 138762"/>
                <a:gd name="connsiteY16" fmla="*/ 107880 h 108052"/>
                <a:gd name="connsiteX17" fmla="*/ 55352 w 138762"/>
                <a:gd name="connsiteY17" fmla="*/ 94739 h 10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762" h="108052">
                  <a:moveTo>
                    <a:pt x="42488" y="90159"/>
                  </a:moveTo>
                  <a:lnTo>
                    <a:pt x="40476" y="79174"/>
                  </a:lnTo>
                  <a:lnTo>
                    <a:pt x="43159" y="67303"/>
                  </a:lnTo>
                  <a:lnTo>
                    <a:pt x="32067" y="60388"/>
                  </a:lnTo>
                  <a:lnTo>
                    <a:pt x="5803" y="52731"/>
                  </a:lnTo>
                  <a:lnTo>
                    <a:pt x="471" y="15482"/>
                  </a:lnTo>
                  <a:lnTo>
                    <a:pt x="29195" y="1679"/>
                  </a:lnTo>
                  <a:lnTo>
                    <a:pt x="71257" y="4577"/>
                  </a:lnTo>
                  <a:lnTo>
                    <a:pt x="95893" y="113"/>
                  </a:lnTo>
                  <a:lnTo>
                    <a:pt x="99417" y="9488"/>
                  </a:lnTo>
                  <a:lnTo>
                    <a:pt x="112764" y="12369"/>
                  </a:lnTo>
                  <a:lnTo>
                    <a:pt x="136872" y="34008"/>
                  </a:lnTo>
                  <a:lnTo>
                    <a:pt x="139234" y="53750"/>
                  </a:lnTo>
                  <a:lnTo>
                    <a:pt x="118668" y="67723"/>
                  </a:lnTo>
                  <a:lnTo>
                    <a:pt x="112845" y="92091"/>
                  </a:lnTo>
                  <a:lnTo>
                    <a:pt x="85615" y="108166"/>
                  </a:lnTo>
                  <a:lnTo>
                    <a:pt x="61372" y="107880"/>
                  </a:lnTo>
                  <a:lnTo>
                    <a:pt x="55352" y="9473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/>
            <p:cNvSpPr/>
            <p:nvPr/>
          </p:nvSpPr>
          <p:spPr>
            <a:xfrm>
              <a:off x="5980001" y="3211060"/>
              <a:ext cx="14268" cy="26550"/>
            </a:xfrm>
            <a:custGeom>
              <a:avLst/>
              <a:gdLst>
                <a:gd name="connsiteX0" fmla="*/ 9710 w 14268"/>
                <a:gd name="connsiteY0" fmla="*/ 123 h 26550"/>
                <a:gd name="connsiteX1" fmla="*/ 14719 w 14268"/>
                <a:gd name="connsiteY1" fmla="*/ 8917 h 26550"/>
                <a:gd name="connsiteX2" fmla="*/ 13306 w 14268"/>
                <a:gd name="connsiteY2" fmla="*/ 25869 h 26550"/>
                <a:gd name="connsiteX3" fmla="*/ 6069 w 14268"/>
                <a:gd name="connsiteY3" fmla="*/ 26674 h 26550"/>
                <a:gd name="connsiteX4" fmla="*/ 451 w 14268"/>
                <a:gd name="connsiteY4" fmla="*/ 23337 h 26550"/>
                <a:gd name="connsiteX5" fmla="*/ 3170 w 14268"/>
                <a:gd name="connsiteY5" fmla="*/ 1600 h 2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68" h="26550">
                  <a:moveTo>
                    <a:pt x="9710" y="123"/>
                  </a:moveTo>
                  <a:lnTo>
                    <a:pt x="14719" y="8917"/>
                  </a:lnTo>
                  <a:lnTo>
                    <a:pt x="13306" y="25869"/>
                  </a:lnTo>
                  <a:lnTo>
                    <a:pt x="6069" y="26674"/>
                  </a:lnTo>
                  <a:lnTo>
                    <a:pt x="451" y="23337"/>
                  </a:lnTo>
                  <a:lnTo>
                    <a:pt x="3170" y="160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/>
            <p:cNvSpPr/>
            <p:nvPr/>
          </p:nvSpPr>
          <p:spPr>
            <a:xfrm>
              <a:off x="6365812" y="2875541"/>
              <a:ext cx="178596" cy="107676"/>
            </a:xfrm>
            <a:custGeom>
              <a:avLst/>
              <a:gdLst>
                <a:gd name="connsiteX0" fmla="*/ 472 w 178596"/>
                <a:gd name="connsiteY0" fmla="*/ 89261 h 107676"/>
                <a:gd name="connsiteX1" fmla="*/ 1331 w 178596"/>
                <a:gd name="connsiteY1" fmla="*/ 55196 h 107676"/>
                <a:gd name="connsiteX2" fmla="*/ 13658 w 178596"/>
                <a:gd name="connsiteY2" fmla="*/ 26258 h 107676"/>
                <a:gd name="connsiteX3" fmla="*/ 37301 w 178596"/>
                <a:gd name="connsiteY3" fmla="*/ 10308 h 107676"/>
                <a:gd name="connsiteX4" fmla="*/ 57213 w 178596"/>
                <a:gd name="connsiteY4" fmla="*/ 45008 h 107676"/>
                <a:gd name="connsiteX5" fmla="*/ 77341 w 178596"/>
                <a:gd name="connsiteY5" fmla="*/ 44113 h 107676"/>
                <a:gd name="connsiteX6" fmla="*/ 82162 w 178596"/>
                <a:gd name="connsiteY6" fmla="*/ 8429 h 107676"/>
                <a:gd name="connsiteX7" fmla="*/ 103524 w 178596"/>
                <a:gd name="connsiteY7" fmla="*/ 110 h 107676"/>
                <a:gd name="connsiteX8" fmla="*/ 114518 w 178596"/>
                <a:gd name="connsiteY8" fmla="*/ 5889 h 107676"/>
                <a:gd name="connsiteX9" fmla="*/ 136104 w 178596"/>
                <a:gd name="connsiteY9" fmla="*/ 23261 h 107676"/>
                <a:gd name="connsiteX10" fmla="*/ 156786 w 178596"/>
                <a:gd name="connsiteY10" fmla="*/ 23342 h 107676"/>
                <a:gd name="connsiteX11" fmla="*/ 168871 w 178596"/>
                <a:gd name="connsiteY11" fmla="*/ 34031 h 107676"/>
                <a:gd name="connsiteX12" fmla="*/ 171009 w 178596"/>
                <a:gd name="connsiteY12" fmla="*/ 56314 h 107676"/>
                <a:gd name="connsiteX13" fmla="*/ 179069 w 178596"/>
                <a:gd name="connsiteY13" fmla="*/ 83062 h 107676"/>
                <a:gd name="connsiteX14" fmla="*/ 152125 w 178596"/>
                <a:gd name="connsiteY14" fmla="*/ 100317 h 107676"/>
                <a:gd name="connsiteX15" fmla="*/ 136873 w 178596"/>
                <a:gd name="connsiteY15" fmla="*/ 107787 h 107676"/>
                <a:gd name="connsiteX16" fmla="*/ 112765 w 178596"/>
                <a:gd name="connsiteY16" fmla="*/ 86148 h 107676"/>
                <a:gd name="connsiteX17" fmla="*/ 99418 w 178596"/>
                <a:gd name="connsiteY17" fmla="*/ 83267 h 107676"/>
                <a:gd name="connsiteX18" fmla="*/ 95894 w 178596"/>
                <a:gd name="connsiteY18" fmla="*/ 73893 h 107676"/>
                <a:gd name="connsiteX19" fmla="*/ 71258 w 178596"/>
                <a:gd name="connsiteY19" fmla="*/ 78356 h 107676"/>
                <a:gd name="connsiteX20" fmla="*/ 29196 w 178596"/>
                <a:gd name="connsiteY20" fmla="*/ 75458 h 10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8596" h="107676">
                  <a:moveTo>
                    <a:pt x="472" y="89261"/>
                  </a:moveTo>
                  <a:lnTo>
                    <a:pt x="1331" y="55196"/>
                  </a:lnTo>
                  <a:lnTo>
                    <a:pt x="13658" y="26258"/>
                  </a:lnTo>
                  <a:lnTo>
                    <a:pt x="37301" y="10308"/>
                  </a:lnTo>
                  <a:lnTo>
                    <a:pt x="57213" y="45008"/>
                  </a:lnTo>
                  <a:lnTo>
                    <a:pt x="77341" y="44113"/>
                  </a:lnTo>
                  <a:lnTo>
                    <a:pt x="82162" y="8429"/>
                  </a:lnTo>
                  <a:lnTo>
                    <a:pt x="103524" y="110"/>
                  </a:lnTo>
                  <a:lnTo>
                    <a:pt x="114518" y="5889"/>
                  </a:lnTo>
                  <a:lnTo>
                    <a:pt x="136104" y="23261"/>
                  </a:lnTo>
                  <a:lnTo>
                    <a:pt x="156786" y="23342"/>
                  </a:lnTo>
                  <a:lnTo>
                    <a:pt x="168871" y="34031"/>
                  </a:lnTo>
                  <a:lnTo>
                    <a:pt x="171009" y="56314"/>
                  </a:lnTo>
                  <a:lnTo>
                    <a:pt x="179069" y="83062"/>
                  </a:lnTo>
                  <a:lnTo>
                    <a:pt x="152125" y="100317"/>
                  </a:lnTo>
                  <a:lnTo>
                    <a:pt x="136873" y="107787"/>
                  </a:lnTo>
                  <a:lnTo>
                    <a:pt x="112765" y="86148"/>
                  </a:lnTo>
                  <a:lnTo>
                    <a:pt x="99418" y="83267"/>
                  </a:lnTo>
                  <a:lnTo>
                    <a:pt x="95894" y="73893"/>
                  </a:lnTo>
                  <a:lnTo>
                    <a:pt x="71258" y="78356"/>
                  </a:lnTo>
                  <a:lnTo>
                    <a:pt x="29196" y="7545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/>
            <p:cNvSpPr/>
            <p:nvPr/>
          </p:nvSpPr>
          <p:spPr>
            <a:xfrm>
              <a:off x="6071433" y="3784601"/>
              <a:ext cx="397439" cy="378770"/>
            </a:xfrm>
            <a:custGeom>
              <a:avLst/>
              <a:gdLst>
                <a:gd name="connsiteX0" fmla="*/ 139217 w 397439"/>
                <a:gd name="connsiteY0" fmla="*/ 291110 h 378770"/>
                <a:gd name="connsiteX1" fmla="*/ 121469 w 397439"/>
                <a:gd name="connsiteY1" fmla="*/ 301156 h 378770"/>
                <a:gd name="connsiteX2" fmla="*/ 107363 w 397439"/>
                <a:gd name="connsiteY2" fmla="*/ 286297 h 378770"/>
                <a:gd name="connsiteX3" fmla="*/ 67689 w 397439"/>
                <a:gd name="connsiteY3" fmla="*/ 274597 h 378770"/>
                <a:gd name="connsiteX4" fmla="*/ 56677 w 397439"/>
                <a:gd name="connsiteY4" fmla="*/ 257520 h 378770"/>
                <a:gd name="connsiteX5" fmla="*/ 36881 w 397439"/>
                <a:gd name="connsiteY5" fmla="*/ 244808 h 378770"/>
                <a:gd name="connsiteX6" fmla="*/ 25163 w 397439"/>
                <a:gd name="connsiteY6" fmla="*/ 249827 h 378770"/>
                <a:gd name="connsiteX7" fmla="*/ 16235 w 397439"/>
                <a:gd name="connsiteY7" fmla="*/ 234521 h 378770"/>
                <a:gd name="connsiteX8" fmla="*/ 15295 w 397439"/>
                <a:gd name="connsiteY8" fmla="*/ 222713 h 378770"/>
                <a:gd name="connsiteX9" fmla="*/ 464 w 397439"/>
                <a:gd name="connsiteY9" fmla="*/ 202532 h 378770"/>
                <a:gd name="connsiteX10" fmla="*/ 10420 w 397439"/>
                <a:gd name="connsiteY10" fmla="*/ 190903 h 378770"/>
                <a:gd name="connsiteX11" fmla="*/ 8229 w 397439"/>
                <a:gd name="connsiteY11" fmla="*/ 173325 h 378770"/>
                <a:gd name="connsiteX12" fmla="*/ 11422 w 397439"/>
                <a:gd name="connsiteY12" fmla="*/ 157947 h 378770"/>
                <a:gd name="connsiteX13" fmla="*/ 9606 w 397439"/>
                <a:gd name="connsiteY13" fmla="*/ 145066 h 378770"/>
                <a:gd name="connsiteX14" fmla="*/ 14025 w 397439"/>
                <a:gd name="connsiteY14" fmla="*/ 121897 h 378770"/>
                <a:gd name="connsiteX15" fmla="*/ 12666 w 397439"/>
                <a:gd name="connsiteY15" fmla="*/ 108613 h 378770"/>
                <a:gd name="connsiteX16" fmla="*/ 4543 w 397439"/>
                <a:gd name="connsiteY16" fmla="*/ 83208 h 378770"/>
                <a:gd name="connsiteX17" fmla="*/ 16789 w 397439"/>
                <a:gd name="connsiteY17" fmla="*/ 76499 h 378770"/>
                <a:gd name="connsiteX18" fmla="*/ 18954 w 397439"/>
                <a:gd name="connsiteY18" fmla="*/ 64225 h 378770"/>
                <a:gd name="connsiteX19" fmla="*/ 16289 w 397439"/>
                <a:gd name="connsiteY19" fmla="*/ 52140 h 378770"/>
                <a:gd name="connsiteX20" fmla="*/ 33509 w 397439"/>
                <a:gd name="connsiteY20" fmla="*/ 40851 h 378770"/>
                <a:gd name="connsiteX21" fmla="*/ 41229 w 397439"/>
                <a:gd name="connsiteY21" fmla="*/ 31431 h 378770"/>
                <a:gd name="connsiteX22" fmla="*/ 53457 w 397439"/>
                <a:gd name="connsiteY22" fmla="*/ 22960 h 378770"/>
                <a:gd name="connsiteX23" fmla="*/ 54879 w 397439"/>
                <a:gd name="connsiteY23" fmla="*/ 158 h 378770"/>
                <a:gd name="connsiteX24" fmla="*/ 84337 w 397439"/>
                <a:gd name="connsiteY24" fmla="*/ 10400 h 378770"/>
                <a:gd name="connsiteX25" fmla="*/ 94875 w 397439"/>
                <a:gd name="connsiteY25" fmla="*/ 7851 h 378770"/>
                <a:gd name="connsiteX26" fmla="*/ 115825 w 397439"/>
                <a:gd name="connsiteY26" fmla="*/ 12798 h 378770"/>
                <a:gd name="connsiteX27" fmla="*/ 149111 w 397439"/>
                <a:gd name="connsiteY27" fmla="*/ 26028 h 378770"/>
                <a:gd name="connsiteX28" fmla="*/ 160857 w 397439"/>
                <a:gd name="connsiteY28" fmla="*/ 52131 h 378770"/>
                <a:gd name="connsiteX29" fmla="*/ 183373 w 397439"/>
                <a:gd name="connsiteY29" fmla="*/ 57803 h 378770"/>
                <a:gd name="connsiteX30" fmla="*/ 218716 w 397439"/>
                <a:gd name="connsiteY30" fmla="*/ 69986 h 378770"/>
                <a:gd name="connsiteX31" fmla="*/ 245445 w 397439"/>
                <a:gd name="connsiteY31" fmla="*/ 84388 h 378770"/>
                <a:gd name="connsiteX32" fmla="*/ 257674 w 397439"/>
                <a:gd name="connsiteY32" fmla="*/ 76883 h 378770"/>
                <a:gd name="connsiteX33" fmla="*/ 269688 w 397439"/>
                <a:gd name="connsiteY33" fmla="*/ 63528 h 378770"/>
                <a:gd name="connsiteX34" fmla="*/ 263846 w 397439"/>
                <a:gd name="connsiteY34" fmla="*/ 41137 h 378770"/>
                <a:gd name="connsiteX35" fmla="*/ 271718 w 397439"/>
                <a:gd name="connsiteY35" fmla="*/ 26815 h 378770"/>
                <a:gd name="connsiteX36" fmla="*/ 289788 w 397439"/>
                <a:gd name="connsiteY36" fmla="*/ 12959 h 378770"/>
                <a:gd name="connsiteX37" fmla="*/ 307053 w 397439"/>
                <a:gd name="connsiteY37" fmla="*/ 8906 h 378770"/>
                <a:gd name="connsiteX38" fmla="*/ 340983 w 397439"/>
                <a:gd name="connsiteY38" fmla="*/ 14980 h 378770"/>
                <a:gd name="connsiteX39" fmla="*/ 349535 w 397439"/>
                <a:gd name="connsiteY39" fmla="*/ 28202 h 378770"/>
                <a:gd name="connsiteX40" fmla="*/ 358874 w 397439"/>
                <a:gd name="connsiteY40" fmla="*/ 28318 h 378770"/>
                <a:gd name="connsiteX41" fmla="*/ 366862 w 397439"/>
                <a:gd name="connsiteY41" fmla="*/ 33345 h 378770"/>
                <a:gd name="connsiteX42" fmla="*/ 391785 w 397439"/>
                <a:gd name="connsiteY42" fmla="*/ 36798 h 378770"/>
                <a:gd name="connsiteX43" fmla="*/ 397904 w 397439"/>
                <a:gd name="connsiteY43" fmla="*/ 46495 h 378770"/>
                <a:gd name="connsiteX44" fmla="*/ 388815 w 397439"/>
                <a:gd name="connsiteY44" fmla="*/ 60513 h 378770"/>
                <a:gd name="connsiteX45" fmla="*/ 392697 w 397439"/>
                <a:gd name="connsiteY45" fmla="*/ 72947 h 378770"/>
                <a:gd name="connsiteX46" fmla="*/ 386238 w 397439"/>
                <a:gd name="connsiteY46" fmla="*/ 90802 h 378770"/>
                <a:gd name="connsiteX47" fmla="*/ 393762 w 397439"/>
                <a:gd name="connsiteY47" fmla="*/ 113936 h 378770"/>
                <a:gd name="connsiteX48" fmla="*/ 393762 w 397439"/>
                <a:gd name="connsiteY48" fmla="*/ 213946 h 378770"/>
                <a:gd name="connsiteX49" fmla="*/ 393762 w 397439"/>
                <a:gd name="connsiteY49" fmla="*/ 314386 h 378770"/>
                <a:gd name="connsiteX50" fmla="*/ 393762 w 397439"/>
                <a:gd name="connsiteY50" fmla="*/ 367728 h 378770"/>
                <a:gd name="connsiteX51" fmla="*/ 364921 w 397439"/>
                <a:gd name="connsiteY51" fmla="*/ 367809 h 378770"/>
                <a:gd name="connsiteX52" fmla="*/ 364609 w 397439"/>
                <a:gd name="connsiteY52" fmla="*/ 378928 h 378770"/>
                <a:gd name="connsiteX53" fmla="*/ 264571 w 397439"/>
                <a:gd name="connsiteY53" fmla="*/ 327948 h 378770"/>
                <a:gd name="connsiteX54" fmla="*/ 164542 w 397439"/>
                <a:gd name="connsiteY54" fmla="*/ 276279 h 37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97439" h="378770">
                  <a:moveTo>
                    <a:pt x="139217" y="291110"/>
                  </a:moveTo>
                  <a:lnTo>
                    <a:pt x="121469" y="301156"/>
                  </a:lnTo>
                  <a:lnTo>
                    <a:pt x="107363" y="286297"/>
                  </a:lnTo>
                  <a:lnTo>
                    <a:pt x="67689" y="274597"/>
                  </a:lnTo>
                  <a:lnTo>
                    <a:pt x="56677" y="257520"/>
                  </a:lnTo>
                  <a:lnTo>
                    <a:pt x="36881" y="244808"/>
                  </a:lnTo>
                  <a:lnTo>
                    <a:pt x="25163" y="249827"/>
                  </a:lnTo>
                  <a:lnTo>
                    <a:pt x="16235" y="234521"/>
                  </a:lnTo>
                  <a:lnTo>
                    <a:pt x="15295" y="222713"/>
                  </a:lnTo>
                  <a:lnTo>
                    <a:pt x="464" y="202532"/>
                  </a:lnTo>
                  <a:lnTo>
                    <a:pt x="10420" y="190903"/>
                  </a:lnTo>
                  <a:lnTo>
                    <a:pt x="8229" y="173325"/>
                  </a:lnTo>
                  <a:lnTo>
                    <a:pt x="11422" y="157947"/>
                  </a:lnTo>
                  <a:lnTo>
                    <a:pt x="9606" y="145066"/>
                  </a:lnTo>
                  <a:lnTo>
                    <a:pt x="14025" y="121897"/>
                  </a:lnTo>
                  <a:lnTo>
                    <a:pt x="12666" y="108613"/>
                  </a:lnTo>
                  <a:lnTo>
                    <a:pt x="4543" y="83208"/>
                  </a:lnTo>
                  <a:lnTo>
                    <a:pt x="16789" y="76499"/>
                  </a:lnTo>
                  <a:lnTo>
                    <a:pt x="18954" y="64225"/>
                  </a:lnTo>
                  <a:lnTo>
                    <a:pt x="16289" y="52140"/>
                  </a:lnTo>
                  <a:lnTo>
                    <a:pt x="33509" y="40851"/>
                  </a:lnTo>
                  <a:lnTo>
                    <a:pt x="41229" y="31431"/>
                  </a:lnTo>
                  <a:lnTo>
                    <a:pt x="53457" y="22960"/>
                  </a:lnTo>
                  <a:lnTo>
                    <a:pt x="54879" y="158"/>
                  </a:lnTo>
                  <a:lnTo>
                    <a:pt x="84337" y="10400"/>
                  </a:lnTo>
                  <a:lnTo>
                    <a:pt x="94875" y="7851"/>
                  </a:lnTo>
                  <a:lnTo>
                    <a:pt x="115825" y="12798"/>
                  </a:lnTo>
                  <a:lnTo>
                    <a:pt x="149111" y="26028"/>
                  </a:lnTo>
                  <a:lnTo>
                    <a:pt x="160857" y="52131"/>
                  </a:lnTo>
                  <a:lnTo>
                    <a:pt x="183373" y="57803"/>
                  </a:lnTo>
                  <a:lnTo>
                    <a:pt x="218716" y="69986"/>
                  </a:lnTo>
                  <a:lnTo>
                    <a:pt x="245445" y="84388"/>
                  </a:lnTo>
                  <a:lnTo>
                    <a:pt x="257674" y="76883"/>
                  </a:lnTo>
                  <a:lnTo>
                    <a:pt x="269688" y="63528"/>
                  </a:lnTo>
                  <a:lnTo>
                    <a:pt x="263846" y="41137"/>
                  </a:lnTo>
                  <a:lnTo>
                    <a:pt x="271718" y="26815"/>
                  </a:lnTo>
                  <a:lnTo>
                    <a:pt x="289788" y="12959"/>
                  </a:lnTo>
                  <a:lnTo>
                    <a:pt x="307053" y="8906"/>
                  </a:lnTo>
                  <a:lnTo>
                    <a:pt x="340983" y="14980"/>
                  </a:lnTo>
                  <a:lnTo>
                    <a:pt x="349535" y="28202"/>
                  </a:lnTo>
                  <a:lnTo>
                    <a:pt x="358874" y="28318"/>
                  </a:lnTo>
                  <a:lnTo>
                    <a:pt x="366862" y="33345"/>
                  </a:lnTo>
                  <a:lnTo>
                    <a:pt x="391785" y="36798"/>
                  </a:lnTo>
                  <a:lnTo>
                    <a:pt x="397904" y="46495"/>
                  </a:lnTo>
                  <a:lnTo>
                    <a:pt x="388815" y="60513"/>
                  </a:lnTo>
                  <a:lnTo>
                    <a:pt x="392697" y="72947"/>
                  </a:lnTo>
                  <a:lnTo>
                    <a:pt x="386238" y="90802"/>
                  </a:lnTo>
                  <a:lnTo>
                    <a:pt x="393762" y="113936"/>
                  </a:lnTo>
                  <a:lnTo>
                    <a:pt x="393762" y="213946"/>
                  </a:lnTo>
                  <a:lnTo>
                    <a:pt x="393762" y="314386"/>
                  </a:lnTo>
                  <a:lnTo>
                    <a:pt x="393762" y="367728"/>
                  </a:lnTo>
                  <a:lnTo>
                    <a:pt x="364921" y="367809"/>
                  </a:lnTo>
                  <a:lnTo>
                    <a:pt x="364609" y="378928"/>
                  </a:lnTo>
                  <a:lnTo>
                    <a:pt x="264571" y="327948"/>
                  </a:lnTo>
                  <a:lnTo>
                    <a:pt x="164542" y="27627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/>
            <p:cNvSpPr/>
            <p:nvPr/>
          </p:nvSpPr>
          <p:spPr>
            <a:xfrm>
              <a:off x="5508430" y="3705174"/>
              <a:ext cx="301051" cy="238298"/>
            </a:xfrm>
            <a:custGeom>
              <a:avLst/>
              <a:gdLst>
                <a:gd name="connsiteX0" fmla="*/ 294877 w 301051"/>
                <a:gd name="connsiteY0" fmla="*/ 87709 h 238298"/>
                <a:gd name="connsiteX1" fmla="*/ 286218 w 301051"/>
                <a:gd name="connsiteY1" fmla="*/ 56141 h 238298"/>
                <a:gd name="connsiteX2" fmla="*/ 284724 w 301051"/>
                <a:gd name="connsiteY2" fmla="*/ 37776 h 238298"/>
                <a:gd name="connsiteX3" fmla="*/ 275268 w 301051"/>
                <a:gd name="connsiteY3" fmla="*/ 18292 h 238298"/>
                <a:gd name="connsiteX4" fmla="*/ 264373 w 301051"/>
                <a:gd name="connsiteY4" fmla="*/ 17961 h 238298"/>
                <a:gd name="connsiteX5" fmla="*/ 238395 w 301051"/>
                <a:gd name="connsiteY5" fmla="*/ 11207 h 238298"/>
                <a:gd name="connsiteX6" fmla="*/ 214537 w 301051"/>
                <a:gd name="connsiteY6" fmla="*/ 13328 h 238298"/>
                <a:gd name="connsiteX7" fmla="*/ 199419 w 301051"/>
                <a:gd name="connsiteY7" fmla="*/ 303 h 238298"/>
                <a:gd name="connsiteX8" fmla="*/ 180956 w 301051"/>
                <a:gd name="connsiteY8" fmla="*/ 151 h 238298"/>
                <a:gd name="connsiteX9" fmla="*/ 173075 w 301051"/>
                <a:gd name="connsiteY9" fmla="*/ 18972 h 238298"/>
                <a:gd name="connsiteX10" fmla="*/ 156311 w 301051"/>
                <a:gd name="connsiteY10" fmla="*/ 50398 h 238298"/>
                <a:gd name="connsiteX11" fmla="*/ 137713 w 301051"/>
                <a:gd name="connsiteY11" fmla="*/ 62832 h 238298"/>
                <a:gd name="connsiteX12" fmla="*/ 112550 w 301051"/>
                <a:gd name="connsiteY12" fmla="*/ 76501 h 238298"/>
                <a:gd name="connsiteX13" fmla="*/ 96412 w 301051"/>
                <a:gd name="connsiteY13" fmla="*/ 96592 h 238298"/>
                <a:gd name="connsiteX14" fmla="*/ 93049 w 301051"/>
                <a:gd name="connsiteY14" fmla="*/ 112139 h 238298"/>
                <a:gd name="connsiteX15" fmla="*/ 83522 w 301051"/>
                <a:gd name="connsiteY15" fmla="*/ 137357 h 238298"/>
                <a:gd name="connsiteX16" fmla="*/ 89792 w 301051"/>
                <a:gd name="connsiteY16" fmla="*/ 173416 h 238298"/>
                <a:gd name="connsiteX17" fmla="*/ 68851 w 301051"/>
                <a:gd name="connsiteY17" fmla="*/ 197354 h 238298"/>
                <a:gd name="connsiteX18" fmla="*/ 56273 w 301051"/>
                <a:gd name="connsiteY18" fmla="*/ 204958 h 238298"/>
                <a:gd name="connsiteX19" fmla="*/ 36513 w 301051"/>
                <a:gd name="connsiteY19" fmla="*/ 224361 h 238298"/>
                <a:gd name="connsiteX20" fmla="*/ 13192 w 301051"/>
                <a:gd name="connsiteY20" fmla="*/ 227492 h 238298"/>
                <a:gd name="connsiteX21" fmla="*/ 579 w 301051"/>
                <a:gd name="connsiteY21" fmla="*/ 238325 h 238298"/>
                <a:gd name="connsiteX22" fmla="*/ 436 w 301051"/>
                <a:gd name="connsiteY22" fmla="*/ 238450 h 238298"/>
                <a:gd name="connsiteX23" fmla="*/ 112344 w 301051"/>
                <a:gd name="connsiteY23" fmla="*/ 238325 h 238298"/>
                <a:gd name="connsiteX24" fmla="*/ 112344 w 301051"/>
                <a:gd name="connsiteY24" fmla="*/ 238262 h 238298"/>
                <a:gd name="connsiteX25" fmla="*/ 112129 w 301051"/>
                <a:gd name="connsiteY25" fmla="*/ 204699 h 238298"/>
                <a:gd name="connsiteX26" fmla="*/ 152634 w 301051"/>
                <a:gd name="connsiteY26" fmla="*/ 183596 h 238298"/>
                <a:gd name="connsiteX27" fmla="*/ 177682 w 301051"/>
                <a:gd name="connsiteY27" fmla="*/ 179222 h 238298"/>
                <a:gd name="connsiteX28" fmla="*/ 198212 w 301051"/>
                <a:gd name="connsiteY28" fmla="*/ 171484 h 238298"/>
                <a:gd name="connsiteX29" fmla="*/ 207802 w 301051"/>
                <a:gd name="connsiteY29" fmla="*/ 157019 h 238298"/>
                <a:gd name="connsiteX30" fmla="*/ 237125 w 301051"/>
                <a:gd name="connsiteY30" fmla="*/ 145533 h 238298"/>
                <a:gd name="connsiteX31" fmla="*/ 238207 w 301051"/>
                <a:gd name="connsiteY31" fmla="*/ 123912 h 238298"/>
                <a:gd name="connsiteX32" fmla="*/ 252717 w 301051"/>
                <a:gd name="connsiteY32" fmla="*/ 121353 h 238298"/>
                <a:gd name="connsiteX33" fmla="*/ 264069 w 301051"/>
                <a:gd name="connsiteY33" fmla="*/ 110476 h 238298"/>
                <a:gd name="connsiteX34" fmla="*/ 296890 w 301051"/>
                <a:gd name="connsiteY34" fmla="*/ 105511 h 238298"/>
                <a:gd name="connsiteX35" fmla="*/ 301488 w 301051"/>
                <a:gd name="connsiteY35" fmla="*/ 94016 h 23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01051" h="238298">
                  <a:moveTo>
                    <a:pt x="294877" y="87709"/>
                  </a:moveTo>
                  <a:lnTo>
                    <a:pt x="286218" y="56141"/>
                  </a:lnTo>
                  <a:lnTo>
                    <a:pt x="284724" y="37776"/>
                  </a:lnTo>
                  <a:lnTo>
                    <a:pt x="275268" y="18292"/>
                  </a:lnTo>
                  <a:lnTo>
                    <a:pt x="264373" y="17961"/>
                  </a:lnTo>
                  <a:lnTo>
                    <a:pt x="238395" y="11207"/>
                  </a:lnTo>
                  <a:lnTo>
                    <a:pt x="214537" y="13328"/>
                  </a:lnTo>
                  <a:lnTo>
                    <a:pt x="199419" y="303"/>
                  </a:lnTo>
                  <a:lnTo>
                    <a:pt x="180956" y="151"/>
                  </a:lnTo>
                  <a:lnTo>
                    <a:pt x="173075" y="18972"/>
                  </a:lnTo>
                  <a:lnTo>
                    <a:pt x="156311" y="50398"/>
                  </a:lnTo>
                  <a:lnTo>
                    <a:pt x="137713" y="62832"/>
                  </a:lnTo>
                  <a:lnTo>
                    <a:pt x="112550" y="76501"/>
                  </a:lnTo>
                  <a:lnTo>
                    <a:pt x="96412" y="96592"/>
                  </a:lnTo>
                  <a:lnTo>
                    <a:pt x="93049" y="112139"/>
                  </a:lnTo>
                  <a:lnTo>
                    <a:pt x="83522" y="137357"/>
                  </a:lnTo>
                  <a:lnTo>
                    <a:pt x="89792" y="173416"/>
                  </a:lnTo>
                  <a:lnTo>
                    <a:pt x="68851" y="197354"/>
                  </a:lnTo>
                  <a:lnTo>
                    <a:pt x="56273" y="204958"/>
                  </a:lnTo>
                  <a:lnTo>
                    <a:pt x="36513" y="224361"/>
                  </a:lnTo>
                  <a:lnTo>
                    <a:pt x="13192" y="227492"/>
                  </a:lnTo>
                  <a:lnTo>
                    <a:pt x="579" y="238325"/>
                  </a:lnTo>
                  <a:lnTo>
                    <a:pt x="436" y="238450"/>
                  </a:lnTo>
                  <a:lnTo>
                    <a:pt x="112344" y="238325"/>
                  </a:lnTo>
                  <a:lnTo>
                    <a:pt x="112344" y="238262"/>
                  </a:lnTo>
                  <a:lnTo>
                    <a:pt x="112129" y="204699"/>
                  </a:lnTo>
                  <a:lnTo>
                    <a:pt x="152634" y="183596"/>
                  </a:lnTo>
                  <a:lnTo>
                    <a:pt x="177682" y="179222"/>
                  </a:lnTo>
                  <a:lnTo>
                    <a:pt x="198212" y="171484"/>
                  </a:lnTo>
                  <a:lnTo>
                    <a:pt x="207802" y="157019"/>
                  </a:lnTo>
                  <a:lnTo>
                    <a:pt x="237125" y="145533"/>
                  </a:lnTo>
                  <a:lnTo>
                    <a:pt x="238207" y="123912"/>
                  </a:lnTo>
                  <a:lnTo>
                    <a:pt x="252717" y="121353"/>
                  </a:lnTo>
                  <a:lnTo>
                    <a:pt x="264069" y="110476"/>
                  </a:lnTo>
                  <a:lnTo>
                    <a:pt x="296890" y="105511"/>
                  </a:lnTo>
                  <a:lnTo>
                    <a:pt x="301488" y="9401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/>
            <p:cNvSpPr/>
            <p:nvPr/>
          </p:nvSpPr>
          <p:spPr>
            <a:xfrm>
              <a:off x="6505353" y="3274770"/>
              <a:ext cx="85411" cy="109206"/>
            </a:xfrm>
            <a:custGeom>
              <a:avLst/>
              <a:gdLst>
                <a:gd name="connsiteX0" fmla="*/ 477 w 85411"/>
                <a:gd name="connsiteY0" fmla="*/ 9396 h 109206"/>
                <a:gd name="connsiteX1" fmla="*/ 6461 w 85411"/>
                <a:gd name="connsiteY1" fmla="*/ 3859 h 109206"/>
                <a:gd name="connsiteX2" fmla="*/ 23126 w 85411"/>
                <a:gd name="connsiteY2" fmla="*/ 128 h 109206"/>
                <a:gd name="connsiteX3" fmla="*/ 41617 w 85411"/>
                <a:gd name="connsiteY3" fmla="*/ 11838 h 109206"/>
                <a:gd name="connsiteX4" fmla="*/ 51931 w 85411"/>
                <a:gd name="connsiteY4" fmla="*/ 13242 h 109206"/>
                <a:gd name="connsiteX5" fmla="*/ 63265 w 85411"/>
                <a:gd name="connsiteY5" fmla="*/ 23297 h 109206"/>
                <a:gd name="connsiteX6" fmla="*/ 61467 w 85411"/>
                <a:gd name="connsiteY6" fmla="*/ 35884 h 109206"/>
                <a:gd name="connsiteX7" fmla="*/ 70600 w 85411"/>
                <a:gd name="connsiteY7" fmla="*/ 41931 h 109206"/>
                <a:gd name="connsiteX8" fmla="*/ 74223 w 85411"/>
                <a:gd name="connsiteY8" fmla="*/ 57290 h 109206"/>
                <a:gd name="connsiteX9" fmla="*/ 82981 w 85411"/>
                <a:gd name="connsiteY9" fmla="*/ 66576 h 109206"/>
                <a:gd name="connsiteX10" fmla="*/ 81209 w 85411"/>
                <a:gd name="connsiteY10" fmla="*/ 72005 h 109206"/>
                <a:gd name="connsiteX11" fmla="*/ 85888 w 85411"/>
                <a:gd name="connsiteY11" fmla="*/ 75682 h 109206"/>
                <a:gd name="connsiteX12" fmla="*/ 79242 w 85411"/>
                <a:gd name="connsiteY12" fmla="*/ 78366 h 109206"/>
                <a:gd name="connsiteX13" fmla="*/ 64464 w 85411"/>
                <a:gd name="connsiteY13" fmla="*/ 77301 h 109206"/>
                <a:gd name="connsiteX14" fmla="*/ 61995 w 85411"/>
                <a:gd name="connsiteY14" fmla="*/ 72283 h 109206"/>
                <a:gd name="connsiteX15" fmla="*/ 56753 w 85411"/>
                <a:gd name="connsiteY15" fmla="*/ 75181 h 109206"/>
                <a:gd name="connsiteX16" fmla="*/ 58524 w 85411"/>
                <a:gd name="connsiteY16" fmla="*/ 81658 h 109206"/>
                <a:gd name="connsiteX17" fmla="*/ 51654 w 85411"/>
                <a:gd name="connsiteY17" fmla="*/ 93161 h 109206"/>
                <a:gd name="connsiteX18" fmla="*/ 47279 w 85411"/>
                <a:gd name="connsiteY18" fmla="*/ 105461 h 109206"/>
                <a:gd name="connsiteX19" fmla="*/ 40964 w 85411"/>
                <a:gd name="connsiteY19" fmla="*/ 109335 h 109206"/>
                <a:gd name="connsiteX20" fmla="*/ 36473 w 85411"/>
                <a:gd name="connsiteY20" fmla="*/ 93000 h 109206"/>
                <a:gd name="connsiteX21" fmla="*/ 39112 w 85411"/>
                <a:gd name="connsiteY21" fmla="*/ 77578 h 109206"/>
                <a:gd name="connsiteX22" fmla="*/ 38316 w 85411"/>
                <a:gd name="connsiteY22" fmla="*/ 61611 h 109206"/>
                <a:gd name="connsiteX23" fmla="*/ 23842 w 85411"/>
                <a:gd name="connsiteY23" fmla="*/ 39766 h 109206"/>
                <a:gd name="connsiteX24" fmla="*/ 15889 w 85411"/>
                <a:gd name="connsiteY24" fmla="*/ 24129 h 109206"/>
                <a:gd name="connsiteX25" fmla="*/ 8116 w 85411"/>
                <a:gd name="connsiteY25" fmla="*/ 13055 h 10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5411" h="109206">
                  <a:moveTo>
                    <a:pt x="477" y="9396"/>
                  </a:moveTo>
                  <a:lnTo>
                    <a:pt x="6461" y="3859"/>
                  </a:lnTo>
                  <a:lnTo>
                    <a:pt x="23126" y="128"/>
                  </a:lnTo>
                  <a:lnTo>
                    <a:pt x="41617" y="11838"/>
                  </a:lnTo>
                  <a:lnTo>
                    <a:pt x="51931" y="13242"/>
                  </a:lnTo>
                  <a:lnTo>
                    <a:pt x="63265" y="23297"/>
                  </a:lnTo>
                  <a:lnTo>
                    <a:pt x="61467" y="35884"/>
                  </a:lnTo>
                  <a:lnTo>
                    <a:pt x="70600" y="41931"/>
                  </a:lnTo>
                  <a:lnTo>
                    <a:pt x="74223" y="57290"/>
                  </a:lnTo>
                  <a:lnTo>
                    <a:pt x="82981" y="66576"/>
                  </a:lnTo>
                  <a:lnTo>
                    <a:pt x="81209" y="72005"/>
                  </a:lnTo>
                  <a:lnTo>
                    <a:pt x="85888" y="75682"/>
                  </a:lnTo>
                  <a:lnTo>
                    <a:pt x="79242" y="78366"/>
                  </a:lnTo>
                  <a:lnTo>
                    <a:pt x="64464" y="77301"/>
                  </a:lnTo>
                  <a:lnTo>
                    <a:pt x="61995" y="72283"/>
                  </a:lnTo>
                  <a:lnTo>
                    <a:pt x="56753" y="75181"/>
                  </a:lnTo>
                  <a:lnTo>
                    <a:pt x="58524" y="81658"/>
                  </a:lnTo>
                  <a:lnTo>
                    <a:pt x="51654" y="93161"/>
                  </a:lnTo>
                  <a:lnTo>
                    <a:pt x="47279" y="105461"/>
                  </a:lnTo>
                  <a:lnTo>
                    <a:pt x="40964" y="109335"/>
                  </a:lnTo>
                  <a:lnTo>
                    <a:pt x="36473" y="93000"/>
                  </a:lnTo>
                  <a:lnTo>
                    <a:pt x="39112" y="77578"/>
                  </a:lnTo>
                  <a:lnTo>
                    <a:pt x="38316" y="61611"/>
                  </a:lnTo>
                  <a:lnTo>
                    <a:pt x="23842" y="39766"/>
                  </a:lnTo>
                  <a:lnTo>
                    <a:pt x="15889" y="24129"/>
                  </a:lnTo>
                  <a:lnTo>
                    <a:pt x="8116" y="1305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/>
            <p:cNvSpPr/>
            <p:nvPr/>
          </p:nvSpPr>
          <p:spPr>
            <a:xfrm>
              <a:off x="6300447" y="3452830"/>
              <a:ext cx="47402" cy="55989"/>
            </a:xfrm>
            <a:custGeom>
              <a:avLst/>
              <a:gdLst>
                <a:gd name="connsiteX0" fmla="*/ 34370 w 47402"/>
                <a:gd name="connsiteY0" fmla="*/ 35139 h 55989"/>
                <a:gd name="connsiteX1" fmla="*/ 32777 w 47402"/>
                <a:gd name="connsiteY1" fmla="*/ 28743 h 55989"/>
                <a:gd name="connsiteX2" fmla="*/ 21900 w 47402"/>
                <a:gd name="connsiteY2" fmla="*/ 45426 h 55989"/>
                <a:gd name="connsiteX3" fmla="*/ 23581 w 47402"/>
                <a:gd name="connsiteY3" fmla="*/ 56125 h 55989"/>
                <a:gd name="connsiteX4" fmla="*/ 18331 w 47402"/>
                <a:gd name="connsiteY4" fmla="*/ 53531 h 55989"/>
                <a:gd name="connsiteX5" fmla="*/ 11308 w 47402"/>
                <a:gd name="connsiteY5" fmla="*/ 42528 h 55989"/>
                <a:gd name="connsiteX6" fmla="*/ 466 w 47402"/>
                <a:gd name="connsiteY6" fmla="*/ 35810 h 55989"/>
                <a:gd name="connsiteX7" fmla="*/ 3221 w 47402"/>
                <a:gd name="connsiteY7" fmla="*/ 30049 h 55989"/>
                <a:gd name="connsiteX8" fmla="*/ 6898 w 47402"/>
                <a:gd name="connsiteY8" fmla="*/ 11272 h 55989"/>
                <a:gd name="connsiteX9" fmla="*/ 15056 w 47402"/>
                <a:gd name="connsiteY9" fmla="*/ 3284 h 55989"/>
                <a:gd name="connsiteX10" fmla="*/ 19744 w 47402"/>
                <a:gd name="connsiteY10" fmla="*/ 135 h 55989"/>
                <a:gd name="connsiteX11" fmla="*/ 26399 w 47402"/>
                <a:gd name="connsiteY11" fmla="*/ 6048 h 55989"/>
                <a:gd name="connsiteX12" fmla="*/ 30058 w 47402"/>
                <a:gd name="connsiteY12" fmla="*/ 10798 h 55989"/>
                <a:gd name="connsiteX13" fmla="*/ 38306 w 47402"/>
                <a:gd name="connsiteY13" fmla="*/ 14493 h 55989"/>
                <a:gd name="connsiteX14" fmla="*/ 47869 w 47402"/>
                <a:gd name="connsiteY14" fmla="*/ 21587 h 55989"/>
                <a:gd name="connsiteX15" fmla="*/ 45802 w 47402"/>
                <a:gd name="connsiteY15" fmla="*/ 24512 h 55989"/>
                <a:gd name="connsiteX16" fmla="*/ 41115 w 47402"/>
                <a:gd name="connsiteY16" fmla="*/ 32133 h 55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402" h="55989">
                  <a:moveTo>
                    <a:pt x="34370" y="35139"/>
                  </a:moveTo>
                  <a:lnTo>
                    <a:pt x="32777" y="28743"/>
                  </a:lnTo>
                  <a:lnTo>
                    <a:pt x="21900" y="45426"/>
                  </a:lnTo>
                  <a:lnTo>
                    <a:pt x="23581" y="56125"/>
                  </a:lnTo>
                  <a:lnTo>
                    <a:pt x="18331" y="53531"/>
                  </a:lnTo>
                  <a:lnTo>
                    <a:pt x="11308" y="42528"/>
                  </a:lnTo>
                  <a:lnTo>
                    <a:pt x="466" y="35810"/>
                  </a:lnTo>
                  <a:lnTo>
                    <a:pt x="3221" y="30049"/>
                  </a:lnTo>
                  <a:lnTo>
                    <a:pt x="6898" y="11272"/>
                  </a:lnTo>
                  <a:lnTo>
                    <a:pt x="15056" y="3284"/>
                  </a:lnTo>
                  <a:lnTo>
                    <a:pt x="19744" y="135"/>
                  </a:lnTo>
                  <a:lnTo>
                    <a:pt x="26399" y="6048"/>
                  </a:lnTo>
                  <a:lnTo>
                    <a:pt x="30058" y="10798"/>
                  </a:lnTo>
                  <a:lnTo>
                    <a:pt x="38306" y="14493"/>
                  </a:lnTo>
                  <a:lnTo>
                    <a:pt x="47869" y="21587"/>
                  </a:lnTo>
                  <a:lnTo>
                    <a:pt x="45802" y="24512"/>
                  </a:lnTo>
                  <a:lnTo>
                    <a:pt x="41115" y="3213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/>
            <p:cNvSpPr/>
            <p:nvPr/>
          </p:nvSpPr>
          <p:spPr>
            <a:xfrm>
              <a:off x="5532422" y="4017926"/>
              <a:ext cx="412369" cy="390310"/>
            </a:xfrm>
            <a:custGeom>
              <a:avLst/>
              <a:gdLst>
                <a:gd name="connsiteX0" fmla="*/ 440 w 412369"/>
                <a:gd name="connsiteY0" fmla="*/ 275118 h 390310"/>
                <a:gd name="connsiteX1" fmla="*/ 8884 w 412369"/>
                <a:gd name="connsiteY1" fmla="*/ 270421 h 390310"/>
                <a:gd name="connsiteX2" fmla="*/ 13097 w 412369"/>
                <a:gd name="connsiteY2" fmla="*/ 255214 h 390310"/>
                <a:gd name="connsiteX3" fmla="*/ 21050 w 412369"/>
                <a:gd name="connsiteY3" fmla="*/ 254623 h 390310"/>
                <a:gd name="connsiteX4" fmla="*/ 38565 w 412369"/>
                <a:gd name="connsiteY4" fmla="*/ 261816 h 390310"/>
                <a:gd name="connsiteX5" fmla="*/ 52708 w 412369"/>
                <a:gd name="connsiteY5" fmla="*/ 256708 h 390310"/>
                <a:gd name="connsiteX6" fmla="*/ 62405 w 412369"/>
                <a:gd name="connsiteY6" fmla="*/ 258416 h 390310"/>
                <a:gd name="connsiteX7" fmla="*/ 66171 w 412369"/>
                <a:gd name="connsiteY7" fmla="*/ 252673 h 390310"/>
                <a:gd name="connsiteX8" fmla="*/ 166808 w 412369"/>
                <a:gd name="connsiteY8" fmla="*/ 252280 h 390310"/>
                <a:gd name="connsiteX9" fmla="*/ 172390 w 412369"/>
                <a:gd name="connsiteY9" fmla="*/ 234138 h 390310"/>
                <a:gd name="connsiteX10" fmla="*/ 168043 w 412369"/>
                <a:gd name="connsiteY10" fmla="*/ 230936 h 390310"/>
                <a:gd name="connsiteX11" fmla="*/ 155939 w 412369"/>
                <a:gd name="connsiteY11" fmla="*/ 117462 h 390310"/>
                <a:gd name="connsiteX12" fmla="*/ 143836 w 412369"/>
                <a:gd name="connsiteY12" fmla="*/ 670 h 390310"/>
                <a:gd name="connsiteX13" fmla="*/ 182221 w 412369"/>
                <a:gd name="connsiteY13" fmla="*/ 169 h 390310"/>
                <a:gd name="connsiteX14" fmla="*/ 266828 w 412369"/>
                <a:gd name="connsiteY14" fmla="*/ 59692 h 390310"/>
                <a:gd name="connsiteX15" fmla="*/ 351434 w 412369"/>
                <a:gd name="connsiteY15" fmla="*/ 118258 h 390310"/>
                <a:gd name="connsiteX16" fmla="*/ 357401 w 412369"/>
                <a:gd name="connsiteY16" fmla="*/ 130720 h 390310"/>
                <a:gd name="connsiteX17" fmla="*/ 373011 w 412369"/>
                <a:gd name="connsiteY17" fmla="*/ 138314 h 390310"/>
                <a:gd name="connsiteX18" fmla="*/ 384631 w 412369"/>
                <a:gd name="connsiteY18" fmla="*/ 142617 h 390310"/>
                <a:gd name="connsiteX19" fmla="*/ 384917 w 412369"/>
                <a:gd name="connsiteY19" fmla="*/ 159434 h 390310"/>
                <a:gd name="connsiteX20" fmla="*/ 412738 w 412369"/>
                <a:gd name="connsiteY20" fmla="*/ 156849 h 390310"/>
                <a:gd name="connsiteX21" fmla="*/ 412809 w 412369"/>
                <a:gd name="connsiteY21" fmla="*/ 217231 h 390310"/>
                <a:gd name="connsiteX22" fmla="*/ 399096 w 412369"/>
                <a:gd name="connsiteY22" fmla="*/ 234595 h 390310"/>
                <a:gd name="connsiteX23" fmla="*/ 396958 w 412369"/>
                <a:gd name="connsiteY23" fmla="*/ 250562 h 390310"/>
                <a:gd name="connsiteX24" fmla="*/ 374675 w 412369"/>
                <a:gd name="connsiteY24" fmla="*/ 254668 h 390310"/>
                <a:gd name="connsiteX25" fmla="*/ 340458 w 412369"/>
                <a:gd name="connsiteY25" fmla="*/ 256887 h 390310"/>
                <a:gd name="connsiteX26" fmla="*/ 331182 w 412369"/>
                <a:gd name="connsiteY26" fmla="*/ 266056 h 390310"/>
                <a:gd name="connsiteX27" fmla="*/ 315106 w 412369"/>
                <a:gd name="connsiteY27" fmla="*/ 267076 h 390310"/>
                <a:gd name="connsiteX28" fmla="*/ 299023 w 412369"/>
                <a:gd name="connsiteY28" fmla="*/ 267192 h 390310"/>
                <a:gd name="connsiteX29" fmla="*/ 292770 w 412369"/>
                <a:gd name="connsiteY29" fmla="*/ 262245 h 390310"/>
                <a:gd name="connsiteX30" fmla="*/ 278958 w 412369"/>
                <a:gd name="connsiteY30" fmla="*/ 265913 h 390310"/>
                <a:gd name="connsiteX31" fmla="*/ 255521 w 412369"/>
                <a:gd name="connsiteY31" fmla="*/ 276612 h 390310"/>
                <a:gd name="connsiteX32" fmla="*/ 250726 w 412369"/>
                <a:gd name="connsiteY32" fmla="*/ 284653 h 390310"/>
                <a:gd name="connsiteX33" fmla="*/ 231269 w 412369"/>
                <a:gd name="connsiteY33" fmla="*/ 296166 h 390310"/>
                <a:gd name="connsiteX34" fmla="*/ 227861 w 412369"/>
                <a:gd name="connsiteY34" fmla="*/ 302759 h 390310"/>
                <a:gd name="connsiteX35" fmla="*/ 217341 w 412369"/>
                <a:gd name="connsiteY35" fmla="*/ 307975 h 390310"/>
                <a:gd name="connsiteX36" fmla="*/ 205220 w 412369"/>
                <a:gd name="connsiteY36" fmla="*/ 304521 h 390310"/>
                <a:gd name="connsiteX37" fmla="*/ 198341 w 412369"/>
                <a:gd name="connsiteY37" fmla="*/ 310774 h 390310"/>
                <a:gd name="connsiteX38" fmla="*/ 194664 w 412369"/>
                <a:gd name="connsiteY38" fmla="*/ 328308 h 390310"/>
                <a:gd name="connsiteX39" fmla="*/ 174752 w 412369"/>
                <a:gd name="connsiteY39" fmla="*/ 349428 h 390310"/>
                <a:gd name="connsiteX40" fmla="*/ 175333 w 412369"/>
                <a:gd name="connsiteY40" fmla="*/ 358042 h 390310"/>
                <a:gd name="connsiteX41" fmla="*/ 168490 w 412369"/>
                <a:gd name="connsiteY41" fmla="*/ 368813 h 390310"/>
                <a:gd name="connsiteX42" fmla="*/ 170154 w 412369"/>
                <a:gd name="connsiteY42" fmla="*/ 383537 h 390310"/>
                <a:gd name="connsiteX43" fmla="*/ 159804 w 412369"/>
                <a:gd name="connsiteY43" fmla="*/ 387285 h 390310"/>
                <a:gd name="connsiteX44" fmla="*/ 153953 w 412369"/>
                <a:gd name="connsiteY44" fmla="*/ 390479 h 390310"/>
                <a:gd name="connsiteX45" fmla="*/ 150062 w 412369"/>
                <a:gd name="connsiteY45" fmla="*/ 379646 h 390310"/>
                <a:gd name="connsiteX46" fmla="*/ 142825 w 412369"/>
                <a:gd name="connsiteY46" fmla="*/ 382509 h 390310"/>
                <a:gd name="connsiteX47" fmla="*/ 138496 w 412369"/>
                <a:gd name="connsiteY47" fmla="*/ 382008 h 390310"/>
                <a:gd name="connsiteX48" fmla="*/ 133880 w 412369"/>
                <a:gd name="connsiteY48" fmla="*/ 389405 h 390310"/>
                <a:gd name="connsiteX49" fmla="*/ 114513 w 412369"/>
                <a:gd name="connsiteY49" fmla="*/ 389200 h 390310"/>
                <a:gd name="connsiteX50" fmla="*/ 107571 w 412369"/>
                <a:gd name="connsiteY50" fmla="*/ 385389 h 390310"/>
                <a:gd name="connsiteX51" fmla="*/ 104297 w 412369"/>
                <a:gd name="connsiteY51" fmla="*/ 387697 h 390310"/>
                <a:gd name="connsiteX52" fmla="*/ 96639 w 412369"/>
                <a:gd name="connsiteY52" fmla="*/ 380388 h 390310"/>
                <a:gd name="connsiteX53" fmla="*/ 97963 w 412369"/>
                <a:gd name="connsiteY53" fmla="*/ 372838 h 390310"/>
                <a:gd name="connsiteX54" fmla="*/ 94832 w 412369"/>
                <a:gd name="connsiteY54" fmla="*/ 369877 h 390310"/>
                <a:gd name="connsiteX55" fmla="*/ 89492 w 412369"/>
                <a:gd name="connsiteY55" fmla="*/ 372373 h 390310"/>
                <a:gd name="connsiteX56" fmla="*/ 90467 w 412369"/>
                <a:gd name="connsiteY56" fmla="*/ 364117 h 390310"/>
                <a:gd name="connsiteX57" fmla="*/ 95611 w 412369"/>
                <a:gd name="connsiteY57" fmla="*/ 357577 h 390310"/>
                <a:gd name="connsiteX58" fmla="*/ 85333 w 412369"/>
                <a:gd name="connsiteY58" fmla="*/ 346923 h 390310"/>
                <a:gd name="connsiteX59" fmla="*/ 82345 w 412369"/>
                <a:gd name="connsiteY59" fmla="*/ 339892 h 390310"/>
                <a:gd name="connsiteX60" fmla="*/ 76772 w 412369"/>
                <a:gd name="connsiteY60" fmla="*/ 334292 h 390310"/>
                <a:gd name="connsiteX61" fmla="*/ 71753 w 412369"/>
                <a:gd name="connsiteY61" fmla="*/ 333621 h 390310"/>
                <a:gd name="connsiteX62" fmla="*/ 65724 w 412369"/>
                <a:gd name="connsiteY62" fmla="*/ 337191 h 390310"/>
                <a:gd name="connsiteX63" fmla="*/ 57619 w 412369"/>
                <a:gd name="connsiteY63" fmla="*/ 340608 h 390310"/>
                <a:gd name="connsiteX64" fmla="*/ 50740 w 412369"/>
                <a:gd name="connsiteY64" fmla="*/ 346118 h 390310"/>
                <a:gd name="connsiteX65" fmla="*/ 40006 w 412369"/>
                <a:gd name="connsiteY65" fmla="*/ 344078 h 390310"/>
                <a:gd name="connsiteX66" fmla="*/ 33046 w 412369"/>
                <a:gd name="connsiteY66" fmla="*/ 337611 h 390310"/>
                <a:gd name="connsiteX67" fmla="*/ 28886 w 412369"/>
                <a:gd name="connsiteY67" fmla="*/ 336761 h 390310"/>
                <a:gd name="connsiteX68" fmla="*/ 22338 w 412369"/>
                <a:gd name="connsiteY68" fmla="*/ 340160 h 390310"/>
                <a:gd name="connsiteX69" fmla="*/ 18358 w 412369"/>
                <a:gd name="connsiteY69" fmla="*/ 340187 h 390310"/>
                <a:gd name="connsiteX70" fmla="*/ 16917 w 412369"/>
                <a:gd name="connsiteY70" fmla="*/ 330848 h 390310"/>
                <a:gd name="connsiteX71" fmla="*/ 18071 w 412369"/>
                <a:gd name="connsiteY71" fmla="*/ 322896 h 390310"/>
                <a:gd name="connsiteX72" fmla="*/ 15924 w 412369"/>
                <a:gd name="connsiteY72" fmla="*/ 313002 h 390310"/>
                <a:gd name="connsiteX73" fmla="*/ 6540 w 412369"/>
                <a:gd name="connsiteY73" fmla="*/ 305810 h 390310"/>
                <a:gd name="connsiteX74" fmla="*/ 1585 w 412369"/>
                <a:gd name="connsiteY74" fmla="*/ 291121 h 39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12369" h="390310">
                  <a:moveTo>
                    <a:pt x="440" y="275118"/>
                  </a:moveTo>
                  <a:lnTo>
                    <a:pt x="8884" y="270421"/>
                  </a:lnTo>
                  <a:lnTo>
                    <a:pt x="13097" y="255214"/>
                  </a:lnTo>
                  <a:lnTo>
                    <a:pt x="21050" y="254623"/>
                  </a:lnTo>
                  <a:lnTo>
                    <a:pt x="38565" y="261816"/>
                  </a:lnTo>
                  <a:lnTo>
                    <a:pt x="52708" y="256708"/>
                  </a:lnTo>
                  <a:lnTo>
                    <a:pt x="62405" y="258416"/>
                  </a:lnTo>
                  <a:lnTo>
                    <a:pt x="66171" y="252673"/>
                  </a:lnTo>
                  <a:lnTo>
                    <a:pt x="166808" y="252280"/>
                  </a:lnTo>
                  <a:lnTo>
                    <a:pt x="172390" y="234138"/>
                  </a:lnTo>
                  <a:lnTo>
                    <a:pt x="168043" y="230936"/>
                  </a:lnTo>
                  <a:lnTo>
                    <a:pt x="155939" y="117462"/>
                  </a:lnTo>
                  <a:lnTo>
                    <a:pt x="143836" y="670"/>
                  </a:lnTo>
                  <a:lnTo>
                    <a:pt x="182221" y="169"/>
                  </a:lnTo>
                  <a:lnTo>
                    <a:pt x="266828" y="59692"/>
                  </a:lnTo>
                  <a:lnTo>
                    <a:pt x="351434" y="118258"/>
                  </a:lnTo>
                  <a:lnTo>
                    <a:pt x="357401" y="130720"/>
                  </a:lnTo>
                  <a:lnTo>
                    <a:pt x="373011" y="138314"/>
                  </a:lnTo>
                  <a:lnTo>
                    <a:pt x="384631" y="142617"/>
                  </a:lnTo>
                  <a:lnTo>
                    <a:pt x="384917" y="159434"/>
                  </a:lnTo>
                  <a:lnTo>
                    <a:pt x="412738" y="156849"/>
                  </a:lnTo>
                  <a:lnTo>
                    <a:pt x="412809" y="217231"/>
                  </a:lnTo>
                  <a:lnTo>
                    <a:pt x="399096" y="234595"/>
                  </a:lnTo>
                  <a:lnTo>
                    <a:pt x="396958" y="250562"/>
                  </a:lnTo>
                  <a:lnTo>
                    <a:pt x="374675" y="254668"/>
                  </a:lnTo>
                  <a:lnTo>
                    <a:pt x="340458" y="256887"/>
                  </a:lnTo>
                  <a:lnTo>
                    <a:pt x="331182" y="266056"/>
                  </a:lnTo>
                  <a:lnTo>
                    <a:pt x="315106" y="267076"/>
                  </a:lnTo>
                  <a:lnTo>
                    <a:pt x="299023" y="267192"/>
                  </a:lnTo>
                  <a:lnTo>
                    <a:pt x="292770" y="262245"/>
                  </a:lnTo>
                  <a:lnTo>
                    <a:pt x="278958" y="265913"/>
                  </a:lnTo>
                  <a:lnTo>
                    <a:pt x="255521" y="276612"/>
                  </a:lnTo>
                  <a:lnTo>
                    <a:pt x="250726" y="284653"/>
                  </a:lnTo>
                  <a:lnTo>
                    <a:pt x="231269" y="296166"/>
                  </a:lnTo>
                  <a:lnTo>
                    <a:pt x="227861" y="302759"/>
                  </a:lnTo>
                  <a:lnTo>
                    <a:pt x="217341" y="307975"/>
                  </a:lnTo>
                  <a:lnTo>
                    <a:pt x="205220" y="304521"/>
                  </a:lnTo>
                  <a:lnTo>
                    <a:pt x="198341" y="310774"/>
                  </a:lnTo>
                  <a:lnTo>
                    <a:pt x="194664" y="328308"/>
                  </a:lnTo>
                  <a:lnTo>
                    <a:pt x="174752" y="349428"/>
                  </a:lnTo>
                  <a:lnTo>
                    <a:pt x="175333" y="358042"/>
                  </a:lnTo>
                  <a:lnTo>
                    <a:pt x="168490" y="368813"/>
                  </a:lnTo>
                  <a:lnTo>
                    <a:pt x="170154" y="383537"/>
                  </a:lnTo>
                  <a:lnTo>
                    <a:pt x="159804" y="387285"/>
                  </a:lnTo>
                  <a:lnTo>
                    <a:pt x="153953" y="390479"/>
                  </a:lnTo>
                  <a:lnTo>
                    <a:pt x="150062" y="379646"/>
                  </a:lnTo>
                  <a:lnTo>
                    <a:pt x="142825" y="382509"/>
                  </a:lnTo>
                  <a:lnTo>
                    <a:pt x="138496" y="382008"/>
                  </a:lnTo>
                  <a:lnTo>
                    <a:pt x="133880" y="389405"/>
                  </a:lnTo>
                  <a:lnTo>
                    <a:pt x="114513" y="389200"/>
                  </a:lnTo>
                  <a:lnTo>
                    <a:pt x="107571" y="385389"/>
                  </a:lnTo>
                  <a:lnTo>
                    <a:pt x="104297" y="387697"/>
                  </a:lnTo>
                  <a:lnTo>
                    <a:pt x="96639" y="380388"/>
                  </a:lnTo>
                  <a:lnTo>
                    <a:pt x="97963" y="372838"/>
                  </a:lnTo>
                  <a:lnTo>
                    <a:pt x="94832" y="369877"/>
                  </a:lnTo>
                  <a:lnTo>
                    <a:pt x="89492" y="372373"/>
                  </a:lnTo>
                  <a:lnTo>
                    <a:pt x="90467" y="364117"/>
                  </a:lnTo>
                  <a:lnTo>
                    <a:pt x="95611" y="357577"/>
                  </a:lnTo>
                  <a:lnTo>
                    <a:pt x="85333" y="346923"/>
                  </a:lnTo>
                  <a:lnTo>
                    <a:pt x="82345" y="339892"/>
                  </a:lnTo>
                  <a:lnTo>
                    <a:pt x="76772" y="334292"/>
                  </a:lnTo>
                  <a:lnTo>
                    <a:pt x="71753" y="333621"/>
                  </a:lnTo>
                  <a:lnTo>
                    <a:pt x="65724" y="337191"/>
                  </a:lnTo>
                  <a:lnTo>
                    <a:pt x="57619" y="340608"/>
                  </a:lnTo>
                  <a:lnTo>
                    <a:pt x="50740" y="346118"/>
                  </a:lnTo>
                  <a:lnTo>
                    <a:pt x="40006" y="344078"/>
                  </a:lnTo>
                  <a:lnTo>
                    <a:pt x="33046" y="337611"/>
                  </a:lnTo>
                  <a:lnTo>
                    <a:pt x="28886" y="336761"/>
                  </a:lnTo>
                  <a:lnTo>
                    <a:pt x="22338" y="340160"/>
                  </a:lnTo>
                  <a:lnTo>
                    <a:pt x="18358" y="340187"/>
                  </a:lnTo>
                  <a:lnTo>
                    <a:pt x="16917" y="330848"/>
                  </a:lnTo>
                  <a:lnTo>
                    <a:pt x="18071" y="322896"/>
                  </a:lnTo>
                  <a:lnTo>
                    <a:pt x="15924" y="313002"/>
                  </a:lnTo>
                  <a:lnTo>
                    <a:pt x="6540" y="305810"/>
                  </a:lnTo>
                  <a:lnTo>
                    <a:pt x="1585" y="29112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>
              <a:off x="8152827" y="3924079"/>
              <a:ext cx="222644" cy="488298"/>
            </a:xfrm>
            <a:custGeom>
              <a:avLst/>
              <a:gdLst>
                <a:gd name="connsiteX0" fmla="*/ 182140 w 222644"/>
                <a:gd name="connsiteY0" fmla="*/ 223384 h 488298"/>
                <a:gd name="connsiteX1" fmla="*/ 167514 w 222644"/>
                <a:gd name="connsiteY1" fmla="*/ 234888 h 488298"/>
                <a:gd name="connsiteX2" fmla="*/ 149802 w 222644"/>
                <a:gd name="connsiteY2" fmla="*/ 236077 h 488298"/>
                <a:gd name="connsiteX3" fmla="*/ 138369 w 222644"/>
                <a:gd name="connsiteY3" fmla="*/ 264614 h 488298"/>
                <a:gd name="connsiteX4" fmla="*/ 127778 w 222644"/>
                <a:gd name="connsiteY4" fmla="*/ 269390 h 488298"/>
                <a:gd name="connsiteX5" fmla="*/ 139908 w 222644"/>
                <a:gd name="connsiteY5" fmla="*/ 292398 h 488298"/>
                <a:gd name="connsiteX6" fmla="*/ 155822 w 222644"/>
                <a:gd name="connsiteY6" fmla="*/ 311452 h 488298"/>
                <a:gd name="connsiteX7" fmla="*/ 166091 w 222644"/>
                <a:gd name="connsiteY7" fmla="*/ 328601 h 488298"/>
                <a:gd name="connsiteX8" fmla="*/ 156913 w 222644"/>
                <a:gd name="connsiteY8" fmla="*/ 351125 h 488298"/>
                <a:gd name="connsiteX9" fmla="*/ 148254 w 222644"/>
                <a:gd name="connsiteY9" fmla="*/ 355894 h 488298"/>
                <a:gd name="connsiteX10" fmla="*/ 154239 w 222644"/>
                <a:gd name="connsiteY10" fmla="*/ 368829 h 488298"/>
                <a:gd name="connsiteX11" fmla="*/ 170967 w 222644"/>
                <a:gd name="connsiteY11" fmla="*/ 389260 h 488298"/>
                <a:gd name="connsiteX12" fmla="*/ 173839 w 222644"/>
                <a:gd name="connsiteY12" fmla="*/ 403573 h 488298"/>
                <a:gd name="connsiteX13" fmla="*/ 173445 w 222644"/>
                <a:gd name="connsiteY13" fmla="*/ 415453 h 488298"/>
                <a:gd name="connsiteX14" fmla="*/ 183249 w 222644"/>
                <a:gd name="connsiteY14" fmla="*/ 438720 h 488298"/>
                <a:gd name="connsiteX15" fmla="*/ 169473 w 222644"/>
                <a:gd name="connsiteY15" fmla="*/ 462425 h 488298"/>
                <a:gd name="connsiteX16" fmla="*/ 157325 w 222644"/>
                <a:gd name="connsiteY16" fmla="*/ 488466 h 488298"/>
                <a:gd name="connsiteX17" fmla="*/ 154910 w 222644"/>
                <a:gd name="connsiteY17" fmla="*/ 469662 h 488298"/>
                <a:gd name="connsiteX18" fmla="*/ 162612 w 222644"/>
                <a:gd name="connsiteY18" fmla="*/ 450215 h 488298"/>
                <a:gd name="connsiteX19" fmla="*/ 154176 w 222644"/>
                <a:gd name="connsiteY19" fmla="*/ 435151 h 488298"/>
                <a:gd name="connsiteX20" fmla="*/ 156216 w 222644"/>
                <a:gd name="connsiteY20" fmla="*/ 407330 h 488298"/>
                <a:gd name="connsiteX21" fmla="*/ 146036 w 222644"/>
                <a:gd name="connsiteY21" fmla="*/ 394055 h 488298"/>
                <a:gd name="connsiteX22" fmla="*/ 137859 w 222644"/>
                <a:gd name="connsiteY22" fmla="*/ 363282 h 488298"/>
                <a:gd name="connsiteX23" fmla="*/ 133324 w 222644"/>
                <a:gd name="connsiteY23" fmla="*/ 330613 h 488298"/>
                <a:gd name="connsiteX24" fmla="*/ 122482 w 222644"/>
                <a:gd name="connsiteY24" fmla="*/ 309073 h 488298"/>
                <a:gd name="connsiteX25" fmla="*/ 105960 w 222644"/>
                <a:gd name="connsiteY25" fmla="*/ 322124 h 488298"/>
                <a:gd name="connsiteX26" fmla="*/ 77451 w 222644"/>
                <a:gd name="connsiteY26" fmla="*/ 340624 h 488298"/>
                <a:gd name="connsiteX27" fmla="*/ 63388 w 222644"/>
                <a:gd name="connsiteY27" fmla="*/ 338316 h 488298"/>
                <a:gd name="connsiteX28" fmla="*/ 47850 w 222644"/>
                <a:gd name="connsiteY28" fmla="*/ 332233 h 488298"/>
                <a:gd name="connsiteX29" fmla="*/ 56491 w 222644"/>
                <a:gd name="connsiteY29" fmla="*/ 299993 h 488298"/>
                <a:gd name="connsiteX30" fmla="*/ 51258 w 222644"/>
                <a:gd name="connsiteY30" fmla="*/ 275482 h 488298"/>
                <a:gd name="connsiteX31" fmla="*/ 31596 w 222644"/>
                <a:gd name="connsiteY31" fmla="*/ 245112 h 488298"/>
                <a:gd name="connsiteX32" fmla="*/ 34664 w 222644"/>
                <a:gd name="connsiteY32" fmla="*/ 235585 h 488298"/>
                <a:gd name="connsiteX33" fmla="*/ 19985 w 222644"/>
                <a:gd name="connsiteY33" fmla="*/ 232186 h 488298"/>
                <a:gd name="connsiteX34" fmla="*/ 2192 w 222644"/>
                <a:gd name="connsiteY34" fmla="*/ 210502 h 488298"/>
                <a:gd name="connsiteX35" fmla="*/ 555 w 222644"/>
                <a:gd name="connsiteY35" fmla="*/ 189006 h 488298"/>
                <a:gd name="connsiteX36" fmla="*/ 9304 w 222644"/>
                <a:gd name="connsiteY36" fmla="*/ 193059 h 488298"/>
                <a:gd name="connsiteX37" fmla="*/ 9823 w 222644"/>
                <a:gd name="connsiteY37" fmla="*/ 173808 h 488298"/>
                <a:gd name="connsiteX38" fmla="*/ 22194 w 222644"/>
                <a:gd name="connsiteY38" fmla="*/ 167421 h 488298"/>
                <a:gd name="connsiteX39" fmla="*/ 19547 w 222644"/>
                <a:gd name="connsiteY39" fmla="*/ 155962 h 488298"/>
                <a:gd name="connsiteX40" fmla="*/ 25209 w 222644"/>
                <a:gd name="connsiteY40" fmla="*/ 146739 h 488298"/>
                <a:gd name="connsiteX41" fmla="*/ 26184 w 222644"/>
                <a:gd name="connsiteY41" fmla="*/ 118578 h 488298"/>
                <a:gd name="connsiteX42" fmla="*/ 45784 w 222644"/>
                <a:gd name="connsiteY42" fmla="*/ 124804 h 488298"/>
                <a:gd name="connsiteX43" fmla="*/ 56966 w 222644"/>
                <a:gd name="connsiteY43" fmla="*/ 102244 h 488298"/>
                <a:gd name="connsiteX44" fmla="*/ 58245 w 222644"/>
                <a:gd name="connsiteY44" fmla="*/ 88844 h 488298"/>
                <a:gd name="connsiteX45" fmla="*/ 72083 w 222644"/>
                <a:gd name="connsiteY45" fmla="*/ 65639 h 488298"/>
                <a:gd name="connsiteX46" fmla="*/ 71323 w 222644"/>
                <a:gd name="connsiteY46" fmla="*/ 49725 h 488298"/>
                <a:gd name="connsiteX47" fmla="*/ 103795 w 222644"/>
                <a:gd name="connsiteY47" fmla="*/ 30385 h 488298"/>
                <a:gd name="connsiteX48" fmla="*/ 121722 w 222644"/>
                <a:gd name="connsiteY48" fmla="*/ 35457 h 488298"/>
                <a:gd name="connsiteX49" fmla="*/ 119656 w 222644"/>
                <a:gd name="connsiteY49" fmla="*/ 18165 h 488298"/>
                <a:gd name="connsiteX50" fmla="*/ 128449 w 222644"/>
                <a:gd name="connsiteY50" fmla="*/ 12995 h 488298"/>
                <a:gd name="connsiteX51" fmla="*/ 126561 w 222644"/>
                <a:gd name="connsiteY51" fmla="*/ 2269 h 488298"/>
                <a:gd name="connsiteX52" fmla="*/ 141232 w 222644"/>
                <a:gd name="connsiteY52" fmla="*/ 167 h 488298"/>
                <a:gd name="connsiteX53" fmla="*/ 149614 w 222644"/>
                <a:gd name="connsiteY53" fmla="*/ 16805 h 488298"/>
                <a:gd name="connsiteX54" fmla="*/ 160554 w 222644"/>
                <a:gd name="connsiteY54" fmla="*/ 23524 h 488298"/>
                <a:gd name="connsiteX55" fmla="*/ 161297 w 222644"/>
                <a:gd name="connsiteY55" fmla="*/ 44975 h 488298"/>
                <a:gd name="connsiteX56" fmla="*/ 160286 w 222644"/>
                <a:gd name="connsiteY56" fmla="*/ 67938 h 488298"/>
                <a:gd name="connsiteX57" fmla="*/ 136535 w 222644"/>
                <a:gd name="connsiteY57" fmla="*/ 91017 h 488298"/>
                <a:gd name="connsiteX58" fmla="*/ 133521 w 222644"/>
                <a:gd name="connsiteY58" fmla="*/ 123534 h 488298"/>
                <a:gd name="connsiteX59" fmla="*/ 160000 w 222644"/>
                <a:gd name="connsiteY59" fmla="*/ 118999 h 488298"/>
                <a:gd name="connsiteX60" fmla="*/ 165984 w 222644"/>
                <a:gd name="connsiteY60" fmla="*/ 144055 h 488298"/>
                <a:gd name="connsiteX61" fmla="*/ 181862 w 222644"/>
                <a:gd name="connsiteY61" fmla="*/ 149306 h 488298"/>
                <a:gd name="connsiteX62" fmla="*/ 174563 w 222644"/>
                <a:gd name="connsiteY62" fmla="*/ 171733 h 488298"/>
                <a:gd name="connsiteX63" fmla="*/ 193187 w 222644"/>
                <a:gd name="connsiteY63" fmla="*/ 181823 h 488298"/>
                <a:gd name="connsiteX64" fmla="*/ 204048 w 222644"/>
                <a:gd name="connsiteY64" fmla="*/ 186770 h 488298"/>
                <a:gd name="connsiteX65" fmla="*/ 222439 w 222644"/>
                <a:gd name="connsiteY65" fmla="*/ 178952 h 488298"/>
                <a:gd name="connsiteX66" fmla="*/ 223200 w 222644"/>
                <a:gd name="connsiteY66" fmla="*/ 190044 h 488298"/>
                <a:gd name="connsiteX67" fmla="*/ 201855 w 222644"/>
                <a:gd name="connsiteY67" fmla="*/ 207434 h 488298"/>
                <a:gd name="connsiteX68" fmla="*/ 196515 w 222644"/>
                <a:gd name="connsiteY68" fmla="*/ 217238 h 48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22644" h="488298">
                  <a:moveTo>
                    <a:pt x="182140" y="223384"/>
                  </a:moveTo>
                  <a:lnTo>
                    <a:pt x="167514" y="234888"/>
                  </a:lnTo>
                  <a:lnTo>
                    <a:pt x="149802" y="236077"/>
                  </a:lnTo>
                  <a:lnTo>
                    <a:pt x="138369" y="264614"/>
                  </a:lnTo>
                  <a:lnTo>
                    <a:pt x="127778" y="269390"/>
                  </a:lnTo>
                  <a:lnTo>
                    <a:pt x="139908" y="292398"/>
                  </a:lnTo>
                  <a:lnTo>
                    <a:pt x="155822" y="311452"/>
                  </a:lnTo>
                  <a:lnTo>
                    <a:pt x="166091" y="328601"/>
                  </a:lnTo>
                  <a:lnTo>
                    <a:pt x="156913" y="351125"/>
                  </a:lnTo>
                  <a:lnTo>
                    <a:pt x="148254" y="355894"/>
                  </a:lnTo>
                  <a:lnTo>
                    <a:pt x="154239" y="368829"/>
                  </a:lnTo>
                  <a:lnTo>
                    <a:pt x="170967" y="389260"/>
                  </a:lnTo>
                  <a:lnTo>
                    <a:pt x="173839" y="403573"/>
                  </a:lnTo>
                  <a:lnTo>
                    <a:pt x="173445" y="415453"/>
                  </a:lnTo>
                  <a:lnTo>
                    <a:pt x="183249" y="438720"/>
                  </a:lnTo>
                  <a:lnTo>
                    <a:pt x="169473" y="462425"/>
                  </a:lnTo>
                  <a:lnTo>
                    <a:pt x="157325" y="488466"/>
                  </a:lnTo>
                  <a:lnTo>
                    <a:pt x="154910" y="469662"/>
                  </a:lnTo>
                  <a:lnTo>
                    <a:pt x="162612" y="450215"/>
                  </a:lnTo>
                  <a:lnTo>
                    <a:pt x="154176" y="435151"/>
                  </a:lnTo>
                  <a:lnTo>
                    <a:pt x="156216" y="407330"/>
                  </a:lnTo>
                  <a:lnTo>
                    <a:pt x="146036" y="394055"/>
                  </a:lnTo>
                  <a:lnTo>
                    <a:pt x="137859" y="363282"/>
                  </a:lnTo>
                  <a:lnTo>
                    <a:pt x="133324" y="330613"/>
                  </a:lnTo>
                  <a:lnTo>
                    <a:pt x="122482" y="309073"/>
                  </a:lnTo>
                  <a:lnTo>
                    <a:pt x="105960" y="322124"/>
                  </a:lnTo>
                  <a:lnTo>
                    <a:pt x="77451" y="340624"/>
                  </a:lnTo>
                  <a:lnTo>
                    <a:pt x="63388" y="338316"/>
                  </a:lnTo>
                  <a:lnTo>
                    <a:pt x="47850" y="332233"/>
                  </a:lnTo>
                  <a:lnTo>
                    <a:pt x="56491" y="299993"/>
                  </a:lnTo>
                  <a:lnTo>
                    <a:pt x="51258" y="275482"/>
                  </a:lnTo>
                  <a:lnTo>
                    <a:pt x="31596" y="245112"/>
                  </a:lnTo>
                  <a:lnTo>
                    <a:pt x="34664" y="235585"/>
                  </a:lnTo>
                  <a:lnTo>
                    <a:pt x="19985" y="232186"/>
                  </a:lnTo>
                  <a:lnTo>
                    <a:pt x="2192" y="210502"/>
                  </a:lnTo>
                  <a:lnTo>
                    <a:pt x="555" y="189006"/>
                  </a:lnTo>
                  <a:lnTo>
                    <a:pt x="9304" y="193059"/>
                  </a:lnTo>
                  <a:lnTo>
                    <a:pt x="9823" y="173808"/>
                  </a:lnTo>
                  <a:lnTo>
                    <a:pt x="22194" y="167421"/>
                  </a:lnTo>
                  <a:lnTo>
                    <a:pt x="19547" y="155962"/>
                  </a:lnTo>
                  <a:lnTo>
                    <a:pt x="25209" y="146739"/>
                  </a:lnTo>
                  <a:lnTo>
                    <a:pt x="26184" y="118578"/>
                  </a:lnTo>
                  <a:lnTo>
                    <a:pt x="45784" y="124804"/>
                  </a:lnTo>
                  <a:lnTo>
                    <a:pt x="56966" y="102244"/>
                  </a:lnTo>
                  <a:lnTo>
                    <a:pt x="58245" y="88844"/>
                  </a:lnTo>
                  <a:lnTo>
                    <a:pt x="72083" y="65639"/>
                  </a:lnTo>
                  <a:lnTo>
                    <a:pt x="71323" y="49725"/>
                  </a:lnTo>
                  <a:lnTo>
                    <a:pt x="103795" y="30385"/>
                  </a:lnTo>
                  <a:lnTo>
                    <a:pt x="121722" y="35457"/>
                  </a:lnTo>
                  <a:lnTo>
                    <a:pt x="119656" y="18165"/>
                  </a:lnTo>
                  <a:lnTo>
                    <a:pt x="128449" y="12995"/>
                  </a:lnTo>
                  <a:lnTo>
                    <a:pt x="126561" y="2269"/>
                  </a:lnTo>
                  <a:lnTo>
                    <a:pt x="141232" y="167"/>
                  </a:lnTo>
                  <a:lnTo>
                    <a:pt x="149614" y="16805"/>
                  </a:lnTo>
                  <a:lnTo>
                    <a:pt x="160554" y="23524"/>
                  </a:lnTo>
                  <a:lnTo>
                    <a:pt x="161297" y="44975"/>
                  </a:lnTo>
                  <a:lnTo>
                    <a:pt x="160286" y="67938"/>
                  </a:lnTo>
                  <a:lnTo>
                    <a:pt x="136535" y="91017"/>
                  </a:lnTo>
                  <a:lnTo>
                    <a:pt x="133521" y="123534"/>
                  </a:lnTo>
                  <a:lnTo>
                    <a:pt x="160000" y="118999"/>
                  </a:lnTo>
                  <a:lnTo>
                    <a:pt x="165984" y="144055"/>
                  </a:lnTo>
                  <a:lnTo>
                    <a:pt x="181862" y="149306"/>
                  </a:lnTo>
                  <a:lnTo>
                    <a:pt x="174563" y="171733"/>
                  </a:lnTo>
                  <a:lnTo>
                    <a:pt x="193187" y="181823"/>
                  </a:lnTo>
                  <a:lnTo>
                    <a:pt x="204048" y="186770"/>
                  </a:lnTo>
                  <a:lnTo>
                    <a:pt x="222439" y="178952"/>
                  </a:lnTo>
                  <a:lnTo>
                    <a:pt x="223200" y="190044"/>
                  </a:lnTo>
                  <a:lnTo>
                    <a:pt x="201855" y="207434"/>
                  </a:lnTo>
                  <a:lnTo>
                    <a:pt x="196515" y="21723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/>
            <p:cNvSpPr/>
            <p:nvPr/>
          </p:nvSpPr>
          <p:spPr>
            <a:xfrm>
              <a:off x="8038656" y="3134612"/>
              <a:ext cx="803153" cy="383592"/>
            </a:xfrm>
            <a:custGeom>
              <a:avLst/>
              <a:gdLst>
                <a:gd name="connsiteX0" fmla="*/ 563 w 803153"/>
                <a:gd name="connsiteY0" fmla="*/ 108718 h 383592"/>
                <a:gd name="connsiteX1" fmla="*/ 27006 w 803153"/>
                <a:gd name="connsiteY1" fmla="*/ 102062 h 383592"/>
                <a:gd name="connsiteX2" fmla="*/ 74865 w 803153"/>
                <a:gd name="connsiteY2" fmla="*/ 68606 h 383592"/>
                <a:gd name="connsiteX3" fmla="*/ 113008 w 803153"/>
                <a:gd name="connsiteY3" fmla="*/ 50089 h 383592"/>
                <a:gd name="connsiteX4" fmla="*/ 134826 w 803153"/>
                <a:gd name="connsiteY4" fmla="*/ 62192 h 383592"/>
                <a:gd name="connsiteX5" fmla="*/ 160992 w 803153"/>
                <a:gd name="connsiteY5" fmla="*/ 62773 h 383592"/>
                <a:gd name="connsiteX6" fmla="*/ 177756 w 803153"/>
                <a:gd name="connsiteY6" fmla="*/ 81049 h 383592"/>
                <a:gd name="connsiteX7" fmla="*/ 202785 w 803153"/>
                <a:gd name="connsiteY7" fmla="*/ 82445 h 383592"/>
                <a:gd name="connsiteX8" fmla="*/ 239050 w 803153"/>
                <a:gd name="connsiteY8" fmla="*/ 92195 h 383592"/>
                <a:gd name="connsiteX9" fmla="*/ 263436 w 803153"/>
                <a:gd name="connsiteY9" fmla="*/ 65064 h 383592"/>
                <a:gd name="connsiteX10" fmla="*/ 253247 w 803153"/>
                <a:gd name="connsiteY10" fmla="*/ 41805 h 383592"/>
                <a:gd name="connsiteX11" fmla="*/ 279224 w 803153"/>
                <a:gd name="connsiteY11" fmla="*/ 128 h 383592"/>
                <a:gd name="connsiteX12" fmla="*/ 307322 w 803153"/>
                <a:gd name="connsiteY12" fmla="*/ 16865 h 383592"/>
                <a:gd name="connsiteX13" fmla="*/ 330089 w 803153"/>
                <a:gd name="connsiteY13" fmla="*/ 21580 h 383592"/>
                <a:gd name="connsiteX14" fmla="*/ 359582 w 803153"/>
                <a:gd name="connsiteY14" fmla="*/ 31885 h 383592"/>
                <a:gd name="connsiteX15" fmla="*/ 364368 w 803153"/>
                <a:gd name="connsiteY15" fmla="*/ 61593 h 383592"/>
                <a:gd name="connsiteX16" fmla="*/ 399988 w 803153"/>
                <a:gd name="connsiteY16" fmla="*/ 78061 h 383592"/>
                <a:gd name="connsiteX17" fmla="*/ 423703 w 803153"/>
                <a:gd name="connsiteY17" fmla="*/ 70825 h 383592"/>
                <a:gd name="connsiteX18" fmla="*/ 455433 w 803153"/>
                <a:gd name="connsiteY18" fmla="*/ 65699 h 383592"/>
                <a:gd name="connsiteX19" fmla="*/ 480561 w 803153"/>
                <a:gd name="connsiteY19" fmla="*/ 70860 h 383592"/>
                <a:gd name="connsiteX20" fmla="*/ 505125 w 803153"/>
                <a:gd name="connsiteY20" fmla="*/ 89574 h 383592"/>
                <a:gd name="connsiteX21" fmla="*/ 520350 w 803153"/>
                <a:gd name="connsiteY21" fmla="*/ 109281 h 383592"/>
                <a:gd name="connsiteX22" fmla="*/ 543608 w 803153"/>
                <a:gd name="connsiteY22" fmla="*/ 108879 h 383592"/>
                <a:gd name="connsiteX23" fmla="*/ 575204 w 803153"/>
                <a:gd name="connsiteY23" fmla="*/ 115114 h 383592"/>
                <a:gd name="connsiteX24" fmla="*/ 598257 w 803153"/>
                <a:gd name="connsiteY24" fmla="*/ 105613 h 383592"/>
                <a:gd name="connsiteX25" fmla="*/ 631283 w 803153"/>
                <a:gd name="connsiteY25" fmla="*/ 99244 h 383592"/>
                <a:gd name="connsiteX26" fmla="*/ 668014 w 803153"/>
                <a:gd name="connsiteY26" fmla="*/ 71880 h 383592"/>
                <a:gd name="connsiteX27" fmla="*/ 683060 w 803153"/>
                <a:gd name="connsiteY27" fmla="*/ 76102 h 383592"/>
                <a:gd name="connsiteX28" fmla="*/ 696192 w 803153"/>
                <a:gd name="connsiteY28" fmla="*/ 89127 h 383592"/>
                <a:gd name="connsiteX29" fmla="*/ 726115 w 803153"/>
                <a:gd name="connsiteY29" fmla="*/ 85898 h 383592"/>
                <a:gd name="connsiteX30" fmla="*/ 713904 w 803153"/>
                <a:gd name="connsiteY30" fmla="*/ 114944 h 383592"/>
                <a:gd name="connsiteX31" fmla="*/ 696183 w 803153"/>
                <a:gd name="connsiteY31" fmla="*/ 152756 h 383592"/>
                <a:gd name="connsiteX32" fmla="*/ 702642 w 803153"/>
                <a:gd name="connsiteY32" fmla="*/ 168017 h 383592"/>
                <a:gd name="connsiteX33" fmla="*/ 716838 w 803153"/>
                <a:gd name="connsiteY33" fmla="*/ 163294 h 383592"/>
                <a:gd name="connsiteX34" fmla="*/ 741582 w 803153"/>
                <a:gd name="connsiteY34" fmla="*/ 169082 h 383592"/>
                <a:gd name="connsiteX35" fmla="*/ 760859 w 803153"/>
                <a:gd name="connsiteY35" fmla="*/ 155324 h 383592"/>
                <a:gd name="connsiteX36" fmla="*/ 780986 w 803153"/>
                <a:gd name="connsiteY36" fmla="*/ 167248 h 383592"/>
                <a:gd name="connsiteX37" fmla="*/ 803717 w 803153"/>
                <a:gd name="connsiteY37" fmla="*/ 193074 h 383592"/>
                <a:gd name="connsiteX38" fmla="*/ 800971 w 803153"/>
                <a:gd name="connsiteY38" fmla="*/ 206071 h 383592"/>
                <a:gd name="connsiteX39" fmla="*/ 781183 w 803153"/>
                <a:gd name="connsiteY39" fmla="*/ 201957 h 383592"/>
                <a:gd name="connsiteX40" fmla="*/ 744748 w 803153"/>
                <a:gd name="connsiteY40" fmla="*/ 206796 h 383592"/>
                <a:gd name="connsiteX41" fmla="*/ 727099 w 803153"/>
                <a:gd name="connsiteY41" fmla="*/ 217137 h 383592"/>
                <a:gd name="connsiteX42" fmla="*/ 708716 w 803153"/>
                <a:gd name="connsiteY42" fmla="*/ 240950 h 383592"/>
                <a:gd name="connsiteX43" fmla="*/ 670474 w 803153"/>
                <a:gd name="connsiteY43" fmla="*/ 254780 h 383592"/>
                <a:gd name="connsiteX44" fmla="*/ 645480 w 803153"/>
                <a:gd name="connsiteY44" fmla="*/ 273574 h 383592"/>
                <a:gd name="connsiteX45" fmla="*/ 619699 w 803153"/>
                <a:gd name="connsiteY45" fmla="*/ 266418 h 383592"/>
                <a:gd name="connsiteX46" fmla="*/ 605592 w 803153"/>
                <a:gd name="connsiteY46" fmla="*/ 263215 h 383592"/>
                <a:gd name="connsiteX47" fmla="*/ 592415 w 803153"/>
                <a:gd name="connsiteY47" fmla="*/ 285919 h 383592"/>
                <a:gd name="connsiteX48" fmla="*/ 600431 w 803153"/>
                <a:gd name="connsiteY48" fmla="*/ 299328 h 383592"/>
                <a:gd name="connsiteX49" fmla="*/ 604492 w 803153"/>
                <a:gd name="connsiteY49" fmla="*/ 310778 h 383592"/>
                <a:gd name="connsiteX50" fmla="*/ 586932 w 803153"/>
                <a:gd name="connsiteY50" fmla="*/ 322381 h 383592"/>
                <a:gd name="connsiteX51" fmla="*/ 568933 w 803153"/>
                <a:gd name="connsiteY51" fmla="*/ 340728 h 383592"/>
                <a:gd name="connsiteX52" fmla="*/ 539628 w 803153"/>
                <a:gd name="connsiteY52" fmla="*/ 352688 h 383592"/>
                <a:gd name="connsiteX53" fmla="*/ 502039 w 803153"/>
                <a:gd name="connsiteY53" fmla="*/ 353976 h 383592"/>
                <a:gd name="connsiteX54" fmla="*/ 461516 w 803153"/>
                <a:gd name="connsiteY54" fmla="*/ 365704 h 383592"/>
                <a:gd name="connsiteX55" fmla="*/ 432318 w 803153"/>
                <a:gd name="connsiteY55" fmla="*/ 383720 h 383592"/>
                <a:gd name="connsiteX56" fmla="*/ 421207 w 803153"/>
                <a:gd name="connsiteY56" fmla="*/ 373308 h 383592"/>
                <a:gd name="connsiteX57" fmla="*/ 390864 w 803153"/>
                <a:gd name="connsiteY57" fmla="*/ 373334 h 383592"/>
                <a:gd name="connsiteX58" fmla="*/ 353749 w 803153"/>
                <a:gd name="connsiteY58" fmla="*/ 352840 h 383592"/>
                <a:gd name="connsiteX59" fmla="*/ 328997 w 803153"/>
                <a:gd name="connsiteY59" fmla="*/ 347786 h 383592"/>
                <a:gd name="connsiteX60" fmla="*/ 295631 w 803153"/>
                <a:gd name="connsiteY60" fmla="*/ 352509 h 383592"/>
                <a:gd name="connsiteX61" fmla="*/ 243863 w 803153"/>
                <a:gd name="connsiteY61" fmla="*/ 344897 h 383592"/>
                <a:gd name="connsiteX62" fmla="*/ 216212 w 803153"/>
                <a:gd name="connsiteY62" fmla="*/ 345684 h 383592"/>
                <a:gd name="connsiteX63" fmla="*/ 201497 w 803153"/>
                <a:gd name="connsiteY63" fmla="*/ 325387 h 383592"/>
                <a:gd name="connsiteX64" fmla="*/ 190065 w 803153"/>
                <a:gd name="connsiteY64" fmla="*/ 293469 h 383592"/>
                <a:gd name="connsiteX65" fmla="*/ 174571 w 803153"/>
                <a:gd name="connsiteY65" fmla="*/ 289596 h 383592"/>
                <a:gd name="connsiteX66" fmla="*/ 144264 w 803153"/>
                <a:gd name="connsiteY66" fmla="*/ 267697 h 383592"/>
                <a:gd name="connsiteX67" fmla="*/ 110486 w 803153"/>
                <a:gd name="connsiteY67" fmla="*/ 262759 h 383592"/>
                <a:gd name="connsiteX68" fmla="*/ 80679 w 803153"/>
                <a:gd name="connsiteY68" fmla="*/ 256685 h 383592"/>
                <a:gd name="connsiteX69" fmla="*/ 71653 w 803153"/>
                <a:gd name="connsiteY69" fmla="*/ 241218 h 383592"/>
                <a:gd name="connsiteX70" fmla="*/ 81305 w 803153"/>
                <a:gd name="connsiteY70" fmla="*/ 198933 h 383592"/>
                <a:gd name="connsiteX71" fmla="*/ 64005 w 803153"/>
                <a:gd name="connsiteY71" fmla="*/ 169243 h 383592"/>
                <a:gd name="connsiteX72" fmla="*/ 28232 w 803153"/>
                <a:gd name="connsiteY72" fmla="*/ 155243 h 383592"/>
                <a:gd name="connsiteX73" fmla="*/ 7147 w 803153"/>
                <a:gd name="connsiteY73" fmla="*/ 135286 h 38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03153" h="383592">
                  <a:moveTo>
                    <a:pt x="563" y="108718"/>
                  </a:moveTo>
                  <a:lnTo>
                    <a:pt x="27006" y="102062"/>
                  </a:lnTo>
                  <a:lnTo>
                    <a:pt x="74865" y="68606"/>
                  </a:lnTo>
                  <a:lnTo>
                    <a:pt x="113008" y="50089"/>
                  </a:lnTo>
                  <a:lnTo>
                    <a:pt x="134826" y="62192"/>
                  </a:lnTo>
                  <a:lnTo>
                    <a:pt x="160992" y="62773"/>
                  </a:lnTo>
                  <a:lnTo>
                    <a:pt x="177756" y="81049"/>
                  </a:lnTo>
                  <a:lnTo>
                    <a:pt x="202785" y="82445"/>
                  </a:lnTo>
                  <a:lnTo>
                    <a:pt x="239050" y="92195"/>
                  </a:lnTo>
                  <a:lnTo>
                    <a:pt x="263436" y="65064"/>
                  </a:lnTo>
                  <a:lnTo>
                    <a:pt x="253247" y="41805"/>
                  </a:lnTo>
                  <a:lnTo>
                    <a:pt x="279224" y="128"/>
                  </a:lnTo>
                  <a:lnTo>
                    <a:pt x="307322" y="16865"/>
                  </a:lnTo>
                  <a:lnTo>
                    <a:pt x="330089" y="21580"/>
                  </a:lnTo>
                  <a:lnTo>
                    <a:pt x="359582" y="31885"/>
                  </a:lnTo>
                  <a:lnTo>
                    <a:pt x="364368" y="61593"/>
                  </a:lnTo>
                  <a:lnTo>
                    <a:pt x="399988" y="78061"/>
                  </a:lnTo>
                  <a:lnTo>
                    <a:pt x="423703" y="70825"/>
                  </a:lnTo>
                  <a:lnTo>
                    <a:pt x="455433" y="65699"/>
                  </a:lnTo>
                  <a:lnTo>
                    <a:pt x="480561" y="70860"/>
                  </a:lnTo>
                  <a:lnTo>
                    <a:pt x="505125" y="89574"/>
                  </a:lnTo>
                  <a:lnTo>
                    <a:pt x="520350" y="109281"/>
                  </a:lnTo>
                  <a:lnTo>
                    <a:pt x="543608" y="108879"/>
                  </a:lnTo>
                  <a:lnTo>
                    <a:pt x="575204" y="115114"/>
                  </a:lnTo>
                  <a:lnTo>
                    <a:pt x="598257" y="105613"/>
                  </a:lnTo>
                  <a:lnTo>
                    <a:pt x="631283" y="99244"/>
                  </a:lnTo>
                  <a:lnTo>
                    <a:pt x="668014" y="71880"/>
                  </a:lnTo>
                  <a:lnTo>
                    <a:pt x="683060" y="76102"/>
                  </a:lnTo>
                  <a:lnTo>
                    <a:pt x="696192" y="89127"/>
                  </a:lnTo>
                  <a:lnTo>
                    <a:pt x="726115" y="85898"/>
                  </a:lnTo>
                  <a:lnTo>
                    <a:pt x="713904" y="114944"/>
                  </a:lnTo>
                  <a:lnTo>
                    <a:pt x="696183" y="152756"/>
                  </a:lnTo>
                  <a:lnTo>
                    <a:pt x="702642" y="168017"/>
                  </a:lnTo>
                  <a:lnTo>
                    <a:pt x="716838" y="163294"/>
                  </a:lnTo>
                  <a:lnTo>
                    <a:pt x="741582" y="169082"/>
                  </a:lnTo>
                  <a:lnTo>
                    <a:pt x="760859" y="155324"/>
                  </a:lnTo>
                  <a:lnTo>
                    <a:pt x="780986" y="167248"/>
                  </a:lnTo>
                  <a:lnTo>
                    <a:pt x="803717" y="193074"/>
                  </a:lnTo>
                  <a:lnTo>
                    <a:pt x="800971" y="206071"/>
                  </a:lnTo>
                  <a:lnTo>
                    <a:pt x="781183" y="201957"/>
                  </a:lnTo>
                  <a:lnTo>
                    <a:pt x="744748" y="206796"/>
                  </a:lnTo>
                  <a:lnTo>
                    <a:pt x="727099" y="217137"/>
                  </a:lnTo>
                  <a:lnTo>
                    <a:pt x="708716" y="240950"/>
                  </a:lnTo>
                  <a:lnTo>
                    <a:pt x="670474" y="254780"/>
                  </a:lnTo>
                  <a:lnTo>
                    <a:pt x="645480" y="273574"/>
                  </a:lnTo>
                  <a:lnTo>
                    <a:pt x="619699" y="266418"/>
                  </a:lnTo>
                  <a:lnTo>
                    <a:pt x="605592" y="263215"/>
                  </a:lnTo>
                  <a:lnTo>
                    <a:pt x="592415" y="285919"/>
                  </a:lnTo>
                  <a:lnTo>
                    <a:pt x="600431" y="299328"/>
                  </a:lnTo>
                  <a:lnTo>
                    <a:pt x="604492" y="310778"/>
                  </a:lnTo>
                  <a:lnTo>
                    <a:pt x="586932" y="322381"/>
                  </a:lnTo>
                  <a:lnTo>
                    <a:pt x="568933" y="340728"/>
                  </a:lnTo>
                  <a:lnTo>
                    <a:pt x="539628" y="352688"/>
                  </a:lnTo>
                  <a:lnTo>
                    <a:pt x="502039" y="353976"/>
                  </a:lnTo>
                  <a:lnTo>
                    <a:pt x="461516" y="365704"/>
                  </a:lnTo>
                  <a:lnTo>
                    <a:pt x="432318" y="383720"/>
                  </a:lnTo>
                  <a:lnTo>
                    <a:pt x="421207" y="373308"/>
                  </a:lnTo>
                  <a:lnTo>
                    <a:pt x="390864" y="373334"/>
                  </a:lnTo>
                  <a:lnTo>
                    <a:pt x="353749" y="352840"/>
                  </a:lnTo>
                  <a:lnTo>
                    <a:pt x="328997" y="347786"/>
                  </a:lnTo>
                  <a:lnTo>
                    <a:pt x="295631" y="352509"/>
                  </a:lnTo>
                  <a:lnTo>
                    <a:pt x="243863" y="344897"/>
                  </a:lnTo>
                  <a:lnTo>
                    <a:pt x="216212" y="345684"/>
                  </a:lnTo>
                  <a:lnTo>
                    <a:pt x="201497" y="325387"/>
                  </a:lnTo>
                  <a:lnTo>
                    <a:pt x="190065" y="293469"/>
                  </a:lnTo>
                  <a:lnTo>
                    <a:pt x="174571" y="289596"/>
                  </a:lnTo>
                  <a:lnTo>
                    <a:pt x="144264" y="267697"/>
                  </a:lnTo>
                  <a:lnTo>
                    <a:pt x="110486" y="262759"/>
                  </a:lnTo>
                  <a:lnTo>
                    <a:pt x="80679" y="256685"/>
                  </a:lnTo>
                  <a:lnTo>
                    <a:pt x="71653" y="241218"/>
                  </a:lnTo>
                  <a:lnTo>
                    <a:pt x="81305" y="198933"/>
                  </a:lnTo>
                  <a:lnTo>
                    <a:pt x="64005" y="169243"/>
                  </a:lnTo>
                  <a:lnTo>
                    <a:pt x="28232" y="155243"/>
                  </a:lnTo>
                  <a:lnTo>
                    <a:pt x="7147" y="13528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>
              <a:off x="5409708" y="3950611"/>
              <a:ext cx="304495" cy="342263"/>
            </a:xfrm>
            <a:custGeom>
              <a:avLst/>
              <a:gdLst>
                <a:gd name="connsiteX0" fmla="*/ 123146 w 304495"/>
                <a:gd name="connsiteY0" fmla="*/ 342428 h 342263"/>
                <a:gd name="connsiteX1" fmla="*/ 106597 w 304495"/>
                <a:gd name="connsiteY1" fmla="*/ 324707 h 342263"/>
                <a:gd name="connsiteX2" fmla="*/ 91416 w 304495"/>
                <a:gd name="connsiteY2" fmla="*/ 305662 h 342263"/>
                <a:gd name="connsiteX3" fmla="*/ 74769 w 304495"/>
                <a:gd name="connsiteY3" fmla="*/ 298792 h 342263"/>
                <a:gd name="connsiteX4" fmla="*/ 62782 w 304495"/>
                <a:gd name="connsiteY4" fmla="*/ 291144 h 342263"/>
                <a:gd name="connsiteX5" fmla="*/ 48773 w 304495"/>
                <a:gd name="connsiteY5" fmla="*/ 291439 h 342263"/>
                <a:gd name="connsiteX6" fmla="*/ 36536 w 304495"/>
                <a:gd name="connsiteY6" fmla="*/ 297101 h 342263"/>
                <a:gd name="connsiteX7" fmla="*/ 24074 w 304495"/>
                <a:gd name="connsiteY7" fmla="*/ 294856 h 342263"/>
                <a:gd name="connsiteX8" fmla="*/ 15487 w 304495"/>
                <a:gd name="connsiteY8" fmla="*/ 303185 h 342263"/>
                <a:gd name="connsiteX9" fmla="*/ 13313 w 304495"/>
                <a:gd name="connsiteY9" fmla="*/ 289185 h 342263"/>
                <a:gd name="connsiteX10" fmla="*/ 20317 w 304495"/>
                <a:gd name="connsiteY10" fmla="*/ 276330 h 342263"/>
                <a:gd name="connsiteX11" fmla="*/ 23430 w 304495"/>
                <a:gd name="connsiteY11" fmla="*/ 251703 h 342263"/>
                <a:gd name="connsiteX12" fmla="*/ 20657 w 304495"/>
                <a:gd name="connsiteY12" fmla="*/ 225707 h 342263"/>
                <a:gd name="connsiteX13" fmla="*/ 17634 w 304495"/>
                <a:gd name="connsiteY13" fmla="*/ 212575 h 342263"/>
                <a:gd name="connsiteX14" fmla="*/ 20129 w 304495"/>
                <a:gd name="connsiteY14" fmla="*/ 199354 h 342263"/>
                <a:gd name="connsiteX15" fmla="*/ 13653 w 304495"/>
                <a:gd name="connsiteY15" fmla="*/ 186714 h 342263"/>
                <a:gd name="connsiteX16" fmla="*/ 431 w 304495"/>
                <a:gd name="connsiteY16" fmla="*/ 175192 h 342263"/>
                <a:gd name="connsiteX17" fmla="*/ 5897 w 304495"/>
                <a:gd name="connsiteY17" fmla="*/ 166273 h 342263"/>
                <a:gd name="connsiteX18" fmla="*/ 104119 w 304495"/>
                <a:gd name="connsiteY18" fmla="*/ 166444 h 342263"/>
                <a:gd name="connsiteX19" fmla="*/ 99369 w 304495"/>
                <a:gd name="connsiteY19" fmla="*/ 127584 h 342263"/>
                <a:gd name="connsiteX20" fmla="*/ 105505 w 304495"/>
                <a:gd name="connsiteY20" fmla="*/ 113665 h 342263"/>
                <a:gd name="connsiteX21" fmla="*/ 129005 w 304495"/>
                <a:gd name="connsiteY21" fmla="*/ 111223 h 342263"/>
                <a:gd name="connsiteX22" fmla="*/ 128191 w 304495"/>
                <a:gd name="connsiteY22" fmla="*/ 40992 h 342263"/>
                <a:gd name="connsiteX23" fmla="*/ 210516 w 304495"/>
                <a:gd name="connsiteY23" fmla="*/ 42450 h 342263"/>
                <a:gd name="connsiteX24" fmla="*/ 210588 w 304495"/>
                <a:gd name="connsiteY24" fmla="*/ 165 h 342263"/>
                <a:gd name="connsiteX25" fmla="*/ 304927 w 304495"/>
                <a:gd name="connsiteY25" fmla="*/ 67479 h 342263"/>
                <a:gd name="connsiteX26" fmla="*/ 266542 w 304495"/>
                <a:gd name="connsiteY26" fmla="*/ 67980 h 342263"/>
                <a:gd name="connsiteX27" fmla="*/ 278645 w 304495"/>
                <a:gd name="connsiteY27" fmla="*/ 184773 h 342263"/>
                <a:gd name="connsiteX28" fmla="*/ 290749 w 304495"/>
                <a:gd name="connsiteY28" fmla="*/ 298247 h 342263"/>
                <a:gd name="connsiteX29" fmla="*/ 295096 w 304495"/>
                <a:gd name="connsiteY29" fmla="*/ 301449 h 342263"/>
                <a:gd name="connsiteX30" fmla="*/ 289514 w 304495"/>
                <a:gd name="connsiteY30" fmla="*/ 319590 h 342263"/>
                <a:gd name="connsiteX31" fmla="*/ 188877 w 304495"/>
                <a:gd name="connsiteY31" fmla="*/ 319984 h 342263"/>
                <a:gd name="connsiteX32" fmla="*/ 185111 w 304495"/>
                <a:gd name="connsiteY32" fmla="*/ 325727 h 342263"/>
                <a:gd name="connsiteX33" fmla="*/ 175414 w 304495"/>
                <a:gd name="connsiteY33" fmla="*/ 324018 h 342263"/>
                <a:gd name="connsiteX34" fmla="*/ 161272 w 304495"/>
                <a:gd name="connsiteY34" fmla="*/ 329126 h 342263"/>
                <a:gd name="connsiteX35" fmla="*/ 143756 w 304495"/>
                <a:gd name="connsiteY35" fmla="*/ 321934 h 342263"/>
                <a:gd name="connsiteX36" fmla="*/ 135804 w 304495"/>
                <a:gd name="connsiteY36" fmla="*/ 322525 h 342263"/>
                <a:gd name="connsiteX37" fmla="*/ 131590 w 304495"/>
                <a:gd name="connsiteY37" fmla="*/ 337732 h 34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04495" h="342263">
                  <a:moveTo>
                    <a:pt x="123146" y="342428"/>
                  </a:moveTo>
                  <a:lnTo>
                    <a:pt x="106597" y="324707"/>
                  </a:lnTo>
                  <a:lnTo>
                    <a:pt x="91416" y="305662"/>
                  </a:lnTo>
                  <a:lnTo>
                    <a:pt x="74769" y="298792"/>
                  </a:lnTo>
                  <a:lnTo>
                    <a:pt x="62782" y="291144"/>
                  </a:lnTo>
                  <a:lnTo>
                    <a:pt x="48773" y="291439"/>
                  </a:lnTo>
                  <a:lnTo>
                    <a:pt x="36536" y="297101"/>
                  </a:lnTo>
                  <a:lnTo>
                    <a:pt x="24074" y="294856"/>
                  </a:lnTo>
                  <a:lnTo>
                    <a:pt x="15487" y="303185"/>
                  </a:lnTo>
                  <a:lnTo>
                    <a:pt x="13313" y="289185"/>
                  </a:lnTo>
                  <a:lnTo>
                    <a:pt x="20317" y="276330"/>
                  </a:lnTo>
                  <a:lnTo>
                    <a:pt x="23430" y="251703"/>
                  </a:lnTo>
                  <a:lnTo>
                    <a:pt x="20657" y="225707"/>
                  </a:lnTo>
                  <a:lnTo>
                    <a:pt x="17634" y="212575"/>
                  </a:lnTo>
                  <a:lnTo>
                    <a:pt x="20129" y="199354"/>
                  </a:lnTo>
                  <a:lnTo>
                    <a:pt x="13653" y="186714"/>
                  </a:lnTo>
                  <a:lnTo>
                    <a:pt x="431" y="175192"/>
                  </a:lnTo>
                  <a:lnTo>
                    <a:pt x="5897" y="166273"/>
                  </a:lnTo>
                  <a:lnTo>
                    <a:pt x="104119" y="166444"/>
                  </a:lnTo>
                  <a:lnTo>
                    <a:pt x="99369" y="127584"/>
                  </a:lnTo>
                  <a:lnTo>
                    <a:pt x="105505" y="113665"/>
                  </a:lnTo>
                  <a:lnTo>
                    <a:pt x="129005" y="111223"/>
                  </a:lnTo>
                  <a:lnTo>
                    <a:pt x="128191" y="40992"/>
                  </a:lnTo>
                  <a:lnTo>
                    <a:pt x="210516" y="42450"/>
                  </a:lnTo>
                  <a:lnTo>
                    <a:pt x="210588" y="165"/>
                  </a:lnTo>
                  <a:lnTo>
                    <a:pt x="304927" y="67479"/>
                  </a:lnTo>
                  <a:lnTo>
                    <a:pt x="266542" y="67980"/>
                  </a:lnTo>
                  <a:lnTo>
                    <a:pt x="278645" y="184773"/>
                  </a:lnTo>
                  <a:lnTo>
                    <a:pt x="290749" y="298247"/>
                  </a:lnTo>
                  <a:lnTo>
                    <a:pt x="295096" y="301449"/>
                  </a:lnTo>
                  <a:lnTo>
                    <a:pt x="289514" y="319590"/>
                  </a:lnTo>
                  <a:lnTo>
                    <a:pt x="188877" y="319984"/>
                  </a:lnTo>
                  <a:lnTo>
                    <a:pt x="185111" y="325727"/>
                  </a:lnTo>
                  <a:lnTo>
                    <a:pt x="175414" y="324018"/>
                  </a:lnTo>
                  <a:lnTo>
                    <a:pt x="161272" y="329126"/>
                  </a:lnTo>
                  <a:lnTo>
                    <a:pt x="143756" y="321934"/>
                  </a:lnTo>
                  <a:lnTo>
                    <a:pt x="135804" y="322525"/>
                  </a:lnTo>
                  <a:lnTo>
                    <a:pt x="131590" y="33773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/>
            <p:cNvSpPr/>
            <p:nvPr/>
          </p:nvSpPr>
          <p:spPr>
            <a:xfrm>
              <a:off x="6657569" y="4892098"/>
              <a:ext cx="77342" cy="193813"/>
            </a:xfrm>
            <a:custGeom>
              <a:avLst/>
              <a:gdLst>
                <a:gd name="connsiteX0" fmla="*/ 47429 w 77342"/>
                <a:gd name="connsiteY0" fmla="*/ 58198 h 193813"/>
                <a:gd name="connsiteX1" fmla="*/ 40407 w 77342"/>
                <a:gd name="connsiteY1" fmla="*/ 77556 h 193813"/>
                <a:gd name="connsiteX2" fmla="*/ 47429 w 77342"/>
                <a:gd name="connsiteY2" fmla="*/ 110797 h 193813"/>
                <a:gd name="connsiteX3" fmla="*/ 56133 w 77342"/>
                <a:gd name="connsiteY3" fmla="*/ 110430 h 193813"/>
                <a:gd name="connsiteX4" fmla="*/ 65186 w 77342"/>
                <a:gd name="connsiteY4" fmla="*/ 118705 h 193813"/>
                <a:gd name="connsiteX5" fmla="*/ 75688 w 77342"/>
                <a:gd name="connsiteY5" fmla="*/ 137294 h 193813"/>
                <a:gd name="connsiteX6" fmla="*/ 77826 w 77342"/>
                <a:gd name="connsiteY6" fmla="*/ 170518 h 193813"/>
                <a:gd name="connsiteX7" fmla="*/ 66966 w 77342"/>
                <a:gd name="connsiteY7" fmla="*/ 175974 h 193813"/>
                <a:gd name="connsiteX8" fmla="*/ 59309 w 77342"/>
                <a:gd name="connsiteY8" fmla="*/ 194017 h 193813"/>
                <a:gd name="connsiteX9" fmla="*/ 42948 w 77342"/>
                <a:gd name="connsiteY9" fmla="*/ 177951 h 193813"/>
                <a:gd name="connsiteX10" fmla="*/ 41087 w 77342"/>
                <a:gd name="connsiteY10" fmla="*/ 159694 h 193813"/>
                <a:gd name="connsiteX11" fmla="*/ 46364 w 77342"/>
                <a:gd name="connsiteY11" fmla="*/ 147680 h 193813"/>
                <a:gd name="connsiteX12" fmla="*/ 44915 w 77342"/>
                <a:gd name="connsiteY12" fmla="*/ 137348 h 193813"/>
                <a:gd name="connsiteX13" fmla="*/ 35013 w 77342"/>
                <a:gd name="connsiteY13" fmla="*/ 130835 h 193813"/>
                <a:gd name="connsiteX14" fmla="*/ 28107 w 77342"/>
                <a:gd name="connsiteY14" fmla="*/ 133197 h 193813"/>
                <a:gd name="connsiteX15" fmla="*/ 13669 w 77342"/>
                <a:gd name="connsiteY15" fmla="*/ 120861 h 193813"/>
                <a:gd name="connsiteX16" fmla="*/ 483 w 77342"/>
                <a:gd name="connsiteY16" fmla="*/ 114205 h 193813"/>
                <a:gd name="connsiteX17" fmla="*/ 8096 w 77342"/>
                <a:gd name="connsiteY17" fmla="*/ 90419 h 193813"/>
                <a:gd name="connsiteX18" fmla="*/ 15986 w 77342"/>
                <a:gd name="connsiteY18" fmla="*/ 81537 h 193813"/>
                <a:gd name="connsiteX19" fmla="*/ 11173 w 77342"/>
                <a:gd name="connsiteY19" fmla="*/ 60416 h 193813"/>
                <a:gd name="connsiteX20" fmla="*/ 16209 w 77342"/>
                <a:gd name="connsiteY20" fmla="*/ 39824 h 193813"/>
                <a:gd name="connsiteX21" fmla="*/ 20486 w 77342"/>
                <a:gd name="connsiteY21" fmla="*/ 32954 h 193813"/>
                <a:gd name="connsiteX22" fmla="*/ 14107 w 77342"/>
                <a:gd name="connsiteY22" fmla="*/ 11467 h 193813"/>
                <a:gd name="connsiteX23" fmla="*/ 2263 w 77342"/>
                <a:gd name="connsiteY23" fmla="*/ 204 h 193813"/>
                <a:gd name="connsiteX24" fmla="*/ 26855 w 77342"/>
                <a:gd name="connsiteY24" fmla="*/ 4909 h 193813"/>
                <a:gd name="connsiteX25" fmla="*/ 31900 w 77342"/>
                <a:gd name="connsiteY25" fmla="*/ 11896 h 193813"/>
                <a:gd name="connsiteX26" fmla="*/ 40407 w 77342"/>
                <a:gd name="connsiteY26" fmla="*/ 23695 h 193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7342" h="193813">
                  <a:moveTo>
                    <a:pt x="47429" y="58198"/>
                  </a:moveTo>
                  <a:lnTo>
                    <a:pt x="40407" y="77556"/>
                  </a:lnTo>
                  <a:lnTo>
                    <a:pt x="47429" y="110797"/>
                  </a:lnTo>
                  <a:lnTo>
                    <a:pt x="56133" y="110430"/>
                  </a:lnTo>
                  <a:lnTo>
                    <a:pt x="65186" y="118705"/>
                  </a:lnTo>
                  <a:lnTo>
                    <a:pt x="75688" y="137294"/>
                  </a:lnTo>
                  <a:lnTo>
                    <a:pt x="77826" y="170518"/>
                  </a:lnTo>
                  <a:lnTo>
                    <a:pt x="66966" y="175974"/>
                  </a:lnTo>
                  <a:lnTo>
                    <a:pt x="59309" y="194017"/>
                  </a:lnTo>
                  <a:lnTo>
                    <a:pt x="42948" y="177951"/>
                  </a:lnTo>
                  <a:lnTo>
                    <a:pt x="41087" y="159694"/>
                  </a:lnTo>
                  <a:lnTo>
                    <a:pt x="46364" y="147680"/>
                  </a:lnTo>
                  <a:lnTo>
                    <a:pt x="44915" y="137348"/>
                  </a:lnTo>
                  <a:lnTo>
                    <a:pt x="35013" y="130835"/>
                  </a:lnTo>
                  <a:lnTo>
                    <a:pt x="28107" y="133197"/>
                  </a:lnTo>
                  <a:lnTo>
                    <a:pt x="13669" y="120861"/>
                  </a:lnTo>
                  <a:lnTo>
                    <a:pt x="483" y="114205"/>
                  </a:lnTo>
                  <a:lnTo>
                    <a:pt x="8096" y="90419"/>
                  </a:lnTo>
                  <a:lnTo>
                    <a:pt x="15986" y="81537"/>
                  </a:lnTo>
                  <a:lnTo>
                    <a:pt x="11173" y="60416"/>
                  </a:lnTo>
                  <a:lnTo>
                    <a:pt x="16209" y="39824"/>
                  </a:lnTo>
                  <a:lnTo>
                    <a:pt x="20486" y="32954"/>
                  </a:lnTo>
                  <a:lnTo>
                    <a:pt x="14107" y="11467"/>
                  </a:lnTo>
                  <a:lnTo>
                    <a:pt x="2263" y="204"/>
                  </a:lnTo>
                  <a:lnTo>
                    <a:pt x="26855" y="4909"/>
                  </a:lnTo>
                  <a:lnTo>
                    <a:pt x="31900" y="11896"/>
                  </a:lnTo>
                  <a:lnTo>
                    <a:pt x="40407" y="2369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>
              <a:off x="2899905" y="3796982"/>
              <a:ext cx="760376" cy="497906"/>
            </a:xfrm>
            <a:custGeom>
              <a:avLst/>
              <a:gdLst>
                <a:gd name="connsiteX0" fmla="*/ 501660 w 760376"/>
                <a:gd name="connsiteY0" fmla="*/ 196381 h 497906"/>
                <a:gd name="connsiteX1" fmla="*/ 491927 w 760376"/>
                <a:gd name="connsiteY1" fmla="*/ 220632 h 497906"/>
                <a:gd name="connsiteX2" fmla="*/ 487535 w 760376"/>
                <a:gd name="connsiteY2" fmla="*/ 240375 h 497906"/>
                <a:gd name="connsiteX3" fmla="*/ 485710 w 760376"/>
                <a:gd name="connsiteY3" fmla="*/ 276845 h 497906"/>
                <a:gd name="connsiteX4" fmla="*/ 483286 w 760376"/>
                <a:gd name="connsiteY4" fmla="*/ 290040 h 497906"/>
                <a:gd name="connsiteX5" fmla="*/ 487633 w 760376"/>
                <a:gd name="connsiteY5" fmla="*/ 304737 h 497906"/>
                <a:gd name="connsiteX6" fmla="*/ 495407 w 760376"/>
                <a:gd name="connsiteY6" fmla="*/ 317816 h 497906"/>
                <a:gd name="connsiteX7" fmla="*/ 500425 w 760376"/>
                <a:gd name="connsiteY7" fmla="*/ 338533 h 497906"/>
                <a:gd name="connsiteX8" fmla="*/ 517064 w 760376"/>
                <a:gd name="connsiteY8" fmla="*/ 358330 h 497906"/>
                <a:gd name="connsiteX9" fmla="*/ 522923 w 760376"/>
                <a:gd name="connsiteY9" fmla="*/ 373430 h 497906"/>
                <a:gd name="connsiteX10" fmla="*/ 532736 w 760376"/>
                <a:gd name="connsiteY10" fmla="*/ 386419 h 497906"/>
                <a:gd name="connsiteX11" fmla="*/ 559367 w 760376"/>
                <a:gd name="connsiteY11" fmla="*/ 393396 h 497906"/>
                <a:gd name="connsiteX12" fmla="*/ 569735 w 760376"/>
                <a:gd name="connsiteY12" fmla="*/ 404390 h 497906"/>
                <a:gd name="connsiteX13" fmla="*/ 591741 w 760376"/>
                <a:gd name="connsiteY13" fmla="*/ 397046 h 497906"/>
                <a:gd name="connsiteX14" fmla="*/ 610858 w 760376"/>
                <a:gd name="connsiteY14" fmla="*/ 394389 h 497906"/>
                <a:gd name="connsiteX15" fmla="*/ 629643 w 760376"/>
                <a:gd name="connsiteY15" fmla="*/ 389666 h 497906"/>
                <a:gd name="connsiteX16" fmla="*/ 645423 w 760376"/>
                <a:gd name="connsiteY16" fmla="*/ 385148 h 497906"/>
                <a:gd name="connsiteX17" fmla="*/ 661382 w 760376"/>
                <a:gd name="connsiteY17" fmla="*/ 374387 h 497906"/>
                <a:gd name="connsiteX18" fmla="*/ 667357 w 760376"/>
                <a:gd name="connsiteY18" fmla="*/ 358956 h 497906"/>
                <a:gd name="connsiteX19" fmla="*/ 669415 w 760376"/>
                <a:gd name="connsiteY19" fmla="*/ 336619 h 497906"/>
                <a:gd name="connsiteX20" fmla="*/ 673753 w 760376"/>
                <a:gd name="connsiteY20" fmla="*/ 328819 h 497906"/>
                <a:gd name="connsiteX21" fmla="*/ 690741 w 760376"/>
                <a:gd name="connsiteY21" fmla="*/ 321814 h 497906"/>
                <a:gd name="connsiteX22" fmla="*/ 717264 w 760376"/>
                <a:gd name="connsiteY22" fmla="*/ 315606 h 497906"/>
                <a:gd name="connsiteX23" fmla="*/ 739476 w 760376"/>
                <a:gd name="connsiteY23" fmla="*/ 316537 h 497906"/>
                <a:gd name="connsiteX24" fmla="*/ 754683 w 760376"/>
                <a:gd name="connsiteY24" fmla="*/ 314264 h 497906"/>
                <a:gd name="connsiteX25" fmla="*/ 760704 w 760376"/>
                <a:gd name="connsiteY25" fmla="*/ 319945 h 497906"/>
                <a:gd name="connsiteX26" fmla="*/ 759854 w 760376"/>
                <a:gd name="connsiteY26" fmla="*/ 332826 h 497906"/>
                <a:gd name="connsiteX27" fmla="*/ 746373 w 760376"/>
                <a:gd name="connsiteY27" fmla="*/ 348651 h 497906"/>
                <a:gd name="connsiteX28" fmla="*/ 740415 w 760376"/>
                <a:gd name="connsiteY28" fmla="*/ 364797 h 497906"/>
                <a:gd name="connsiteX29" fmla="*/ 745031 w 760376"/>
                <a:gd name="connsiteY29" fmla="*/ 369404 h 497906"/>
                <a:gd name="connsiteX30" fmla="*/ 741274 w 760376"/>
                <a:gd name="connsiteY30" fmla="*/ 380828 h 497906"/>
                <a:gd name="connsiteX31" fmla="*/ 734985 w 760376"/>
                <a:gd name="connsiteY31" fmla="*/ 401358 h 497906"/>
                <a:gd name="connsiteX32" fmla="*/ 728634 w 760376"/>
                <a:gd name="connsiteY32" fmla="*/ 394613 h 497906"/>
                <a:gd name="connsiteX33" fmla="*/ 723383 w 760376"/>
                <a:gd name="connsiteY33" fmla="*/ 395051 h 497906"/>
                <a:gd name="connsiteX34" fmla="*/ 718615 w 760376"/>
                <a:gd name="connsiteY34" fmla="*/ 395391 h 497906"/>
                <a:gd name="connsiteX35" fmla="*/ 709625 w 760376"/>
                <a:gd name="connsiteY35" fmla="*/ 411234 h 497906"/>
                <a:gd name="connsiteX36" fmla="*/ 705072 w 760376"/>
                <a:gd name="connsiteY36" fmla="*/ 408138 h 497906"/>
                <a:gd name="connsiteX37" fmla="*/ 702039 w 760376"/>
                <a:gd name="connsiteY37" fmla="*/ 409337 h 497906"/>
                <a:gd name="connsiteX38" fmla="*/ 702236 w 760376"/>
                <a:gd name="connsiteY38" fmla="*/ 413193 h 497906"/>
                <a:gd name="connsiteX39" fmla="*/ 679040 w 760376"/>
                <a:gd name="connsiteY39" fmla="*/ 412906 h 497906"/>
                <a:gd name="connsiteX40" fmla="*/ 655621 w 760376"/>
                <a:gd name="connsiteY40" fmla="*/ 412951 h 497906"/>
                <a:gd name="connsiteX41" fmla="*/ 655603 w 760376"/>
                <a:gd name="connsiteY41" fmla="*/ 427666 h 497906"/>
                <a:gd name="connsiteX42" fmla="*/ 644278 w 760376"/>
                <a:gd name="connsiteY42" fmla="*/ 427729 h 497906"/>
                <a:gd name="connsiteX43" fmla="*/ 653617 w 760376"/>
                <a:gd name="connsiteY43" fmla="*/ 436442 h 497906"/>
                <a:gd name="connsiteX44" fmla="*/ 662885 w 760376"/>
                <a:gd name="connsiteY44" fmla="*/ 442453 h 497906"/>
                <a:gd name="connsiteX45" fmla="*/ 665676 w 760376"/>
                <a:gd name="connsiteY45" fmla="*/ 448089 h 497906"/>
                <a:gd name="connsiteX46" fmla="*/ 669737 w 760376"/>
                <a:gd name="connsiteY46" fmla="*/ 449663 h 497906"/>
                <a:gd name="connsiteX47" fmla="*/ 669093 w 760376"/>
                <a:gd name="connsiteY47" fmla="*/ 458502 h 497906"/>
                <a:gd name="connsiteX48" fmla="*/ 636898 w 760376"/>
                <a:gd name="connsiteY48" fmla="*/ 458582 h 497906"/>
                <a:gd name="connsiteX49" fmla="*/ 624831 w 760376"/>
                <a:gd name="connsiteY49" fmla="*/ 479684 h 497906"/>
                <a:gd name="connsiteX50" fmla="*/ 628391 w 760376"/>
                <a:gd name="connsiteY50" fmla="*/ 484515 h 497906"/>
                <a:gd name="connsiteX51" fmla="*/ 625484 w 760376"/>
                <a:gd name="connsiteY51" fmla="*/ 490562 h 497906"/>
                <a:gd name="connsiteX52" fmla="*/ 624866 w 760376"/>
                <a:gd name="connsiteY52" fmla="*/ 498068 h 497906"/>
                <a:gd name="connsiteX53" fmla="*/ 596482 w 760376"/>
                <a:gd name="connsiteY53" fmla="*/ 470274 h 497906"/>
                <a:gd name="connsiteX54" fmla="*/ 583547 w 760376"/>
                <a:gd name="connsiteY54" fmla="*/ 461865 h 497906"/>
                <a:gd name="connsiteX55" fmla="*/ 563062 w 760376"/>
                <a:gd name="connsiteY55" fmla="*/ 455102 h 497906"/>
                <a:gd name="connsiteX56" fmla="*/ 549062 w 760376"/>
                <a:gd name="connsiteY56" fmla="*/ 456981 h 497906"/>
                <a:gd name="connsiteX57" fmla="*/ 528917 w 760376"/>
                <a:gd name="connsiteY57" fmla="*/ 466731 h 497906"/>
                <a:gd name="connsiteX58" fmla="*/ 516268 w 760376"/>
                <a:gd name="connsiteY58" fmla="*/ 469290 h 497906"/>
                <a:gd name="connsiteX59" fmla="*/ 498556 w 760376"/>
                <a:gd name="connsiteY59" fmla="*/ 462464 h 497906"/>
                <a:gd name="connsiteX60" fmla="*/ 479761 w 760376"/>
                <a:gd name="connsiteY60" fmla="*/ 457526 h 497906"/>
                <a:gd name="connsiteX61" fmla="*/ 456315 w 760376"/>
                <a:gd name="connsiteY61" fmla="*/ 445611 h 497906"/>
                <a:gd name="connsiteX62" fmla="*/ 437512 w 760376"/>
                <a:gd name="connsiteY62" fmla="*/ 441970 h 497906"/>
                <a:gd name="connsiteX63" fmla="*/ 409119 w 760376"/>
                <a:gd name="connsiteY63" fmla="*/ 429849 h 497906"/>
                <a:gd name="connsiteX64" fmla="*/ 388133 w 760376"/>
                <a:gd name="connsiteY64" fmla="*/ 417361 h 497906"/>
                <a:gd name="connsiteX65" fmla="*/ 381799 w 760376"/>
                <a:gd name="connsiteY65" fmla="*/ 410375 h 497906"/>
                <a:gd name="connsiteX66" fmla="*/ 367764 w 760376"/>
                <a:gd name="connsiteY66" fmla="*/ 408809 h 497906"/>
                <a:gd name="connsiteX67" fmla="*/ 342108 w 760376"/>
                <a:gd name="connsiteY67" fmla="*/ 400508 h 497906"/>
                <a:gd name="connsiteX68" fmla="*/ 331669 w 760376"/>
                <a:gd name="connsiteY68" fmla="*/ 388512 h 497906"/>
                <a:gd name="connsiteX69" fmla="*/ 304716 w 760376"/>
                <a:gd name="connsiteY69" fmla="*/ 373537 h 497906"/>
                <a:gd name="connsiteX70" fmla="*/ 292147 w 760376"/>
                <a:gd name="connsiteY70" fmla="*/ 356845 h 497906"/>
                <a:gd name="connsiteX71" fmla="*/ 286172 w 760376"/>
                <a:gd name="connsiteY71" fmla="*/ 343901 h 497906"/>
                <a:gd name="connsiteX72" fmla="*/ 294536 w 760376"/>
                <a:gd name="connsiteY72" fmla="*/ 341297 h 497906"/>
                <a:gd name="connsiteX73" fmla="*/ 291960 w 760376"/>
                <a:gd name="connsiteY73" fmla="*/ 333703 h 497906"/>
                <a:gd name="connsiteX74" fmla="*/ 297720 w 760376"/>
                <a:gd name="connsiteY74" fmla="*/ 326770 h 497906"/>
                <a:gd name="connsiteX75" fmla="*/ 297846 w 760376"/>
                <a:gd name="connsiteY75" fmla="*/ 317520 h 497906"/>
                <a:gd name="connsiteX76" fmla="*/ 289383 w 760376"/>
                <a:gd name="connsiteY76" fmla="*/ 305480 h 497906"/>
                <a:gd name="connsiteX77" fmla="*/ 287120 w 760376"/>
                <a:gd name="connsiteY77" fmla="*/ 294772 h 497906"/>
                <a:gd name="connsiteX78" fmla="*/ 278711 w 760376"/>
                <a:gd name="connsiteY78" fmla="*/ 281139 h 497906"/>
                <a:gd name="connsiteX79" fmla="*/ 256607 w 760376"/>
                <a:gd name="connsiteY79" fmla="*/ 254159 h 497906"/>
                <a:gd name="connsiteX80" fmla="*/ 231389 w 760376"/>
                <a:gd name="connsiteY80" fmla="*/ 232798 h 497906"/>
                <a:gd name="connsiteX81" fmla="*/ 219188 w 760376"/>
                <a:gd name="connsiteY81" fmla="*/ 215667 h 497906"/>
                <a:gd name="connsiteX82" fmla="*/ 197656 w 760376"/>
                <a:gd name="connsiteY82" fmla="*/ 204396 h 497906"/>
                <a:gd name="connsiteX83" fmla="*/ 193049 w 760376"/>
                <a:gd name="connsiteY83" fmla="*/ 197624 h 497906"/>
                <a:gd name="connsiteX84" fmla="*/ 196869 w 760376"/>
                <a:gd name="connsiteY84" fmla="*/ 180458 h 497906"/>
                <a:gd name="connsiteX85" fmla="*/ 184086 w 760376"/>
                <a:gd name="connsiteY85" fmla="*/ 173945 h 497906"/>
                <a:gd name="connsiteX86" fmla="*/ 169281 w 760376"/>
                <a:gd name="connsiteY86" fmla="*/ 160348 h 497906"/>
                <a:gd name="connsiteX87" fmla="*/ 163028 w 760376"/>
                <a:gd name="connsiteY87" fmla="*/ 140731 h 497906"/>
                <a:gd name="connsiteX88" fmla="*/ 149529 w 760376"/>
                <a:gd name="connsiteY88" fmla="*/ 138432 h 497906"/>
                <a:gd name="connsiteX89" fmla="*/ 134975 w 760376"/>
                <a:gd name="connsiteY89" fmla="*/ 123519 h 497906"/>
                <a:gd name="connsiteX90" fmla="*/ 123221 w 760376"/>
                <a:gd name="connsiteY90" fmla="*/ 109672 h 497906"/>
                <a:gd name="connsiteX91" fmla="*/ 122120 w 760376"/>
                <a:gd name="connsiteY91" fmla="*/ 100753 h 497906"/>
                <a:gd name="connsiteX92" fmla="*/ 108639 w 760376"/>
                <a:gd name="connsiteY92" fmla="*/ 79096 h 497906"/>
                <a:gd name="connsiteX93" fmla="*/ 99747 w 760376"/>
                <a:gd name="connsiteY93" fmla="*/ 56938 h 497906"/>
                <a:gd name="connsiteX94" fmla="*/ 100132 w 760376"/>
                <a:gd name="connsiteY94" fmla="*/ 45756 h 497906"/>
                <a:gd name="connsiteX95" fmla="*/ 81991 w 760376"/>
                <a:gd name="connsiteY95" fmla="*/ 34154 h 497906"/>
                <a:gd name="connsiteX96" fmla="*/ 73618 w 760376"/>
                <a:gd name="connsiteY96" fmla="*/ 35433 h 497906"/>
                <a:gd name="connsiteX97" fmla="*/ 59305 w 760376"/>
                <a:gd name="connsiteY97" fmla="*/ 27355 h 497906"/>
                <a:gd name="connsiteX98" fmla="*/ 55279 w 760376"/>
                <a:gd name="connsiteY98" fmla="*/ 39253 h 497906"/>
                <a:gd name="connsiteX99" fmla="*/ 59430 w 760376"/>
                <a:gd name="connsiteY99" fmla="*/ 53253 h 497906"/>
                <a:gd name="connsiteX100" fmla="*/ 61872 w 760376"/>
                <a:gd name="connsiteY100" fmla="*/ 75008 h 497906"/>
                <a:gd name="connsiteX101" fmla="*/ 70478 w 760376"/>
                <a:gd name="connsiteY101" fmla="*/ 86879 h 497906"/>
                <a:gd name="connsiteX102" fmla="*/ 89093 w 760376"/>
                <a:gd name="connsiteY102" fmla="*/ 106621 h 497906"/>
                <a:gd name="connsiteX103" fmla="*/ 93226 w 760376"/>
                <a:gd name="connsiteY103" fmla="*/ 113331 h 497906"/>
                <a:gd name="connsiteX104" fmla="*/ 97037 w 760376"/>
                <a:gd name="connsiteY104" fmla="*/ 115361 h 497906"/>
                <a:gd name="connsiteX105" fmla="*/ 100347 w 760376"/>
                <a:gd name="connsiteY105" fmla="*/ 125121 h 497906"/>
                <a:gd name="connsiteX106" fmla="*/ 104802 w 760376"/>
                <a:gd name="connsiteY106" fmla="*/ 124727 h 497906"/>
                <a:gd name="connsiteX107" fmla="*/ 109838 w 760376"/>
                <a:gd name="connsiteY107" fmla="*/ 142967 h 497906"/>
                <a:gd name="connsiteX108" fmla="*/ 117460 w 760376"/>
                <a:gd name="connsiteY108" fmla="*/ 150141 h 497906"/>
                <a:gd name="connsiteX109" fmla="*/ 122800 w 760376"/>
                <a:gd name="connsiteY109" fmla="*/ 160089 h 497906"/>
                <a:gd name="connsiteX110" fmla="*/ 138562 w 760376"/>
                <a:gd name="connsiteY110" fmla="*/ 174321 h 497906"/>
                <a:gd name="connsiteX111" fmla="*/ 146881 w 760376"/>
                <a:gd name="connsiteY111" fmla="*/ 200182 h 497906"/>
                <a:gd name="connsiteX112" fmla="*/ 154333 w 760376"/>
                <a:gd name="connsiteY112" fmla="*/ 212295 h 497906"/>
                <a:gd name="connsiteX113" fmla="*/ 161293 w 760376"/>
                <a:gd name="connsiteY113" fmla="*/ 225194 h 497906"/>
                <a:gd name="connsiteX114" fmla="*/ 162679 w 760376"/>
                <a:gd name="connsiteY114" fmla="*/ 239659 h 497906"/>
                <a:gd name="connsiteX115" fmla="*/ 174773 w 760376"/>
                <a:gd name="connsiteY115" fmla="*/ 240562 h 497906"/>
                <a:gd name="connsiteX116" fmla="*/ 184828 w 760376"/>
                <a:gd name="connsiteY116" fmla="*/ 252970 h 497906"/>
                <a:gd name="connsiteX117" fmla="*/ 193926 w 760376"/>
                <a:gd name="connsiteY117" fmla="*/ 265127 h 497906"/>
                <a:gd name="connsiteX118" fmla="*/ 193317 w 760376"/>
                <a:gd name="connsiteY118" fmla="*/ 269984 h 497906"/>
                <a:gd name="connsiteX119" fmla="*/ 182762 w 760376"/>
                <a:gd name="connsiteY119" fmla="*/ 279940 h 497906"/>
                <a:gd name="connsiteX120" fmla="*/ 178316 w 760376"/>
                <a:gd name="connsiteY120" fmla="*/ 279806 h 497906"/>
                <a:gd name="connsiteX121" fmla="*/ 171705 w 760376"/>
                <a:gd name="connsiteY121" fmla="*/ 263320 h 497906"/>
                <a:gd name="connsiteX122" fmla="*/ 155290 w 760376"/>
                <a:gd name="connsiteY122" fmla="*/ 247799 h 497906"/>
                <a:gd name="connsiteX123" fmla="*/ 137202 w 760376"/>
                <a:gd name="connsiteY123" fmla="*/ 234569 h 497906"/>
                <a:gd name="connsiteX124" fmla="*/ 124374 w 760376"/>
                <a:gd name="connsiteY124" fmla="*/ 227600 h 497906"/>
                <a:gd name="connsiteX125" fmla="*/ 125206 w 760376"/>
                <a:gd name="connsiteY125" fmla="*/ 207446 h 497906"/>
                <a:gd name="connsiteX126" fmla="*/ 121396 w 760376"/>
                <a:gd name="connsiteY126" fmla="*/ 192435 h 497906"/>
                <a:gd name="connsiteX127" fmla="*/ 109445 w 760376"/>
                <a:gd name="connsiteY127" fmla="*/ 183821 h 497906"/>
                <a:gd name="connsiteX128" fmla="*/ 92207 w 760376"/>
                <a:gd name="connsiteY128" fmla="*/ 171378 h 497906"/>
                <a:gd name="connsiteX129" fmla="*/ 88897 w 760376"/>
                <a:gd name="connsiteY129" fmla="*/ 174974 h 497906"/>
                <a:gd name="connsiteX130" fmla="*/ 82563 w 760376"/>
                <a:gd name="connsiteY130" fmla="*/ 167692 h 497906"/>
                <a:gd name="connsiteX131" fmla="*/ 67096 w 760376"/>
                <a:gd name="connsiteY131" fmla="*/ 160912 h 497906"/>
                <a:gd name="connsiteX132" fmla="*/ 52310 w 760376"/>
                <a:gd name="connsiteY132" fmla="*/ 144595 h 497906"/>
                <a:gd name="connsiteX133" fmla="*/ 54143 w 760376"/>
                <a:gd name="connsiteY133" fmla="*/ 142466 h 497906"/>
                <a:gd name="connsiteX134" fmla="*/ 64475 w 760376"/>
                <a:gd name="connsiteY134" fmla="*/ 144067 h 497906"/>
                <a:gd name="connsiteX135" fmla="*/ 73779 w 760376"/>
                <a:gd name="connsiteY135" fmla="*/ 133511 h 497906"/>
                <a:gd name="connsiteX136" fmla="*/ 74718 w 760376"/>
                <a:gd name="connsiteY136" fmla="*/ 120728 h 497906"/>
                <a:gd name="connsiteX137" fmla="*/ 55405 w 760376"/>
                <a:gd name="connsiteY137" fmla="*/ 100386 h 497906"/>
                <a:gd name="connsiteX138" fmla="*/ 40680 w 760376"/>
                <a:gd name="connsiteY138" fmla="*/ 92461 h 497906"/>
                <a:gd name="connsiteX139" fmla="*/ 31440 w 760376"/>
                <a:gd name="connsiteY139" fmla="*/ 74489 h 497906"/>
                <a:gd name="connsiteX140" fmla="*/ 22136 w 760376"/>
                <a:gd name="connsiteY140" fmla="*/ 55498 h 497906"/>
                <a:gd name="connsiteX141" fmla="*/ 10516 w 760376"/>
                <a:gd name="connsiteY141" fmla="*/ 32159 h 497906"/>
                <a:gd name="connsiteX142" fmla="*/ 327 w 760376"/>
                <a:gd name="connsiteY142" fmla="*/ 5653 h 497906"/>
                <a:gd name="connsiteX143" fmla="*/ 28828 w 760376"/>
                <a:gd name="connsiteY143" fmla="*/ 3381 h 497906"/>
                <a:gd name="connsiteX144" fmla="*/ 60683 w 760376"/>
                <a:gd name="connsiteY144" fmla="*/ 161 h 497906"/>
                <a:gd name="connsiteX145" fmla="*/ 58339 w 760376"/>
                <a:gd name="connsiteY145" fmla="*/ 5958 h 497906"/>
                <a:gd name="connsiteX146" fmla="*/ 96214 w 760376"/>
                <a:gd name="connsiteY146" fmla="*/ 20315 h 497906"/>
                <a:gd name="connsiteX147" fmla="*/ 153429 w 760376"/>
                <a:gd name="connsiteY147" fmla="*/ 40970 h 497906"/>
                <a:gd name="connsiteX148" fmla="*/ 203310 w 760376"/>
                <a:gd name="connsiteY148" fmla="*/ 40765 h 497906"/>
                <a:gd name="connsiteX149" fmla="*/ 223195 w 760376"/>
                <a:gd name="connsiteY149" fmla="*/ 40756 h 497906"/>
                <a:gd name="connsiteX150" fmla="*/ 223249 w 760376"/>
                <a:gd name="connsiteY150" fmla="*/ 28670 h 497906"/>
                <a:gd name="connsiteX151" fmla="*/ 266706 w 760376"/>
                <a:gd name="connsiteY151" fmla="*/ 28679 h 497906"/>
                <a:gd name="connsiteX152" fmla="*/ 275849 w 760376"/>
                <a:gd name="connsiteY152" fmla="*/ 39065 h 497906"/>
                <a:gd name="connsiteX153" fmla="*/ 288677 w 760376"/>
                <a:gd name="connsiteY153" fmla="*/ 48297 h 497906"/>
                <a:gd name="connsiteX154" fmla="*/ 303580 w 760376"/>
                <a:gd name="connsiteY154" fmla="*/ 61080 h 497906"/>
                <a:gd name="connsiteX155" fmla="*/ 311890 w 760376"/>
                <a:gd name="connsiteY155" fmla="*/ 76189 h 497906"/>
                <a:gd name="connsiteX156" fmla="*/ 318134 w 760376"/>
                <a:gd name="connsiteY156" fmla="*/ 92013 h 497906"/>
                <a:gd name="connsiteX157" fmla="*/ 331096 w 760376"/>
                <a:gd name="connsiteY157" fmla="*/ 100664 h 497906"/>
                <a:gd name="connsiteX158" fmla="*/ 351921 w 760376"/>
                <a:gd name="connsiteY158" fmla="*/ 109233 h 497906"/>
                <a:gd name="connsiteX159" fmla="*/ 367719 w 760376"/>
                <a:gd name="connsiteY159" fmla="*/ 86610 h 497906"/>
                <a:gd name="connsiteX160" fmla="*/ 388231 w 760376"/>
                <a:gd name="connsiteY160" fmla="*/ 86056 h 497906"/>
                <a:gd name="connsiteX161" fmla="*/ 405907 w 760376"/>
                <a:gd name="connsiteY161" fmla="*/ 97497 h 497906"/>
                <a:gd name="connsiteX162" fmla="*/ 418494 w 760376"/>
                <a:gd name="connsiteY162" fmla="*/ 117034 h 497906"/>
                <a:gd name="connsiteX163" fmla="*/ 427162 w 760376"/>
                <a:gd name="connsiteY163" fmla="*/ 133655 h 497906"/>
                <a:gd name="connsiteX164" fmla="*/ 441958 w 760376"/>
                <a:gd name="connsiteY164" fmla="*/ 149739 h 497906"/>
                <a:gd name="connsiteX165" fmla="*/ 447486 w 760376"/>
                <a:gd name="connsiteY165" fmla="*/ 169374 h 497906"/>
                <a:gd name="connsiteX166" fmla="*/ 454508 w 760376"/>
                <a:gd name="connsiteY166" fmla="*/ 182488 h 497906"/>
                <a:gd name="connsiteX167" fmla="*/ 474072 w 760376"/>
                <a:gd name="connsiteY167" fmla="*/ 191103 h 497906"/>
                <a:gd name="connsiteX168" fmla="*/ 491873 w 760376"/>
                <a:gd name="connsiteY168" fmla="*/ 197203 h 49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760376" h="497906">
                  <a:moveTo>
                    <a:pt x="501660" y="196381"/>
                  </a:moveTo>
                  <a:lnTo>
                    <a:pt x="491927" y="220632"/>
                  </a:lnTo>
                  <a:lnTo>
                    <a:pt x="487535" y="240375"/>
                  </a:lnTo>
                  <a:lnTo>
                    <a:pt x="485710" y="276845"/>
                  </a:lnTo>
                  <a:lnTo>
                    <a:pt x="483286" y="290040"/>
                  </a:lnTo>
                  <a:lnTo>
                    <a:pt x="487633" y="304737"/>
                  </a:lnTo>
                  <a:lnTo>
                    <a:pt x="495407" y="317816"/>
                  </a:lnTo>
                  <a:lnTo>
                    <a:pt x="500425" y="338533"/>
                  </a:lnTo>
                  <a:lnTo>
                    <a:pt x="517064" y="358330"/>
                  </a:lnTo>
                  <a:lnTo>
                    <a:pt x="522923" y="373430"/>
                  </a:lnTo>
                  <a:lnTo>
                    <a:pt x="532736" y="386419"/>
                  </a:lnTo>
                  <a:lnTo>
                    <a:pt x="559367" y="393396"/>
                  </a:lnTo>
                  <a:lnTo>
                    <a:pt x="569735" y="404390"/>
                  </a:lnTo>
                  <a:lnTo>
                    <a:pt x="591741" y="397046"/>
                  </a:lnTo>
                  <a:lnTo>
                    <a:pt x="610858" y="394389"/>
                  </a:lnTo>
                  <a:lnTo>
                    <a:pt x="629643" y="389666"/>
                  </a:lnTo>
                  <a:lnTo>
                    <a:pt x="645423" y="385148"/>
                  </a:lnTo>
                  <a:lnTo>
                    <a:pt x="661382" y="374387"/>
                  </a:lnTo>
                  <a:lnTo>
                    <a:pt x="667357" y="358956"/>
                  </a:lnTo>
                  <a:lnTo>
                    <a:pt x="669415" y="336619"/>
                  </a:lnTo>
                  <a:lnTo>
                    <a:pt x="673753" y="328819"/>
                  </a:lnTo>
                  <a:lnTo>
                    <a:pt x="690741" y="321814"/>
                  </a:lnTo>
                  <a:lnTo>
                    <a:pt x="717264" y="315606"/>
                  </a:lnTo>
                  <a:lnTo>
                    <a:pt x="739476" y="316537"/>
                  </a:lnTo>
                  <a:lnTo>
                    <a:pt x="754683" y="314264"/>
                  </a:lnTo>
                  <a:lnTo>
                    <a:pt x="760704" y="319945"/>
                  </a:lnTo>
                  <a:lnTo>
                    <a:pt x="759854" y="332826"/>
                  </a:lnTo>
                  <a:lnTo>
                    <a:pt x="746373" y="348651"/>
                  </a:lnTo>
                  <a:lnTo>
                    <a:pt x="740415" y="364797"/>
                  </a:lnTo>
                  <a:lnTo>
                    <a:pt x="745031" y="369404"/>
                  </a:lnTo>
                  <a:lnTo>
                    <a:pt x="741274" y="380828"/>
                  </a:lnTo>
                  <a:lnTo>
                    <a:pt x="734985" y="401358"/>
                  </a:lnTo>
                  <a:lnTo>
                    <a:pt x="728634" y="394613"/>
                  </a:lnTo>
                  <a:lnTo>
                    <a:pt x="723383" y="395051"/>
                  </a:lnTo>
                  <a:lnTo>
                    <a:pt x="718615" y="395391"/>
                  </a:lnTo>
                  <a:lnTo>
                    <a:pt x="709625" y="411234"/>
                  </a:lnTo>
                  <a:lnTo>
                    <a:pt x="705072" y="408138"/>
                  </a:lnTo>
                  <a:lnTo>
                    <a:pt x="702039" y="409337"/>
                  </a:lnTo>
                  <a:lnTo>
                    <a:pt x="702236" y="413193"/>
                  </a:lnTo>
                  <a:lnTo>
                    <a:pt x="679040" y="412906"/>
                  </a:lnTo>
                  <a:lnTo>
                    <a:pt x="655621" y="412951"/>
                  </a:lnTo>
                  <a:lnTo>
                    <a:pt x="655603" y="427666"/>
                  </a:lnTo>
                  <a:lnTo>
                    <a:pt x="644278" y="427729"/>
                  </a:lnTo>
                  <a:lnTo>
                    <a:pt x="653617" y="436442"/>
                  </a:lnTo>
                  <a:lnTo>
                    <a:pt x="662885" y="442453"/>
                  </a:lnTo>
                  <a:lnTo>
                    <a:pt x="665676" y="448089"/>
                  </a:lnTo>
                  <a:lnTo>
                    <a:pt x="669737" y="449663"/>
                  </a:lnTo>
                  <a:lnTo>
                    <a:pt x="669093" y="458502"/>
                  </a:lnTo>
                  <a:lnTo>
                    <a:pt x="636898" y="458582"/>
                  </a:lnTo>
                  <a:lnTo>
                    <a:pt x="624831" y="479684"/>
                  </a:lnTo>
                  <a:lnTo>
                    <a:pt x="628391" y="484515"/>
                  </a:lnTo>
                  <a:lnTo>
                    <a:pt x="625484" y="490562"/>
                  </a:lnTo>
                  <a:lnTo>
                    <a:pt x="624866" y="498068"/>
                  </a:lnTo>
                  <a:lnTo>
                    <a:pt x="596482" y="470274"/>
                  </a:lnTo>
                  <a:lnTo>
                    <a:pt x="583547" y="461865"/>
                  </a:lnTo>
                  <a:lnTo>
                    <a:pt x="563062" y="455102"/>
                  </a:lnTo>
                  <a:lnTo>
                    <a:pt x="549062" y="456981"/>
                  </a:lnTo>
                  <a:lnTo>
                    <a:pt x="528917" y="466731"/>
                  </a:lnTo>
                  <a:lnTo>
                    <a:pt x="516268" y="469290"/>
                  </a:lnTo>
                  <a:lnTo>
                    <a:pt x="498556" y="462464"/>
                  </a:lnTo>
                  <a:lnTo>
                    <a:pt x="479761" y="457526"/>
                  </a:lnTo>
                  <a:lnTo>
                    <a:pt x="456315" y="445611"/>
                  </a:lnTo>
                  <a:lnTo>
                    <a:pt x="437512" y="441970"/>
                  </a:lnTo>
                  <a:lnTo>
                    <a:pt x="409119" y="429849"/>
                  </a:lnTo>
                  <a:lnTo>
                    <a:pt x="388133" y="417361"/>
                  </a:lnTo>
                  <a:lnTo>
                    <a:pt x="381799" y="410375"/>
                  </a:lnTo>
                  <a:lnTo>
                    <a:pt x="367764" y="408809"/>
                  </a:lnTo>
                  <a:lnTo>
                    <a:pt x="342108" y="400508"/>
                  </a:lnTo>
                  <a:lnTo>
                    <a:pt x="331669" y="388512"/>
                  </a:lnTo>
                  <a:lnTo>
                    <a:pt x="304716" y="373537"/>
                  </a:lnTo>
                  <a:lnTo>
                    <a:pt x="292147" y="356845"/>
                  </a:lnTo>
                  <a:lnTo>
                    <a:pt x="286172" y="343901"/>
                  </a:lnTo>
                  <a:lnTo>
                    <a:pt x="294536" y="341297"/>
                  </a:lnTo>
                  <a:lnTo>
                    <a:pt x="291960" y="333703"/>
                  </a:lnTo>
                  <a:lnTo>
                    <a:pt x="297720" y="326770"/>
                  </a:lnTo>
                  <a:lnTo>
                    <a:pt x="297846" y="317520"/>
                  </a:lnTo>
                  <a:lnTo>
                    <a:pt x="289383" y="305480"/>
                  </a:lnTo>
                  <a:lnTo>
                    <a:pt x="287120" y="294772"/>
                  </a:lnTo>
                  <a:lnTo>
                    <a:pt x="278711" y="281139"/>
                  </a:lnTo>
                  <a:lnTo>
                    <a:pt x="256607" y="254159"/>
                  </a:lnTo>
                  <a:lnTo>
                    <a:pt x="231389" y="232798"/>
                  </a:lnTo>
                  <a:lnTo>
                    <a:pt x="219188" y="215667"/>
                  </a:lnTo>
                  <a:lnTo>
                    <a:pt x="197656" y="204396"/>
                  </a:lnTo>
                  <a:lnTo>
                    <a:pt x="193049" y="197624"/>
                  </a:lnTo>
                  <a:lnTo>
                    <a:pt x="196869" y="180458"/>
                  </a:lnTo>
                  <a:lnTo>
                    <a:pt x="184086" y="173945"/>
                  </a:lnTo>
                  <a:lnTo>
                    <a:pt x="169281" y="160348"/>
                  </a:lnTo>
                  <a:lnTo>
                    <a:pt x="163028" y="140731"/>
                  </a:lnTo>
                  <a:lnTo>
                    <a:pt x="149529" y="138432"/>
                  </a:lnTo>
                  <a:lnTo>
                    <a:pt x="134975" y="123519"/>
                  </a:lnTo>
                  <a:lnTo>
                    <a:pt x="123221" y="109672"/>
                  </a:lnTo>
                  <a:lnTo>
                    <a:pt x="122120" y="100753"/>
                  </a:lnTo>
                  <a:lnTo>
                    <a:pt x="108639" y="79096"/>
                  </a:lnTo>
                  <a:lnTo>
                    <a:pt x="99747" y="56938"/>
                  </a:lnTo>
                  <a:lnTo>
                    <a:pt x="100132" y="45756"/>
                  </a:lnTo>
                  <a:lnTo>
                    <a:pt x="81991" y="34154"/>
                  </a:lnTo>
                  <a:lnTo>
                    <a:pt x="73618" y="35433"/>
                  </a:lnTo>
                  <a:lnTo>
                    <a:pt x="59305" y="27355"/>
                  </a:lnTo>
                  <a:lnTo>
                    <a:pt x="55279" y="39253"/>
                  </a:lnTo>
                  <a:lnTo>
                    <a:pt x="59430" y="53253"/>
                  </a:lnTo>
                  <a:lnTo>
                    <a:pt x="61872" y="75008"/>
                  </a:lnTo>
                  <a:lnTo>
                    <a:pt x="70478" y="86879"/>
                  </a:lnTo>
                  <a:lnTo>
                    <a:pt x="89093" y="106621"/>
                  </a:lnTo>
                  <a:lnTo>
                    <a:pt x="93226" y="113331"/>
                  </a:lnTo>
                  <a:lnTo>
                    <a:pt x="97037" y="115361"/>
                  </a:lnTo>
                  <a:lnTo>
                    <a:pt x="100347" y="125121"/>
                  </a:lnTo>
                  <a:lnTo>
                    <a:pt x="104802" y="124727"/>
                  </a:lnTo>
                  <a:lnTo>
                    <a:pt x="109838" y="142967"/>
                  </a:lnTo>
                  <a:lnTo>
                    <a:pt x="117460" y="150141"/>
                  </a:lnTo>
                  <a:lnTo>
                    <a:pt x="122800" y="160089"/>
                  </a:lnTo>
                  <a:lnTo>
                    <a:pt x="138562" y="174321"/>
                  </a:lnTo>
                  <a:lnTo>
                    <a:pt x="146881" y="200182"/>
                  </a:lnTo>
                  <a:lnTo>
                    <a:pt x="154333" y="212295"/>
                  </a:lnTo>
                  <a:lnTo>
                    <a:pt x="161293" y="225194"/>
                  </a:lnTo>
                  <a:lnTo>
                    <a:pt x="162679" y="239659"/>
                  </a:lnTo>
                  <a:lnTo>
                    <a:pt x="174773" y="240562"/>
                  </a:lnTo>
                  <a:lnTo>
                    <a:pt x="184828" y="252970"/>
                  </a:lnTo>
                  <a:lnTo>
                    <a:pt x="193926" y="265127"/>
                  </a:lnTo>
                  <a:lnTo>
                    <a:pt x="193317" y="269984"/>
                  </a:lnTo>
                  <a:lnTo>
                    <a:pt x="182762" y="279940"/>
                  </a:lnTo>
                  <a:lnTo>
                    <a:pt x="178316" y="279806"/>
                  </a:lnTo>
                  <a:lnTo>
                    <a:pt x="171705" y="263320"/>
                  </a:lnTo>
                  <a:lnTo>
                    <a:pt x="155290" y="247799"/>
                  </a:lnTo>
                  <a:lnTo>
                    <a:pt x="137202" y="234569"/>
                  </a:lnTo>
                  <a:lnTo>
                    <a:pt x="124374" y="227600"/>
                  </a:lnTo>
                  <a:lnTo>
                    <a:pt x="125206" y="207446"/>
                  </a:lnTo>
                  <a:lnTo>
                    <a:pt x="121396" y="192435"/>
                  </a:lnTo>
                  <a:lnTo>
                    <a:pt x="109445" y="183821"/>
                  </a:lnTo>
                  <a:lnTo>
                    <a:pt x="92207" y="171378"/>
                  </a:lnTo>
                  <a:lnTo>
                    <a:pt x="88897" y="174974"/>
                  </a:lnTo>
                  <a:lnTo>
                    <a:pt x="82563" y="167692"/>
                  </a:lnTo>
                  <a:lnTo>
                    <a:pt x="67096" y="160912"/>
                  </a:lnTo>
                  <a:lnTo>
                    <a:pt x="52310" y="144595"/>
                  </a:lnTo>
                  <a:lnTo>
                    <a:pt x="54143" y="142466"/>
                  </a:lnTo>
                  <a:lnTo>
                    <a:pt x="64475" y="144067"/>
                  </a:lnTo>
                  <a:lnTo>
                    <a:pt x="73779" y="133511"/>
                  </a:lnTo>
                  <a:lnTo>
                    <a:pt x="74718" y="120728"/>
                  </a:lnTo>
                  <a:lnTo>
                    <a:pt x="55405" y="100386"/>
                  </a:lnTo>
                  <a:lnTo>
                    <a:pt x="40680" y="92461"/>
                  </a:lnTo>
                  <a:lnTo>
                    <a:pt x="31440" y="74489"/>
                  </a:lnTo>
                  <a:lnTo>
                    <a:pt x="22136" y="55498"/>
                  </a:lnTo>
                  <a:lnTo>
                    <a:pt x="10516" y="32159"/>
                  </a:lnTo>
                  <a:lnTo>
                    <a:pt x="327" y="5653"/>
                  </a:lnTo>
                  <a:lnTo>
                    <a:pt x="28828" y="3381"/>
                  </a:lnTo>
                  <a:lnTo>
                    <a:pt x="60683" y="161"/>
                  </a:lnTo>
                  <a:lnTo>
                    <a:pt x="58339" y="5958"/>
                  </a:lnTo>
                  <a:lnTo>
                    <a:pt x="96214" y="20315"/>
                  </a:lnTo>
                  <a:lnTo>
                    <a:pt x="153429" y="40970"/>
                  </a:lnTo>
                  <a:lnTo>
                    <a:pt x="203310" y="40765"/>
                  </a:lnTo>
                  <a:lnTo>
                    <a:pt x="223195" y="40756"/>
                  </a:lnTo>
                  <a:lnTo>
                    <a:pt x="223249" y="28670"/>
                  </a:lnTo>
                  <a:lnTo>
                    <a:pt x="266706" y="28679"/>
                  </a:lnTo>
                  <a:lnTo>
                    <a:pt x="275849" y="39065"/>
                  </a:lnTo>
                  <a:lnTo>
                    <a:pt x="288677" y="48297"/>
                  </a:lnTo>
                  <a:lnTo>
                    <a:pt x="303580" y="61080"/>
                  </a:lnTo>
                  <a:lnTo>
                    <a:pt x="311890" y="76189"/>
                  </a:lnTo>
                  <a:lnTo>
                    <a:pt x="318134" y="92013"/>
                  </a:lnTo>
                  <a:lnTo>
                    <a:pt x="331096" y="100664"/>
                  </a:lnTo>
                  <a:lnTo>
                    <a:pt x="351921" y="109233"/>
                  </a:lnTo>
                  <a:lnTo>
                    <a:pt x="367719" y="86610"/>
                  </a:lnTo>
                  <a:lnTo>
                    <a:pt x="388231" y="86056"/>
                  </a:lnTo>
                  <a:lnTo>
                    <a:pt x="405907" y="97497"/>
                  </a:lnTo>
                  <a:lnTo>
                    <a:pt x="418494" y="117034"/>
                  </a:lnTo>
                  <a:lnTo>
                    <a:pt x="427162" y="133655"/>
                  </a:lnTo>
                  <a:lnTo>
                    <a:pt x="441958" y="149739"/>
                  </a:lnTo>
                  <a:lnTo>
                    <a:pt x="447486" y="169374"/>
                  </a:lnTo>
                  <a:lnTo>
                    <a:pt x="454508" y="182488"/>
                  </a:lnTo>
                  <a:lnTo>
                    <a:pt x="474072" y="191103"/>
                  </a:lnTo>
                  <a:lnTo>
                    <a:pt x="491873" y="19720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/>
            <p:cNvSpPr/>
            <p:nvPr/>
          </p:nvSpPr>
          <p:spPr>
            <a:xfrm>
              <a:off x="8348036" y="4488075"/>
              <a:ext cx="478941" cy="153773"/>
            </a:xfrm>
            <a:custGeom>
              <a:avLst/>
              <a:gdLst>
                <a:gd name="connsiteX0" fmla="*/ 25384 w 478941"/>
                <a:gd name="connsiteY0" fmla="*/ 18326 h 153773"/>
                <a:gd name="connsiteX1" fmla="*/ 27353 w 478941"/>
                <a:gd name="connsiteY1" fmla="*/ 31190 h 153773"/>
                <a:gd name="connsiteX2" fmla="*/ 43920 w 478941"/>
                <a:gd name="connsiteY2" fmla="*/ 28202 h 153773"/>
                <a:gd name="connsiteX3" fmla="*/ 52114 w 478941"/>
                <a:gd name="connsiteY3" fmla="*/ 17915 h 153773"/>
                <a:gd name="connsiteX4" fmla="*/ 57883 w 478941"/>
                <a:gd name="connsiteY4" fmla="*/ 20259 h 153773"/>
                <a:gd name="connsiteX5" fmla="*/ 72697 w 478941"/>
                <a:gd name="connsiteY5" fmla="*/ 35377 h 153773"/>
                <a:gd name="connsiteX6" fmla="*/ 83226 w 478941"/>
                <a:gd name="connsiteY6" fmla="*/ 52131 h 153773"/>
                <a:gd name="connsiteX7" fmla="*/ 84658 w 478941"/>
                <a:gd name="connsiteY7" fmla="*/ 68958 h 153773"/>
                <a:gd name="connsiteX8" fmla="*/ 81992 w 478941"/>
                <a:gd name="connsiteY8" fmla="*/ 80319 h 153773"/>
                <a:gd name="connsiteX9" fmla="*/ 84425 w 478941"/>
                <a:gd name="connsiteY9" fmla="*/ 88897 h 153773"/>
                <a:gd name="connsiteX10" fmla="*/ 86258 w 478941"/>
                <a:gd name="connsiteY10" fmla="*/ 103666 h 153773"/>
                <a:gd name="connsiteX11" fmla="*/ 95088 w 478941"/>
                <a:gd name="connsiteY11" fmla="*/ 110536 h 153773"/>
                <a:gd name="connsiteX12" fmla="*/ 104955 w 478941"/>
                <a:gd name="connsiteY12" fmla="*/ 132587 h 153773"/>
                <a:gd name="connsiteX13" fmla="*/ 104472 w 478941"/>
                <a:gd name="connsiteY13" fmla="*/ 141014 h 153773"/>
                <a:gd name="connsiteX14" fmla="*/ 86688 w 478941"/>
                <a:gd name="connsiteY14" fmla="*/ 142678 h 153773"/>
                <a:gd name="connsiteX15" fmla="*/ 62964 w 478941"/>
                <a:gd name="connsiteY15" fmla="*/ 124214 h 153773"/>
                <a:gd name="connsiteX16" fmla="*/ 33293 w 478941"/>
                <a:gd name="connsiteY16" fmla="*/ 104427 h 153773"/>
                <a:gd name="connsiteX17" fmla="*/ 30358 w 478941"/>
                <a:gd name="connsiteY17" fmla="*/ 91715 h 153773"/>
                <a:gd name="connsiteX18" fmla="*/ 15857 w 478941"/>
                <a:gd name="connsiteY18" fmla="*/ 75023 h 153773"/>
                <a:gd name="connsiteX19" fmla="*/ 12396 w 478941"/>
                <a:gd name="connsiteY19" fmla="*/ 54332 h 153773"/>
                <a:gd name="connsiteX20" fmla="*/ 3343 w 478941"/>
                <a:gd name="connsiteY20" fmla="*/ 40699 h 153773"/>
                <a:gd name="connsiteX21" fmla="*/ 6098 w 478941"/>
                <a:gd name="connsiteY21" fmla="*/ 22468 h 153773"/>
                <a:gd name="connsiteX22" fmla="*/ 570 w 478941"/>
                <a:gd name="connsiteY22" fmla="*/ 11841 h 153773"/>
                <a:gd name="connsiteX23" fmla="*/ 4926 w 478941"/>
                <a:gd name="connsiteY23" fmla="*/ 7368 h 153773"/>
                <a:gd name="connsiteX24" fmla="*/ 25384 w 478941"/>
                <a:gd name="connsiteY24" fmla="*/ 18326 h 153773"/>
                <a:gd name="connsiteX25" fmla="*/ 465387 w 478941"/>
                <a:gd name="connsiteY25" fmla="*/ 61533 h 153773"/>
                <a:gd name="connsiteX26" fmla="*/ 446923 w 478941"/>
                <a:gd name="connsiteY26" fmla="*/ 70049 h 153773"/>
                <a:gd name="connsiteX27" fmla="*/ 425186 w 478941"/>
                <a:gd name="connsiteY27" fmla="*/ 65836 h 153773"/>
                <a:gd name="connsiteX28" fmla="*/ 396345 w 478941"/>
                <a:gd name="connsiteY28" fmla="*/ 65827 h 153773"/>
                <a:gd name="connsiteX29" fmla="*/ 387650 w 478941"/>
                <a:gd name="connsiteY29" fmla="*/ 94229 h 153773"/>
                <a:gd name="connsiteX30" fmla="*/ 377998 w 478941"/>
                <a:gd name="connsiteY30" fmla="*/ 102906 h 153773"/>
                <a:gd name="connsiteX31" fmla="*/ 365134 w 478941"/>
                <a:gd name="connsiteY31" fmla="*/ 137579 h 153773"/>
                <a:gd name="connsiteX32" fmla="*/ 344676 w 478941"/>
                <a:gd name="connsiteY32" fmla="*/ 142892 h 153773"/>
                <a:gd name="connsiteX33" fmla="*/ 320953 w 478941"/>
                <a:gd name="connsiteY33" fmla="*/ 135906 h 153773"/>
                <a:gd name="connsiteX34" fmla="*/ 308921 w 478941"/>
                <a:gd name="connsiteY34" fmla="*/ 138089 h 153773"/>
                <a:gd name="connsiteX35" fmla="*/ 294304 w 478941"/>
                <a:gd name="connsiteY35" fmla="*/ 150693 h 153773"/>
                <a:gd name="connsiteX36" fmla="*/ 278292 w 478941"/>
                <a:gd name="connsiteY36" fmla="*/ 148895 h 153773"/>
                <a:gd name="connsiteX37" fmla="*/ 262109 w 478941"/>
                <a:gd name="connsiteY37" fmla="*/ 153958 h 153773"/>
                <a:gd name="connsiteX38" fmla="*/ 244961 w 478941"/>
                <a:gd name="connsiteY38" fmla="*/ 139878 h 153773"/>
                <a:gd name="connsiteX39" fmla="*/ 240765 w 478941"/>
                <a:gd name="connsiteY39" fmla="*/ 123221 h 153773"/>
                <a:gd name="connsiteX40" fmla="*/ 259148 w 478941"/>
                <a:gd name="connsiteY40" fmla="*/ 131764 h 153773"/>
                <a:gd name="connsiteX41" fmla="*/ 278533 w 478941"/>
                <a:gd name="connsiteY41" fmla="*/ 127104 h 153773"/>
                <a:gd name="connsiteX42" fmla="*/ 283579 w 478941"/>
                <a:gd name="connsiteY42" fmla="*/ 105992 h 153773"/>
                <a:gd name="connsiteX43" fmla="*/ 294277 w 478941"/>
                <a:gd name="connsiteY43" fmla="*/ 101287 h 153773"/>
                <a:gd name="connsiteX44" fmla="*/ 324343 w 478941"/>
                <a:gd name="connsiteY44" fmla="*/ 95884 h 153773"/>
                <a:gd name="connsiteX45" fmla="*/ 342333 w 478941"/>
                <a:gd name="connsiteY45" fmla="*/ 76141 h 153773"/>
                <a:gd name="connsiteX46" fmla="*/ 354650 w 478941"/>
                <a:gd name="connsiteY46" fmla="*/ 60343 h 153773"/>
                <a:gd name="connsiteX47" fmla="*/ 366074 w 478941"/>
                <a:gd name="connsiteY47" fmla="*/ 73287 h 153773"/>
                <a:gd name="connsiteX48" fmla="*/ 371343 w 478941"/>
                <a:gd name="connsiteY48" fmla="*/ 64771 h 153773"/>
                <a:gd name="connsiteX49" fmla="*/ 383330 w 478941"/>
                <a:gd name="connsiteY49" fmla="*/ 65568 h 153773"/>
                <a:gd name="connsiteX50" fmla="*/ 384796 w 478941"/>
                <a:gd name="connsiteY50" fmla="*/ 49600 h 153773"/>
                <a:gd name="connsiteX51" fmla="*/ 385924 w 478941"/>
                <a:gd name="connsiteY51" fmla="*/ 37282 h 153773"/>
                <a:gd name="connsiteX52" fmla="*/ 405237 w 478941"/>
                <a:gd name="connsiteY52" fmla="*/ 19865 h 153773"/>
                <a:gd name="connsiteX53" fmla="*/ 417886 w 478941"/>
                <a:gd name="connsiteY53" fmla="*/ 265 h 153773"/>
                <a:gd name="connsiteX54" fmla="*/ 428030 w 478941"/>
                <a:gd name="connsiteY54" fmla="*/ 185 h 153773"/>
                <a:gd name="connsiteX55" fmla="*/ 440912 w 478941"/>
                <a:gd name="connsiteY55" fmla="*/ 12878 h 153773"/>
                <a:gd name="connsiteX56" fmla="*/ 442057 w 478941"/>
                <a:gd name="connsiteY56" fmla="*/ 23774 h 153773"/>
                <a:gd name="connsiteX57" fmla="*/ 458579 w 478941"/>
                <a:gd name="connsiteY57" fmla="*/ 30752 h 153773"/>
                <a:gd name="connsiteX58" fmla="*/ 479512 w 478941"/>
                <a:gd name="connsiteY58" fmla="*/ 38284 h 153773"/>
                <a:gd name="connsiteX59" fmla="*/ 477722 w 478941"/>
                <a:gd name="connsiteY59" fmla="*/ 48079 h 153773"/>
                <a:gd name="connsiteX60" fmla="*/ 460896 w 478941"/>
                <a:gd name="connsiteY60" fmla="*/ 49322 h 153773"/>
                <a:gd name="connsiteX61" fmla="*/ 465387 w 478941"/>
                <a:gd name="connsiteY61" fmla="*/ 61533 h 15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78941" h="153773">
                  <a:moveTo>
                    <a:pt x="25384" y="18326"/>
                  </a:moveTo>
                  <a:lnTo>
                    <a:pt x="27353" y="31190"/>
                  </a:lnTo>
                  <a:lnTo>
                    <a:pt x="43920" y="28202"/>
                  </a:lnTo>
                  <a:lnTo>
                    <a:pt x="52114" y="17915"/>
                  </a:lnTo>
                  <a:lnTo>
                    <a:pt x="57883" y="20259"/>
                  </a:lnTo>
                  <a:lnTo>
                    <a:pt x="72697" y="35377"/>
                  </a:lnTo>
                  <a:lnTo>
                    <a:pt x="83226" y="52131"/>
                  </a:lnTo>
                  <a:lnTo>
                    <a:pt x="84658" y="68958"/>
                  </a:lnTo>
                  <a:lnTo>
                    <a:pt x="81992" y="80319"/>
                  </a:lnTo>
                  <a:lnTo>
                    <a:pt x="84425" y="88897"/>
                  </a:lnTo>
                  <a:lnTo>
                    <a:pt x="86258" y="103666"/>
                  </a:lnTo>
                  <a:lnTo>
                    <a:pt x="95088" y="110536"/>
                  </a:lnTo>
                  <a:lnTo>
                    <a:pt x="104955" y="132587"/>
                  </a:lnTo>
                  <a:lnTo>
                    <a:pt x="104472" y="141014"/>
                  </a:lnTo>
                  <a:lnTo>
                    <a:pt x="86688" y="142678"/>
                  </a:lnTo>
                  <a:lnTo>
                    <a:pt x="62964" y="124214"/>
                  </a:lnTo>
                  <a:lnTo>
                    <a:pt x="33293" y="104427"/>
                  </a:lnTo>
                  <a:lnTo>
                    <a:pt x="30358" y="91715"/>
                  </a:lnTo>
                  <a:lnTo>
                    <a:pt x="15857" y="75023"/>
                  </a:lnTo>
                  <a:lnTo>
                    <a:pt x="12396" y="54332"/>
                  </a:lnTo>
                  <a:lnTo>
                    <a:pt x="3343" y="40699"/>
                  </a:lnTo>
                  <a:lnTo>
                    <a:pt x="6098" y="22468"/>
                  </a:lnTo>
                  <a:lnTo>
                    <a:pt x="570" y="11841"/>
                  </a:lnTo>
                  <a:lnTo>
                    <a:pt x="4926" y="7368"/>
                  </a:lnTo>
                  <a:lnTo>
                    <a:pt x="25384" y="18326"/>
                  </a:lnTo>
                  <a:close/>
                  <a:moveTo>
                    <a:pt x="465387" y="61533"/>
                  </a:moveTo>
                  <a:lnTo>
                    <a:pt x="446923" y="70049"/>
                  </a:lnTo>
                  <a:lnTo>
                    <a:pt x="425186" y="65836"/>
                  </a:lnTo>
                  <a:lnTo>
                    <a:pt x="396345" y="65827"/>
                  </a:lnTo>
                  <a:lnTo>
                    <a:pt x="387650" y="94229"/>
                  </a:lnTo>
                  <a:lnTo>
                    <a:pt x="377998" y="102906"/>
                  </a:lnTo>
                  <a:lnTo>
                    <a:pt x="365134" y="137579"/>
                  </a:lnTo>
                  <a:lnTo>
                    <a:pt x="344676" y="142892"/>
                  </a:lnTo>
                  <a:lnTo>
                    <a:pt x="320953" y="135906"/>
                  </a:lnTo>
                  <a:lnTo>
                    <a:pt x="308921" y="138089"/>
                  </a:lnTo>
                  <a:lnTo>
                    <a:pt x="294304" y="150693"/>
                  </a:lnTo>
                  <a:lnTo>
                    <a:pt x="278292" y="148895"/>
                  </a:lnTo>
                  <a:lnTo>
                    <a:pt x="262109" y="153958"/>
                  </a:lnTo>
                  <a:lnTo>
                    <a:pt x="244961" y="139878"/>
                  </a:lnTo>
                  <a:lnTo>
                    <a:pt x="240765" y="123221"/>
                  </a:lnTo>
                  <a:lnTo>
                    <a:pt x="259148" y="131764"/>
                  </a:lnTo>
                  <a:lnTo>
                    <a:pt x="278533" y="127104"/>
                  </a:lnTo>
                  <a:lnTo>
                    <a:pt x="283579" y="105992"/>
                  </a:lnTo>
                  <a:lnTo>
                    <a:pt x="294277" y="101287"/>
                  </a:lnTo>
                  <a:lnTo>
                    <a:pt x="324343" y="95884"/>
                  </a:lnTo>
                  <a:lnTo>
                    <a:pt x="342333" y="76141"/>
                  </a:lnTo>
                  <a:lnTo>
                    <a:pt x="354650" y="60343"/>
                  </a:lnTo>
                  <a:lnTo>
                    <a:pt x="366074" y="73287"/>
                  </a:lnTo>
                  <a:lnTo>
                    <a:pt x="371343" y="64771"/>
                  </a:lnTo>
                  <a:lnTo>
                    <a:pt x="383330" y="65568"/>
                  </a:lnTo>
                  <a:lnTo>
                    <a:pt x="384796" y="49600"/>
                  </a:lnTo>
                  <a:lnTo>
                    <a:pt x="385924" y="37282"/>
                  </a:lnTo>
                  <a:lnTo>
                    <a:pt x="405237" y="19865"/>
                  </a:lnTo>
                  <a:lnTo>
                    <a:pt x="417886" y="265"/>
                  </a:lnTo>
                  <a:lnTo>
                    <a:pt x="428030" y="185"/>
                  </a:lnTo>
                  <a:lnTo>
                    <a:pt x="440912" y="12878"/>
                  </a:lnTo>
                  <a:lnTo>
                    <a:pt x="442057" y="23774"/>
                  </a:lnTo>
                  <a:lnTo>
                    <a:pt x="458579" y="30752"/>
                  </a:lnTo>
                  <a:lnTo>
                    <a:pt x="479512" y="38284"/>
                  </a:lnTo>
                  <a:lnTo>
                    <a:pt x="477722" y="48079"/>
                  </a:lnTo>
                  <a:lnTo>
                    <a:pt x="460896" y="49322"/>
                  </a:lnTo>
                  <a:lnTo>
                    <a:pt x="465387" y="6153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>
              <a:off x="5905199" y="4312189"/>
              <a:ext cx="298108" cy="243174"/>
            </a:xfrm>
            <a:custGeom>
              <a:avLst/>
              <a:gdLst>
                <a:gd name="connsiteX0" fmla="*/ 146140 w 298108"/>
                <a:gd name="connsiteY0" fmla="*/ 230069 h 243174"/>
                <a:gd name="connsiteX1" fmla="*/ 120109 w 298108"/>
                <a:gd name="connsiteY1" fmla="*/ 239068 h 243174"/>
                <a:gd name="connsiteX2" fmla="*/ 110582 w 298108"/>
                <a:gd name="connsiteY2" fmla="*/ 237753 h 243174"/>
                <a:gd name="connsiteX3" fmla="*/ 100939 w 298108"/>
                <a:gd name="connsiteY3" fmla="*/ 243353 h 243174"/>
                <a:gd name="connsiteX4" fmla="*/ 80883 w 298108"/>
                <a:gd name="connsiteY4" fmla="*/ 242807 h 243174"/>
                <a:gd name="connsiteX5" fmla="*/ 67456 w 298108"/>
                <a:gd name="connsiteY5" fmla="*/ 227171 h 243174"/>
                <a:gd name="connsiteX6" fmla="*/ 59190 w 298108"/>
                <a:gd name="connsiteY6" fmla="*/ 209056 h 243174"/>
                <a:gd name="connsiteX7" fmla="*/ 41434 w 298108"/>
                <a:gd name="connsiteY7" fmla="*/ 192552 h 243174"/>
                <a:gd name="connsiteX8" fmla="*/ 22585 w 298108"/>
                <a:gd name="connsiteY8" fmla="*/ 192865 h 243174"/>
                <a:gd name="connsiteX9" fmla="*/ 454 w 298108"/>
                <a:gd name="connsiteY9" fmla="*/ 192847 h 243174"/>
                <a:gd name="connsiteX10" fmla="*/ 1894 w 298108"/>
                <a:gd name="connsiteY10" fmla="*/ 152386 h 243174"/>
                <a:gd name="connsiteX11" fmla="*/ 1259 w 298108"/>
                <a:gd name="connsiteY11" fmla="*/ 136365 h 243174"/>
                <a:gd name="connsiteX12" fmla="*/ 5982 w 298108"/>
                <a:gd name="connsiteY12" fmla="*/ 120460 h 243174"/>
                <a:gd name="connsiteX13" fmla="*/ 13711 w 298108"/>
                <a:gd name="connsiteY13" fmla="*/ 112722 h 243174"/>
                <a:gd name="connsiteX14" fmla="*/ 25886 w 298108"/>
                <a:gd name="connsiteY14" fmla="*/ 97067 h 243174"/>
                <a:gd name="connsiteX15" fmla="*/ 23238 w 298108"/>
                <a:gd name="connsiteY15" fmla="*/ 90260 h 243174"/>
                <a:gd name="connsiteX16" fmla="*/ 28176 w 298108"/>
                <a:gd name="connsiteY16" fmla="*/ 80053 h 243174"/>
                <a:gd name="connsiteX17" fmla="*/ 22541 w 298108"/>
                <a:gd name="connsiteY17" fmla="*/ 64989 h 243174"/>
                <a:gd name="connsiteX18" fmla="*/ 23515 w 298108"/>
                <a:gd name="connsiteY18" fmla="*/ 56544 h 243174"/>
                <a:gd name="connsiteX19" fmla="*/ 25260 w 298108"/>
                <a:gd name="connsiteY19" fmla="*/ 33796 h 243174"/>
                <a:gd name="connsiteX20" fmla="*/ 32443 w 298108"/>
                <a:gd name="connsiteY20" fmla="*/ 23491 h 243174"/>
                <a:gd name="connsiteX21" fmla="*/ 35977 w 298108"/>
                <a:gd name="connsiteY21" fmla="*/ 8766 h 243174"/>
                <a:gd name="connsiteX22" fmla="*/ 42507 w 298108"/>
                <a:gd name="connsiteY22" fmla="*/ 3220 h 243174"/>
                <a:gd name="connsiteX23" fmla="*/ 69469 w 298108"/>
                <a:gd name="connsiteY23" fmla="*/ 179 h 243174"/>
                <a:gd name="connsiteX24" fmla="*/ 94606 w 298108"/>
                <a:gd name="connsiteY24" fmla="*/ 9751 h 243174"/>
                <a:gd name="connsiteX25" fmla="*/ 104007 w 298108"/>
                <a:gd name="connsiteY25" fmla="*/ 19421 h 243174"/>
                <a:gd name="connsiteX26" fmla="*/ 116808 w 298108"/>
                <a:gd name="connsiteY26" fmla="*/ 19859 h 243174"/>
                <a:gd name="connsiteX27" fmla="*/ 128697 w 298108"/>
                <a:gd name="connsiteY27" fmla="*/ 13570 h 243174"/>
                <a:gd name="connsiteX28" fmla="*/ 159049 w 298108"/>
                <a:gd name="connsiteY28" fmla="*/ 26792 h 243174"/>
                <a:gd name="connsiteX29" fmla="*/ 171841 w 298108"/>
                <a:gd name="connsiteY29" fmla="*/ 26174 h 243174"/>
                <a:gd name="connsiteX30" fmla="*/ 186637 w 298108"/>
                <a:gd name="connsiteY30" fmla="*/ 15270 h 243174"/>
                <a:gd name="connsiteX31" fmla="*/ 201343 w 298108"/>
                <a:gd name="connsiteY31" fmla="*/ 16048 h 243174"/>
                <a:gd name="connsiteX32" fmla="*/ 208580 w 298108"/>
                <a:gd name="connsiteY32" fmla="*/ 12452 h 243174"/>
                <a:gd name="connsiteX33" fmla="*/ 222079 w 298108"/>
                <a:gd name="connsiteY33" fmla="*/ 13946 h 243174"/>
                <a:gd name="connsiteX34" fmla="*/ 241500 w 298108"/>
                <a:gd name="connsiteY34" fmla="*/ 21415 h 243174"/>
                <a:gd name="connsiteX35" fmla="*/ 261108 w 298108"/>
                <a:gd name="connsiteY35" fmla="*/ 7094 h 243174"/>
                <a:gd name="connsiteX36" fmla="*/ 267003 w 298108"/>
                <a:gd name="connsiteY36" fmla="*/ 8122 h 243174"/>
                <a:gd name="connsiteX37" fmla="*/ 283973 w 298108"/>
                <a:gd name="connsiteY37" fmla="*/ 36122 h 243174"/>
                <a:gd name="connsiteX38" fmla="*/ 288633 w 298108"/>
                <a:gd name="connsiteY38" fmla="*/ 35558 h 243174"/>
                <a:gd name="connsiteX39" fmla="*/ 298563 w 298108"/>
                <a:gd name="connsiteY39" fmla="*/ 45720 h 243174"/>
                <a:gd name="connsiteX40" fmla="*/ 295835 w 298108"/>
                <a:gd name="connsiteY40" fmla="*/ 50318 h 243174"/>
                <a:gd name="connsiteX41" fmla="*/ 294502 w 298108"/>
                <a:gd name="connsiteY41" fmla="*/ 58781 h 243174"/>
                <a:gd name="connsiteX42" fmla="*/ 273381 w 298108"/>
                <a:gd name="connsiteY42" fmla="*/ 78434 h 243174"/>
                <a:gd name="connsiteX43" fmla="*/ 266744 w 298108"/>
                <a:gd name="connsiteY43" fmla="*/ 94607 h 243174"/>
                <a:gd name="connsiteX44" fmla="*/ 263210 w 298108"/>
                <a:gd name="connsiteY44" fmla="*/ 107757 h 243174"/>
                <a:gd name="connsiteX45" fmla="*/ 257888 w 298108"/>
                <a:gd name="connsiteY45" fmla="*/ 113384 h 243174"/>
                <a:gd name="connsiteX46" fmla="*/ 252824 w 298108"/>
                <a:gd name="connsiteY46" fmla="*/ 131051 h 243174"/>
                <a:gd name="connsiteX47" fmla="*/ 239415 w 298108"/>
                <a:gd name="connsiteY47" fmla="*/ 141428 h 243174"/>
                <a:gd name="connsiteX48" fmla="*/ 235533 w 298108"/>
                <a:gd name="connsiteY48" fmla="*/ 154166 h 243174"/>
                <a:gd name="connsiteX49" fmla="*/ 229897 w 298108"/>
                <a:gd name="connsiteY49" fmla="*/ 164293 h 243174"/>
                <a:gd name="connsiteX50" fmla="*/ 227554 w 298108"/>
                <a:gd name="connsiteY50" fmla="*/ 174732 h 243174"/>
                <a:gd name="connsiteX51" fmla="*/ 210316 w 298108"/>
                <a:gd name="connsiteY51" fmla="*/ 183186 h 243174"/>
                <a:gd name="connsiteX52" fmla="*/ 196235 w 298108"/>
                <a:gd name="connsiteY52" fmla="*/ 172872 h 243174"/>
                <a:gd name="connsiteX53" fmla="*/ 186726 w 298108"/>
                <a:gd name="connsiteY53" fmla="*/ 173283 h 243174"/>
                <a:gd name="connsiteX54" fmla="*/ 171787 w 298108"/>
                <a:gd name="connsiteY54" fmla="*/ 187971 h 243174"/>
                <a:gd name="connsiteX55" fmla="*/ 164532 w 298108"/>
                <a:gd name="connsiteY55" fmla="*/ 188195 h 243174"/>
                <a:gd name="connsiteX56" fmla="*/ 152599 w 298108"/>
                <a:gd name="connsiteY56" fmla="*/ 212366 h 243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98108" h="243174">
                  <a:moveTo>
                    <a:pt x="146140" y="230069"/>
                  </a:moveTo>
                  <a:lnTo>
                    <a:pt x="120109" y="239068"/>
                  </a:lnTo>
                  <a:lnTo>
                    <a:pt x="110582" y="237753"/>
                  </a:lnTo>
                  <a:lnTo>
                    <a:pt x="100939" y="243353"/>
                  </a:lnTo>
                  <a:lnTo>
                    <a:pt x="80883" y="242807"/>
                  </a:lnTo>
                  <a:lnTo>
                    <a:pt x="67456" y="227171"/>
                  </a:lnTo>
                  <a:lnTo>
                    <a:pt x="59190" y="209056"/>
                  </a:lnTo>
                  <a:lnTo>
                    <a:pt x="41434" y="192552"/>
                  </a:lnTo>
                  <a:lnTo>
                    <a:pt x="22585" y="192865"/>
                  </a:lnTo>
                  <a:lnTo>
                    <a:pt x="454" y="192847"/>
                  </a:lnTo>
                  <a:lnTo>
                    <a:pt x="1894" y="152386"/>
                  </a:lnTo>
                  <a:lnTo>
                    <a:pt x="1259" y="136365"/>
                  </a:lnTo>
                  <a:lnTo>
                    <a:pt x="5982" y="120460"/>
                  </a:lnTo>
                  <a:lnTo>
                    <a:pt x="13711" y="112722"/>
                  </a:lnTo>
                  <a:lnTo>
                    <a:pt x="25886" y="97067"/>
                  </a:lnTo>
                  <a:lnTo>
                    <a:pt x="23238" y="90260"/>
                  </a:lnTo>
                  <a:lnTo>
                    <a:pt x="28176" y="80053"/>
                  </a:lnTo>
                  <a:lnTo>
                    <a:pt x="22541" y="64989"/>
                  </a:lnTo>
                  <a:lnTo>
                    <a:pt x="23515" y="56544"/>
                  </a:lnTo>
                  <a:lnTo>
                    <a:pt x="25260" y="33796"/>
                  </a:lnTo>
                  <a:lnTo>
                    <a:pt x="32443" y="23491"/>
                  </a:lnTo>
                  <a:lnTo>
                    <a:pt x="35977" y="8766"/>
                  </a:lnTo>
                  <a:lnTo>
                    <a:pt x="42507" y="3220"/>
                  </a:lnTo>
                  <a:lnTo>
                    <a:pt x="69469" y="179"/>
                  </a:lnTo>
                  <a:lnTo>
                    <a:pt x="94606" y="9751"/>
                  </a:lnTo>
                  <a:lnTo>
                    <a:pt x="104007" y="19421"/>
                  </a:lnTo>
                  <a:lnTo>
                    <a:pt x="116808" y="19859"/>
                  </a:lnTo>
                  <a:lnTo>
                    <a:pt x="128697" y="13570"/>
                  </a:lnTo>
                  <a:lnTo>
                    <a:pt x="159049" y="26792"/>
                  </a:lnTo>
                  <a:lnTo>
                    <a:pt x="171841" y="26174"/>
                  </a:lnTo>
                  <a:lnTo>
                    <a:pt x="186637" y="15270"/>
                  </a:lnTo>
                  <a:lnTo>
                    <a:pt x="201343" y="16048"/>
                  </a:lnTo>
                  <a:lnTo>
                    <a:pt x="208580" y="12452"/>
                  </a:lnTo>
                  <a:lnTo>
                    <a:pt x="222079" y="13946"/>
                  </a:lnTo>
                  <a:lnTo>
                    <a:pt x="241500" y="21415"/>
                  </a:lnTo>
                  <a:lnTo>
                    <a:pt x="261108" y="7094"/>
                  </a:lnTo>
                  <a:lnTo>
                    <a:pt x="267003" y="8122"/>
                  </a:lnTo>
                  <a:lnTo>
                    <a:pt x="283973" y="36122"/>
                  </a:lnTo>
                  <a:lnTo>
                    <a:pt x="288633" y="35558"/>
                  </a:lnTo>
                  <a:lnTo>
                    <a:pt x="298563" y="45720"/>
                  </a:lnTo>
                  <a:lnTo>
                    <a:pt x="295835" y="50318"/>
                  </a:lnTo>
                  <a:lnTo>
                    <a:pt x="294502" y="58781"/>
                  </a:lnTo>
                  <a:lnTo>
                    <a:pt x="273381" y="78434"/>
                  </a:lnTo>
                  <a:lnTo>
                    <a:pt x="266744" y="94607"/>
                  </a:lnTo>
                  <a:lnTo>
                    <a:pt x="263210" y="107757"/>
                  </a:lnTo>
                  <a:lnTo>
                    <a:pt x="257888" y="113384"/>
                  </a:lnTo>
                  <a:lnTo>
                    <a:pt x="252824" y="131051"/>
                  </a:lnTo>
                  <a:lnTo>
                    <a:pt x="239415" y="141428"/>
                  </a:lnTo>
                  <a:lnTo>
                    <a:pt x="235533" y="154166"/>
                  </a:lnTo>
                  <a:lnTo>
                    <a:pt x="229897" y="164293"/>
                  </a:lnTo>
                  <a:lnTo>
                    <a:pt x="227554" y="174732"/>
                  </a:lnTo>
                  <a:lnTo>
                    <a:pt x="210316" y="183186"/>
                  </a:lnTo>
                  <a:lnTo>
                    <a:pt x="196235" y="172872"/>
                  </a:lnTo>
                  <a:lnTo>
                    <a:pt x="186726" y="173283"/>
                  </a:lnTo>
                  <a:lnTo>
                    <a:pt x="171787" y="187971"/>
                  </a:lnTo>
                  <a:lnTo>
                    <a:pt x="164532" y="188195"/>
                  </a:lnTo>
                  <a:lnTo>
                    <a:pt x="152599" y="21236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/>
            <p:cNvSpPr/>
            <p:nvPr/>
          </p:nvSpPr>
          <p:spPr>
            <a:xfrm>
              <a:off x="3638794" y="4282579"/>
              <a:ext cx="113411" cy="109689"/>
            </a:xfrm>
            <a:custGeom>
              <a:avLst/>
              <a:gdLst>
                <a:gd name="connsiteX0" fmla="*/ 49412 w 113411"/>
                <a:gd name="connsiteY0" fmla="*/ 100686 h 109689"/>
                <a:gd name="connsiteX1" fmla="*/ 40735 w 113411"/>
                <a:gd name="connsiteY1" fmla="*/ 92680 h 109689"/>
                <a:gd name="connsiteX2" fmla="*/ 29008 w 113411"/>
                <a:gd name="connsiteY2" fmla="*/ 82419 h 109689"/>
                <a:gd name="connsiteX3" fmla="*/ 23488 w 113411"/>
                <a:gd name="connsiteY3" fmla="*/ 73831 h 109689"/>
                <a:gd name="connsiteX4" fmla="*/ 12915 w 113411"/>
                <a:gd name="connsiteY4" fmla="*/ 65816 h 109689"/>
                <a:gd name="connsiteX5" fmla="*/ 346 w 113411"/>
                <a:gd name="connsiteY5" fmla="*/ 54277 h 109689"/>
                <a:gd name="connsiteX6" fmla="*/ 3137 w 113411"/>
                <a:gd name="connsiteY6" fmla="*/ 50323 h 109689"/>
                <a:gd name="connsiteX7" fmla="*/ 7279 w 113411"/>
                <a:gd name="connsiteY7" fmla="*/ 54169 h 109689"/>
                <a:gd name="connsiteX8" fmla="*/ 9175 w 113411"/>
                <a:gd name="connsiteY8" fmla="*/ 52362 h 109689"/>
                <a:gd name="connsiteX9" fmla="*/ 16976 w 113411"/>
                <a:gd name="connsiteY9" fmla="*/ 51316 h 109689"/>
                <a:gd name="connsiteX10" fmla="*/ 20116 w 113411"/>
                <a:gd name="connsiteY10" fmla="*/ 45465 h 109689"/>
                <a:gd name="connsiteX11" fmla="*/ 23792 w 113411"/>
                <a:gd name="connsiteY11" fmla="*/ 45233 h 109689"/>
                <a:gd name="connsiteX12" fmla="*/ 23256 w 113411"/>
                <a:gd name="connsiteY12" fmla="*/ 32629 h 109689"/>
                <a:gd name="connsiteX13" fmla="*/ 29142 w 113411"/>
                <a:gd name="connsiteY13" fmla="*/ 32029 h 109689"/>
                <a:gd name="connsiteX14" fmla="*/ 34375 w 113411"/>
                <a:gd name="connsiteY14" fmla="*/ 32208 h 109689"/>
                <a:gd name="connsiteX15" fmla="*/ 39787 w 113411"/>
                <a:gd name="connsiteY15" fmla="*/ 25356 h 109689"/>
                <a:gd name="connsiteX16" fmla="*/ 47185 w 113411"/>
                <a:gd name="connsiteY16" fmla="*/ 30544 h 109689"/>
                <a:gd name="connsiteX17" fmla="*/ 49761 w 113411"/>
                <a:gd name="connsiteY17" fmla="*/ 27360 h 109689"/>
                <a:gd name="connsiteX18" fmla="*/ 54377 w 113411"/>
                <a:gd name="connsiteY18" fmla="*/ 24309 h 109689"/>
                <a:gd name="connsiteX19" fmla="*/ 63135 w 113411"/>
                <a:gd name="connsiteY19" fmla="*/ 17233 h 109689"/>
                <a:gd name="connsiteX20" fmla="*/ 63546 w 113411"/>
                <a:gd name="connsiteY20" fmla="*/ 11929 h 109689"/>
                <a:gd name="connsiteX21" fmla="*/ 65952 w 113411"/>
                <a:gd name="connsiteY21" fmla="*/ 12152 h 109689"/>
                <a:gd name="connsiteX22" fmla="*/ 69173 w 113411"/>
                <a:gd name="connsiteY22" fmla="*/ 5998 h 109689"/>
                <a:gd name="connsiteX23" fmla="*/ 71794 w 113411"/>
                <a:gd name="connsiteY23" fmla="*/ 5246 h 109689"/>
                <a:gd name="connsiteX24" fmla="*/ 76070 w 113411"/>
                <a:gd name="connsiteY24" fmla="*/ 9182 h 109689"/>
                <a:gd name="connsiteX25" fmla="*/ 81097 w 113411"/>
                <a:gd name="connsiteY25" fmla="*/ 10354 h 109689"/>
                <a:gd name="connsiteX26" fmla="*/ 86635 w 113411"/>
                <a:gd name="connsiteY26" fmla="*/ 7071 h 109689"/>
                <a:gd name="connsiteX27" fmla="*/ 92968 w 113411"/>
                <a:gd name="connsiteY27" fmla="*/ 7053 h 109689"/>
                <a:gd name="connsiteX28" fmla="*/ 101681 w 113411"/>
                <a:gd name="connsiteY28" fmla="*/ 3690 h 109689"/>
                <a:gd name="connsiteX29" fmla="*/ 105152 w 113411"/>
                <a:gd name="connsiteY29" fmla="*/ 174 h 109689"/>
                <a:gd name="connsiteX30" fmla="*/ 113757 w 113411"/>
                <a:gd name="connsiteY30" fmla="*/ 702 h 109689"/>
                <a:gd name="connsiteX31" fmla="*/ 111592 w 113411"/>
                <a:gd name="connsiteY31" fmla="*/ 3180 h 109689"/>
                <a:gd name="connsiteX32" fmla="*/ 110313 w 113411"/>
                <a:gd name="connsiteY32" fmla="*/ 8932 h 109689"/>
                <a:gd name="connsiteX33" fmla="*/ 112872 w 113411"/>
                <a:gd name="connsiteY33" fmla="*/ 18351 h 109689"/>
                <a:gd name="connsiteX34" fmla="*/ 107093 w 113411"/>
                <a:gd name="connsiteY34" fmla="*/ 27109 h 109689"/>
                <a:gd name="connsiteX35" fmla="*/ 104409 w 113411"/>
                <a:gd name="connsiteY35" fmla="*/ 37432 h 109689"/>
                <a:gd name="connsiteX36" fmla="*/ 103595 w 113411"/>
                <a:gd name="connsiteY36" fmla="*/ 48722 h 109689"/>
                <a:gd name="connsiteX37" fmla="*/ 104937 w 113411"/>
                <a:gd name="connsiteY37" fmla="*/ 55314 h 109689"/>
                <a:gd name="connsiteX38" fmla="*/ 105572 w 113411"/>
                <a:gd name="connsiteY38" fmla="*/ 66818 h 109689"/>
                <a:gd name="connsiteX39" fmla="*/ 101743 w 113411"/>
                <a:gd name="connsiteY39" fmla="*/ 69314 h 109689"/>
                <a:gd name="connsiteX40" fmla="*/ 99400 w 113411"/>
                <a:gd name="connsiteY40" fmla="*/ 80219 h 109689"/>
                <a:gd name="connsiteX41" fmla="*/ 101117 w 113411"/>
                <a:gd name="connsiteY41" fmla="*/ 86946 h 109689"/>
                <a:gd name="connsiteX42" fmla="*/ 95991 w 113411"/>
                <a:gd name="connsiteY42" fmla="*/ 93449 h 109689"/>
                <a:gd name="connsiteX43" fmla="*/ 97154 w 113411"/>
                <a:gd name="connsiteY43" fmla="*/ 100310 h 109689"/>
                <a:gd name="connsiteX44" fmla="*/ 101001 w 113411"/>
                <a:gd name="connsiteY44" fmla="*/ 104479 h 109689"/>
                <a:gd name="connsiteX45" fmla="*/ 94990 w 113411"/>
                <a:gd name="connsiteY45" fmla="*/ 109864 h 109689"/>
                <a:gd name="connsiteX46" fmla="*/ 87592 w 113411"/>
                <a:gd name="connsiteY46" fmla="*/ 108173 h 109689"/>
                <a:gd name="connsiteX47" fmla="*/ 83432 w 113411"/>
                <a:gd name="connsiteY47" fmla="*/ 102949 h 109689"/>
                <a:gd name="connsiteX48" fmla="*/ 75479 w 113411"/>
                <a:gd name="connsiteY48" fmla="*/ 100829 h 109689"/>
                <a:gd name="connsiteX49" fmla="*/ 69710 w 113411"/>
                <a:gd name="connsiteY49" fmla="*/ 104139 h 109689"/>
                <a:gd name="connsiteX50" fmla="*/ 53187 w 113411"/>
                <a:gd name="connsiteY50" fmla="*/ 97412 h 10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13411" h="109689">
                  <a:moveTo>
                    <a:pt x="49412" y="100686"/>
                  </a:moveTo>
                  <a:lnTo>
                    <a:pt x="40735" y="92680"/>
                  </a:lnTo>
                  <a:lnTo>
                    <a:pt x="29008" y="82419"/>
                  </a:lnTo>
                  <a:lnTo>
                    <a:pt x="23488" y="73831"/>
                  </a:lnTo>
                  <a:lnTo>
                    <a:pt x="12915" y="65816"/>
                  </a:lnTo>
                  <a:lnTo>
                    <a:pt x="346" y="54277"/>
                  </a:lnTo>
                  <a:lnTo>
                    <a:pt x="3137" y="50323"/>
                  </a:lnTo>
                  <a:lnTo>
                    <a:pt x="7279" y="54169"/>
                  </a:lnTo>
                  <a:lnTo>
                    <a:pt x="9175" y="52362"/>
                  </a:lnTo>
                  <a:lnTo>
                    <a:pt x="16976" y="51316"/>
                  </a:lnTo>
                  <a:lnTo>
                    <a:pt x="20116" y="45465"/>
                  </a:lnTo>
                  <a:lnTo>
                    <a:pt x="23792" y="45233"/>
                  </a:lnTo>
                  <a:lnTo>
                    <a:pt x="23256" y="32629"/>
                  </a:lnTo>
                  <a:lnTo>
                    <a:pt x="29142" y="32029"/>
                  </a:lnTo>
                  <a:lnTo>
                    <a:pt x="34375" y="32208"/>
                  </a:lnTo>
                  <a:lnTo>
                    <a:pt x="39787" y="25356"/>
                  </a:lnTo>
                  <a:lnTo>
                    <a:pt x="47185" y="30544"/>
                  </a:lnTo>
                  <a:lnTo>
                    <a:pt x="49761" y="27360"/>
                  </a:lnTo>
                  <a:lnTo>
                    <a:pt x="54377" y="24309"/>
                  </a:lnTo>
                  <a:lnTo>
                    <a:pt x="63135" y="17233"/>
                  </a:lnTo>
                  <a:lnTo>
                    <a:pt x="63546" y="11929"/>
                  </a:lnTo>
                  <a:lnTo>
                    <a:pt x="65952" y="12152"/>
                  </a:lnTo>
                  <a:lnTo>
                    <a:pt x="69173" y="5998"/>
                  </a:lnTo>
                  <a:lnTo>
                    <a:pt x="71794" y="5246"/>
                  </a:lnTo>
                  <a:lnTo>
                    <a:pt x="76070" y="9182"/>
                  </a:lnTo>
                  <a:lnTo>
                    <a:pt x="81097" y="10354"/>
                  </a:lnTo>
                  <a:lnTo>
                    <a:pt x="86635" y="7071"/>
                  </a:lnTo>
                  <a:lnTo>
                    <a:pt x="92968" y="7053"/>
                  </a:lnTo>
                  <a:lnTo>
                    <a:pt x="101681" y="3690"/>
                  </a:lnTo>
                  <a:lnTo>
                    <a:pt x="105152" y="174"/>
                  </a:lnTo>
                  <a:lnTo>
                    <a:pt x="113757" y="702"/>
                  </a:lnTo>
                  <a:lnTo>
                    <a:pt x="111592" y="3180"/>
                  </a:lnTo>
                  <a:lnTo>
                    <a:pt x="110313" y="8932"/>
                  </a:lnTo>
                  <a:lnTo>
                    <a:pt x="112872" y="18351"/>
                  </a:lnTo>
                  <a:lnTo>
                    <a:pt x="107093" y="27109"/>
                  </a:lnTo>
                  <a:lnTo>
                    <a:pt x="104409" y="37432"/>
                  </a:lnTo>
                  <a:lnTo>
                    <a:pt x="103595" y="48722"/>
                  </a:lnTo>
                  <a:lnTo>
                    <a:pt x="104937" y="55314"/>
                  </a:lnTo>
                  <a:lnTo>
                    <a:pt x="105572" y="66818"/>
                  </a:lnTo>
                  <a:lnTo>
                    <a:pt x="101743" y="69314"/>
                  </a:lnTo>
                  <a:lnTo>
                    <a:pt x="99400" y="80219"/>
                  </a:lnTo>
                  <a:lnTo>
                    <a:pt x="101117" y="86946"/>
                  </a:lnTo>
                  <a:lnTo>
                    <a:pt x="95991" y="93449"/>
                  </a:lnTo>
                  <a:lnTo>
                    <a:pt x="97154" y="100310"/>
                  </a:lnTo>
                  <a:lnTo>
                    <a:pt x="101001" y="104479"/>
                  </a:lnTo>
                  <a:lnTo>
                    <a:pt x="94990" y="109864"/>
                  </a:lnTo>
                  <a:lnTo>
                    <a:pt x="87592" y="108173"/>
                  </a:lnTo>
                  <a:lnTo>
                    <a:pt x="83432" y="102949"/>
                  </a:lnTo>
                  <a:lnTo>
                    <a:pt x="75479" y="100829"/>
                  </a:lnTo>
                  <a:lnTo>
                    <a:pt x="69710" y="104139"/>
                  </a:lnTo>
                  <a:lnTo>
                    <a:pt x="53187" y="9741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/>
            <p:cNvSpPr/>
            <p:nvPr/>
          </p:nvSpPr>
          <p:spPr>
            <a:xfrm>
              <a:off x="5920836" y="3074087"/>
              <a:ext cx="94732" cy="110423"/>
            </a:xfrm>
            <a:custGeom>
              <a:avLst/>
              <a:gdLst>
                <a:gd name="connsiteX0" fmla="*/ 40973 w 94732"/>
                <a:gd name="connsiteY0" fmla="*/ 14772 h 110423"/>
                <a:gd name="connsiteX1" fmla="*/ 39444 w 94732"/>
                <a:gd name="connsiteY1" fmla="*/ 22894 h 110423"/>
                <a:gd name="connsiteX2" fmla="*/ 43773 w 94732"/>
                <a:gd name="connsiteY2" fmla="*/ 24308 h 110423"/>
                <a:gd name="connsiteX3" fmla="*/ 45669 w 94732"/>
                <a:gd name="connsiteY3" fmla="*/ 27958 h 110423"/>
                <a:gd name="connsiteX4" fmla="*/ 46430 w 94732"/>
                <a:gd name="connsiteY4" fmla="*/ 31276 h 110423"/>
                <a:gd name="connsiteX5" fmla="*/ 49919 w 94732"/>
                <a:gd name="connsiteY5" fmla="*/ 32520 h 110423"/>
                <a:gd name="connsiteX6" fmla="*/ 50187 w 94732"/>
                <a:gd name="connsiteY6" fmla="*/ 34282 h 110423"/>
                <a:gd name="connsiteX7" fmla="*/ 47074 w 94732"/>
                <a:gd name="connsiteY7" fmla="*/ 36652 h 110423"/>
                <a:gd name="connsiteX8" fmla="*/ 43630 w 94732"/>
                <a:gd name="connsiteY8" fmla="*/ 36867 h 110423"/>
                <a:gd name="connsiteX9" fmla="*/ 43630 w 94732"/>
                <a:gd name="connsiteY9" fmla="*/ 39479 h 110423"/>
                <a:gd name="connsiteX10" fmla="*/ 46018 w 94732"/>
                <a:gd name="connsiteY10" fmla="*/ 43639 h 110423"/>
                <a:gd name="connsiteX11" fmla="*/ 42574 w 94732"/>
                <a:gd name="connsiteY11" fmla="*/ 47682 h 110423"/>
                <a:gd name="connsiteX12" fmla="*/ 46054 w 94732"/>
                <a:gd name="connsiteY12" fmla="*/ 48800 h 110423"/>
                <a:gd name="connsiteX13" fmla="*/ 53139 w 94732"/>
                <a:gd name="connsiteY13" fmla="*/ 41903 h 110423"/>
                <a:gd name="connsiteX14" fmla="*/ 57424 w 94732"/>
                <a:gd name="connsiteY14" fmla="*/ 35570 h 110423"/>
                <a:gd name="connsiteX15" fmla="*/ 57424 w 94732"/>
                <a:gd name="connsiteY15" fmla="*/ 31276 h 110423"/>
                <a:gd name="connsiteX16" fmla="*/ 55930 w 94732"/>
                <a:gd name="connsiteY16" fmla="*/ 28297 h 110423"/>
                <a:gd name="connsiteX17" fmla="*/ 51833 w 94732"/>
                <a:gd name="connsiteY17" fmla="*/ 26249 h 110423"/>
                <a:gd name="connsiteX18" fmla="*/ 52772 w 94732"/>
                <a:gd name="connsiteY18" fmla="*/ 21588 h 110423"/>
                <a:gd name="connsiteX19" fmla="*/ 51833 w 94732"/>
                <a:gd name="connsiteY19" fmla="*/ 17491 h 110423"/>
                <a:gd name="connsiteX20" fmla="*/ 55554 w 94732"/>
                <a:gd name="connsiteY20" fmla="*/ 8546 h 110423"/>
                <a:gd name="connsiteX21" fmla="*/ 59240 w 94732"/>
                <a:gd name="connsiteY21" fmla="*/ 3885 h 110423"/>
                <a:gd name="connsiteX22" fmla="*/ 69652 w 94732"/>
                <a:gd name="connsiteY22" fmla="*/ 119 h 110423"/>
                <a:gd name="connsiteX23" fmla="*/ 90496 w 94732"/>
                <a:gd name="connsiteY23" fmla="*/ 1309 h 110423"/>
                <a:gd name="connsiteX24" fmla="*/ 95183 w 94732"/>
                <a:gd name="connsiteY24" fmla="*/ 15470 h 110423"/>
                <a:gd name="connsiteX25" fmla="*/ 88930 w 94732"/>
                <a:gd name="connsiteY25" fmla="*/ 53264 h 110423"/>
                <a:gd name="connsiteX26" fmla="*/ 82579 w 94732"/>
                <a:gd name="connsiteY26" fmla="*/ 68570 h 110423"/>
                <a:gd name="connsiteX27" fmla="*/ 67506 w 94732"/>
                <a:gd name="connsiteY27" fmla="*/ 68588 h 110423"/>
                <a:gd name="connsiteX28" fmla="*/ 71719 w 94732"/>
                <a:gd name="connsiteY28" fmla="*/ 110542 h 110423"/>
                <a:gd name="connsiteX29" fmla="*/ 57934 w 94732"/>
                <a:gd name="connsiteY29" fmla="*/ 101275 h 110423"/>
                <a:gd name="connsiteX30" fmla="*/ 42056 w 94732"/>
                <a:gd name="connsiteY30" fmla="*/ 83777 h 110423"/>
                <a:gd name="connsiteX31" fmla="*/ 18815 w 94732"/>
                <a:gd name="connsiteY31" fmla="*/ 92106 h 110423"/>
                <a:gd name="connsiteX32" fmla="*/ 450 w 94732"/>
                <a:gd name="connsiteY32" fmla="*/ 88957 h 110423"/>
                <a:gd name="connsiteX33" fmla="*/ 6730 w 94732"/>
                <a:gd name="connsiteY33" fmla="*/ 77873 h 110423"/>
                <a:gd name="connsiteX34" fmla="*/ 14933 w 94732"/>
                <a:gd name="connsiteY34" fmla="*/ 67058 h 110423"/>
                <a:gd name="connsiteX35" fmla="*/ 26374 w 94732"/>
                <a:gd name="connsiteY35" fmla="*/ 55885 h 110423"/>
                <a:gd name="connsiteX36" fmla="*/ 33146 w 94732"/>
                <a:gd name="connsiteY36" fmla="*/ 37171 h 110423"/>
                <a:gd name="connsiteX37" fmla="*/ 35337 w 94732"/>
                <a:gd name="connsiteY37" fmla="*/ 17652 h 11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4732" h="110423">
                  <a:moveTo>
                    <a:pt x="40973" y="14772"/>
                  </a:moveTo>
                  <a:lnTo>
                    <a:pt x="39444" y="22894"/>
                  </a:lnTo>
                  <a:lnTo>
                    <a:pt x="43773" y="24308"/>
                  </a:lnTo>
                  <a:lnTo>
                    <a:pt x="45669" y="27958"/>
                  </a:lnTo>
                  <a:lnTo>
                    <a:pt x="46430" y="31276"/>
                  </a:lnTo>
                  <a:lnTo>
                    <a:pt x="49919" y="32520"/>
                  </a:lnTo>
                  <a:lnTo>
                    <a:pt x="50187" y="34282"/>
                  </a:lnTo>
                  <a:lnTo>
                    <a:pt x="47074" y="36652"/>
                  </a:lnTo>
                  <a:lnTo>
                    <a:pt x="43630" y="36867"/>
                  </a:lnTo>
                  <a:lnTo>
                    <a:pt x="43630" y="39479"/>
                  </a:lnTo>
                  <a:lnTo>
                    <a:pt x="46018" y="43639"/>
                  </a:lnTo>
                  <a:lnTo>
                    <a:pt x="42574" y="47682"/>
                  </a:lnTo>
                  <a:lnTo>
                    <a:pt x="46054" y="48800"/>
                  </a:lnTo>
                  <a:lnTo>
                    <a:pt x="53139" y="41903"/>
                  </a:lnTo>
                  <a:lnTo>
                    <a:pt x="57424" y="35570"/>
                  </a:lnTo>
                  <a:lnTo>
                    <a:pt x="57424" y="31276"/>
                  </a:lnTo>
                  <a:lnTo>
                    <a:pt x="55930" y="28297"/>
                  </a:lnTo>
                  <a:lnTo>
                    <a:pt x="51833" y="26249"/>
                  </a:lnTo>
                  <a:lnTo>
                    <a:pt x="52772" y="21588"/>
                  </a:lnTo>
                  <a:lnTo>
                    <a:pt x="51833" y="17491"/>
                  </a:lnTo>
                  <a:lnTo>
                    <a:pt x="55554" y="8546"/>
                  </a:lnTo>
                  <a:lnTo>
                    <a:pt x="59240" y="3885"/>
                  </a:lnTo>
                  <a:lnTo>
                    <a:pt x="69652" y="119"/>
                  </a:lnTo>
                  <a:lnTo>
                    <a:pt x="90496" y="1309"/>
                  </a:lnTo>
                  <a:lnTo>
                    <a:pt x="95183" y="15470"/>
                  </a:lnTo>
                  <a:lnTo>
                    <a:pt x="88930" y="53264"/>
                  </a:lnTo>
                  <a:lnTo>
                    <a:pt x="82579" y="68570"/>
                  </a:lnTo>
                  <a:lnTo>
                    <a:pt x="67506" y="68588"/>
                  </a:lnTo>
                  <a:lnTo>
                    <a:pt x="71719" y="110542"/>
                  </a:lnTo>
                  <a:lnTo>
                    <a:pt x="57934" y="101275"/>
                  </a:lnTo>
                  <a:lnTo>
                    <a:pt x="42056" y="83777"/>
                  </a:lnTo>
                  <a:lnTo>
                    <a:pt x="18815" y="92106"/>
                  </a:lnTo>
                  <a:lnTo>
                    <a:pt x="450" y="88957"/>
                  </a:lnTo>
                  <a:lnTo>
                    <a:pt x="6730" y="77873"/>
                  </a:lnTo>
                  <a:lnTo>
                    <a:pt x="14933" y="67058"/>
                  </a:lnTo>
                  <a:lnTo>
                    <a:pt x="26374" y="55885"/>
                  </a:lnTo>
                  <a:lnTo>
                    <a:pt x="33146" y="37171"/>
                  </a:lnTo>
                  <a:lnTo>
                    <a:pt x="35337" y="1765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/>
            <p:cNvSpPr/>
            <p:nvPr/>
          </p:nvSpPr>
          <p:spPr>
            <a:xfrm>
              <a:off x="5962888" y="2086781"/>
              <a:ext cx="659694" cy="783616"/>
            </a:xfrm>
            <a:custGeom>
              <a:avLst/>
              <a:gdLst>
                <a:gd name="connsiteX0" fmla="*/ 581707 w 659694"/>
                <a:gd name="connsiteY0" fmla="*/ 89 h 783616"/>
                <a:gd name="connsiteX1" fmla="*/ 660160 w 659694"/>
                <a:gd name="connsiteY1" fmla="*/ 55909 h 783616"/>
                <a:gd name="connsiteX2" fmla="*/ 627857 w 659694"/>
                <a:gd name="connsiteY2" fmla="*/ 75822 h 783616"/>
                <a:gd name="connsiteX3" fmla="*/ 655338 w 659694"/>
                <a:gd name="connsiteY3" fmla="*/ 121578 h 783616"/>
                <a:gd name="connsiteX4" fmla="*/ 612659 w 659694"/>
                <a:gd name="connsiteY4" fmla="*/ 150096 h 783616"/>
                <a:gd name="connsiteX5" fmla="*/ 592397 w 659694"/>
                <a:gd name="connsiteY5" fmla="*/ 156573 h 783616"/>
                <a:gd name="connsiteX6" fmla="*/ 603025 w 659694"/>
                <a:gd name="connsiteY6" fmla="*/ 106550 h 783616"/>
                <a:gd name="connsiteX7" fmla="*/ 570839 w 659694"/>
                <a:gd name="connsiteY7" fmla="*/ 77459 h 783616"/>
                <a:gd name="connsiteX8" fmla="*/ 531890 w 659694"/>
                <a:gd name="connsiteY8" fmla="*/ 102283 h 783616"/>
                <a:gd name="connsiteX9" fmla="*/ 519590 w 659694"/>
                <a:gd name="connsiteY9" fmla="*/ 154650 h 783616"/>
                <a:gd name="connsiteX10" fmla="*/ 495679 w 659694"/>
                <a:gd name="connsiteY10" fmla="*/ 185413 h 783616"/>
                <a:gd name="connsiteX11" fmla="*/ 468744 w 659694"/>
                <a:gd name="connsiteY11" fmla="*/ 168685 h 783616"/>
                <a:gd name="connsiteX12" fmla="*/ 435994 w 659694"/>
                <a:gd name="connsiteY12" fmla="*/ 172120 h 783616"/>
                <a:gd name="connsiteX13" fmla="*/ 408120 w 659694"/>
                <a:gd name="connsiteY13" fmla="*/ 134970 h 783616"/>
                <a:gd name="connsiteX14" fmla="*/ 393083 w 659694"/>
                <a:gd name="connsiteY14" fmla="*/ 153648 h 783616"/>
                <a:gd name="connsiteX15" fmla="*/ 377527 w 659694"/>
                <a:gd name="connsiteY15" fmla="*/ 156537 h 783616"/>
                <a:gd name="connsiteX16" fmla="*/ 373841 w 659694"/>
                <a:gd name="connsiteY16" fmla="*/ 202007 h 783616"/>
                <a:gd name="connsiteX17" fmla="*/ 326573 w 659694"/>
                <a:gd name="connsiteY17" fmla="*/ 191058 h 783616"/>
                <a:gd name="connsiteX18" fmla="*/ 319935 w 659694"/>
                <a:gd name="connsiteY18" fmla="*/ 228781 h 783616"/>
                <a:gd name="connsiteX19" fmla="*/ 295854 w 659694"/>
                <a:gd name="connsiteY19" fmla="*/ 228557 h 783616"/>
                <a:gd name="connsiteX20" fmla="*/ 279296 w 659694"/>
                <a:gd name="connsiteY20" fmla="*/ 275459 h 783616"/>
                <a:gd name="connsiteX21" fmla="*/ 254204 w 659694"/>
                <a:gd name="connsiteY21" fmla="*/ 345833 h 783616"/>
                <a:gd name="connsiteX22" fmla="*/ 215255 w 659694"/>
                <a:gd name="connsiteY22" fmla="*/ 430815 h 783616"/>
                <a:gd name="connsiteX23" fmla="*/ 224389 w 659694"/>
                <a:gd name="connsiteY23" fmla="*/ 450782 h 783616"/>
                <a:gd name="connsiteX24" fmla="*/ 215658 w 659694"/>
                <a:gd name="connsiteY24" fmla="*/ 473628 h 783616"/>
                <a:gd name="connsiteX25" fmla="*/ 190780 w 659694"/>
                <a:gd name="connsiteY25" fmla="*/ 472653 h 783616"/>
                <a:gd name="connsiteX26" fmla="*/ 174491 w 659694"/>
                <a:gd name="connsiteY26" fmla="*/ 525485 h 783616"/>
                <a:gd name="connsiteX27" fmla="*/ 176029 w 659694"/>
                <a:gd name="connsiteY27" fmla="*/ 597443 h 783616"/>
                <a:gd name="connsiteX28" fmla="*/ 192060 w 659694"/>
                <a:gd name="connsiteY28" fmla="*/ 624083 h 783616"/>
                <a:gd name="connsiteX29" fmla="*/ 183758 w 659694"/>
                <a:gd name="connsiteY29" fmla="*/ 684259 h 783616"/>
                <a:gd name="connsiteX30" fmla="*/ 162888 w 659694"/>
                <a:gd name="connsiteY30" fmla="*/ 718359 h 783616"/>
                <a:gd name="connsiteX31" fmla="*/ 151832 w 659694"/>
                <a:gd name="connsiteY31" fmla="*/ 746493 h 783616"/>
                <a:gd name="connsiteX32" fmla="*/ 135005 w 659694"/>
                <a:gd name="connsiteY32" fmla="*/ 716517 h 783616"/>
                <a:gd name="connsiteX33" fmla="*/ 85483 w 659694"/>
                <a:gd name="connsiteY33" fmla="*/ 772569 h 783616"/>
                <a:gd name="connsiteX34" fmla="*/ 52045 w 659694"/>
                <a:gd name="connsiteY34" fmla="*/ 783706 h 783616"/>
                <a:gd name="connsiteX35" fmla="*/ 17363 w 659694"/>
                <a:gd name="connsiteY35" fmla="*/ 759419 h 783616"/>
                <a:gd name="connsiteX36" fmla="*/ 8399 w 659694"/>
                <a:gd name="connsiteY36" fmla="*/ 706963 h 783616"/>
                <a:gd name="connsiteX37" fmla="*/ 465 w 659694"/>
                <a:gd name="connsiteY37" fmla="*/ 588381 h 783616"/>
                <a:gd name="connsiteX38" fmla="*/ 23562 w 659694"/>
                <a:gd name="connsiteY38" fmla="*/ 553717 h 783616"/>
                <a:gd name="connsiteX39" fmla="*/ 89786 w 659694"/>
                <a:gd name="connsiteY39" fmla="*/ 507344 h 783616"/>
                <a:gd name="connsiteX40" fmla="*/ 139308 w 659694"/>
                <a:gd name="connsiteY40" fmla="*/ 448429 h 783616"/>
                <a:gd name="connsiteX41" fmla="*/ 185225 w 659694"/>
                <a:gd name="connsiteY41" fmla="*/ 365227 h 783616"/>
                <a:gd name="connsiteX42" fmla="*/ 245491 w 659694"/>
                <a:gd name="connsiteY42" fmla="*/ 242119 h 783616"/>
                <a:gd name="connsiteX43" fmla="*/ 287499 w 659694"/>
                <a:gd name="connsiteY43" fmla="*/ 191362 h 783616"/>
                <a:gd name="connsiteX44" fmla="*/ 356424 w 659694"/>
                <a:gd name="connsiteY44" fmla="*/ 102864 h 783616"/>
                <a:gd name="connsiteX45" fmla="*/ 411466 w 659694"/>
                <a:gd name="connsiteY45" fmla="*/ 70732 h 783616"/>
                <a:gd name="connsiteX46" fmla="*/ 452732 w 659694"/>
                <a:gd name="connsiteY46" fmla="*/ 74668 h 783616"/>
                <a:gd name="connsiteX47" fmla="*/ 490929 w 659694"/>
                <a:gd name="connsiteY47" fmla="*/ 12094 h 783616"/>
                <a:gd name="connsiteX48" fmla="*/ 536667 w 659694"/>
                <a:gd name="connsiteY48" fmla="*/ 15502 h 783616"/>
                <a:gd name="connsiteX49" fmla="*/ 581707 w 659694"/>
                <a:gd name="connsiteY49" fmla="*/ 89 h 783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59694" h="783616">
                  <a:moveTo>
                    <a:pt x="581707" y="89"/>
                  </a:moveTo>
                  <a:lnTo>
                    <a:pt x="660160" y="55909"/>
                  </a:lnTo>
                  <a:lnTo>
                    <a:pt x="627857" y="75822"/>
                  </a:lnTo>
                  <a:lnTo>
                    <a:pt x="655338" y="121578"/>
                  </a:lnTo>
                  <a:lnTo>
                    <a:pt x="612659" y="150096"/>
                  </a:lnTo>
                  <a:lnTo>
                    <a:pt x="592397" y="156573"/>
                  </a:lnTo>
                  <a:lnTo>
                    <a:pt x="603025" y="106550"/>
                  </a:lnTo>
                  <a:lnTo>
                    <a:pt x="570839" y="77459"/>
                  </a:lnTo>
                  <a:lnTo>
                    <a:pt x="531890" y="102283"/>
                  </a:lnTo>
                  <a:lnTo>
                    <a:pt x="519590" y="154650"/>
                  </a:lnTo>
                  <a:lnTo>
                    <a:pt x="495679" y="185413"/>
                  </a:lnTo>
                  <a:lnTo>
                    <a:pt x="468744" y="168685"/>
                  </a:lnTo>
                  <a:lnTo>
                    <a:pt x="435994" y="172120"/>
                  </a:lnTo>
                  <a:lnTo>
                    <a:pt x="408120" y="134970"/>
                  </a:lnTo>
                  <a:lnTo>
                    <a:pt x="393083" y="153648"/>
                  </a:lnTo>
                  <a:lnTo>
                    <a:pt x="377527" y="156537"/>
                  </a:lnTo>
                  <a:lnTo>
                    <a:pt x="373841" y="202007"/>
                  </a:lnTo>
                  <a:lnTo>
                    <a:pt x="326573" y="191058"/>
                  </a:lnTo>
                  <a:lnTo>
                    <a:pt x="319935" y="228781"/>
                  </a:lnTo>
                  <a:lnTo>
                    <a:pt x="295854" y="228557"/>
                  </a:lnTo>
                  <a:lnTo>
                    <a:pt x="279296" y="275459"/>
                  </a:lnTo>
                  <a:lnTo>
                    <a:pt x="254204" y="345833"/>
                  </a:lnTo>
                  <a:lnTo>
                    <a:pt x="215255" y="430815"/>
                  </a:lnTo>
                  <a:lnTo>
                    <a:pt x="224389" y="450782"/>
                  </a:lnTo>
                  <a:lnTo>
                    <a:pt x="215658" y="473628"/>
                  </a:lnTo>
                  <a:lnTo>
                    <a:pt x="190780" y="472653"/>
                  </a:lnTo>
                  <a:lnTo>
                    <a:pt x="174491" y="525485"/>
                  </a:lnTo>
                  <a:lnTo>
                    <a:pt x="176029" y="597443"/>
                  </a:lnTo>
                  <a:lnTo>
                    <a:pt x="192060" y="624083"/>
                  </a:lnTo>
                  <a:lnTo>
                    <a:pt x="183758" y="684259"/>
                  </a:lnTo>
                  <a:lnTo>
                    <a:pt x="162888" y="718359"/>
                  </a:lnTo>
                  <a:lnTo>
                    <a:pt x="151832" y="746493"/>
                  </a:lnTo>
                  <a:lnTo>
                    <a:pt x="135005" y="716517"/>
                  </a:lnTo>
                  <a:lnTo>
                    <a:pt x="85483" y="772569"/>
                  </a:lnTo>
                  <a:lnTo>
                    <a:pt x="52045" y="783706"/>
                  </a:lnTo>
                  <a:lnTo>
                    <a:pt x="17363" y="759419"/>
                  </a:lnTo>
                  <a:lnTo>
                    <a:pt x="8399" y="706963"/>
                  </a:lnTo>
                  <a:lnTo>
                    <a:pt x="465" y="588381"/>
                  </a:lnTo>
                  <a:lnTo>
                    <a:pt x="23562" y="553717"/>
                  </a:lnTo>
                  <a:lnTo>
                    <a:pt x="89786" y="507344"/>
                  </a:lnTo>
                  <a:lnTo>
                    <a:pt x="139308" y="448429"/>
                  </a:lnTo>
                  <a:lnTo>
                    <a:pt x="185225" y="365227"/>
                  </a:lnTo>
                  <a:lnTo>
                    <a:pt x="245491" y="242119"/>
                  </a:lnTo>
                  <a:lnTo>
                    <a:pt x="287499" y="191362"/>
                  </a:lnTo>
                  <a:lnTo>
                    <a:pt x="356424" y="102864"/>
                  </a:lnTo>
                  <a:lnTo>
                    <a:pt x="411466" y="70732"/>
                  </a:lnTo>
                  <a:lnTo>
                    <a:pt x="452732" y="74668"/>
                  </a:lnTo>
                  <a:lnTo>
                    <a:pt x="490929" y="12094"/>
                  </a:lnTo>
                  <a:lnTo>
                    <a:pt x="536667" y="15502"/>
                  </a:lnTo>
                  <a:lnTo>
                    <a:pt x="581707" y="8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>
              <a:off x="7846453" y="3864314"/>
              <a:ext cx="202821" cy="114216"/>
            </a:xfrm>
            <a:custGeom>
              <a:avLst/>
              <a:gdLst>
                <a:gd name="connsiteX0" fmla="*/ 202002 w 202821"/>
                <a:gd name="connsiteY0" fmla="*/ 72918 h 114216"/>
                <a:gd name="connsiteX1" fmla="*/ 200061 w 202821"/>
                <a:gd name="connsiteY1" fmla="*/ 85048 h 114216"/>
                <a:gd name="connsiteX2" fmla="*/ 203362 w 202821"/>
                <a:gd name="connsiteY2" fmla="*/ 102859 h 114216"/>
                <a:gd name="connsiteX3" fmla="*/ 200490 w 202821"/>
                <a:gd name="connsiteY3" fmla="*/ 113906 h 114216"/>
                <a:gd name="connsiteX4" fmla="*/ 179602 w 202821"/>
                <a:gd name="connsiteY4" fmla="*/ 114372 h 114216"/>
                <a:gd name="connsiteX5" fmla="*/ 149429 w 202821"/>
                <a:gd name="connsiteY5" fmla="*/ 107868 h 114216"/>
                <a:gd name="connsiteX6" fmla="*/ 130044 w 202821"/>
                <a:gd name="connsiteY6" fmla="*/ 105220 h 114216"/>
                <a:gd name="connsiteX7" fmla="*/ 115579 w 202821"/>
                <a:gd name="connsiteY7" fmla="*/ 90970 h 114216"/>
                <a:gd name="connsiteX8" fmla="*/ 81202 w 202821"/>
                <a:gd name="connsiteY8" fmla="*/ 87338 h 114216"/>
                <a:gd name="connsiteX9" fmla="*/ 48488 w 202821"/>
                <a:gd name="connsiteY9" fmla="*/ 71532 h 114216"/>
                <a:gd name="connsiteX10" fmla="*/ 24836 w 202821"/>
                <a:gd name="connsiteY10" fmla="*/ 57648 h 114216"/>
                <a:gd name="connsiteX11" fmla="*/ 540 w 202821"/>
                <a:gd name="connsiteY11" fmla="*/ 46896 h 114216"/>
                <a:gd name="connsiteX12" fmla="*/ 10273 w 202821"/>
                <a:gd name="connsiteY12" fmla="*/ 20140 h 114216"/>
                <a:gd name="connsiteX13" fmla="*/ 26196 w 202821"/>
                <a:gd name="connsiteY13" fmla="*/ 7070 h 114216"/>
                <a:gd name="connsiteX14" fmla="*/ 36591 w 202821"/>
                <a:gd name="connsiteY14" fmla="*/ 155 h 114216"/>
                <a:gd name="connsiteX15" fmla="*/ 56700 w 202821"/>
                <a:gd name="connsiteY15" fmla="*/ 9038 h 114216"/>
                <a:gd name="connsiteX16" fmla="*/ 82025 w 202821"/>
                <a:gd name="connsiteY16" fmla="*/ 27770 h 114216"/>
                <a:gd name="connsiteX17" fmla="*/ 96114 w 202821"/>
                <a:gd name="connsiteY17" fmla="*/ 31885 h 114216"/>
                <a:gd name="connsiteX18" fmla="*/ 104541 w 202821"/>
                <a:gd name="connsiteY18" fmla="*/ 45599 h 114216"/>
                <a:gd name="connsiteX19" fmla="*/ 124024 w 202821"/>
                <a:gd name="connsiteY19" fmla="*/ 51216 h 114216"/>
                <a:gd name="connsiteX20" fmla="*/ 144384 w 202821"/>
                <a:gd name="connsiteY20" fmla="*/ 63668 h 114216"/>
                <a:gd name="connsiteX21" fmla="*/ 172759 w 202821"/>
                <a:gd name="connsiteY21" fmla="*/ 70154 h 114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821" h="114216">
                  <a:moveTo>
                    <a:pt x="202002" y="72918"/>
                  </a:moveTo>
                  <a:lnTo>
                    <a:pt x="200061" y="85048"/>
                  </a:lnTo>
                  <a:lnTo>
                    <a:pt x="203362" y="102859"/>
                  </a:lnTo>
                  <a:lnTo>
                    <a:pt x="200490" y="113906"/>
                  </a:lnTo>
                  <a:lnTo>
                    <a:pt x="179602" y="114372"/>
                  </a:lnTo>
                  <a:lnTo>
                    <a:pt x="149429" y="107868"/>
                  </a:lnTo>
                  <a:lnTo>
                    <a:pt x="130044" y="105220"/>
                  </a:lnTo>
                  <a:lnTo>
                    <a:pt x="115579" y="90970"/>
                  </a:lnTo>
                  <a:lnTo>
                    <a:pt x="81202" y="87338"/>
                  </a:lnTo>
                  <a:lnTo>
                    <a:pt x="48488" y="71532"/>
                  </a:lnTo>
                  <a:lnTo>
                    <a:pt x="24836" y="57648"/>
                  </a:lnTo>
                  <a:lnTo>
                    <a:pt x="540" y="46896"/>
                  </a:lnTo>
                  <a:lnTo>
                    <a:pt x="10273" y="20140"/>
                  </a:lnTo>
                  <a:lnTo>
                    <a:pt x="26196" y="7070"/>
                  </a:lnTo>
                  <a:lnTo>
                    <a:pt x="36591" y="155"/>
                  </a:lnTo>
                  <a:lnTo>
                    <a:pt x="56700" y="9038"/>
                  </a:lnTo>
                  <a:lnTo>
                    <a:pt x="82025" y="27770"/>
                  </a:lnTo>
                  <a:lnTo>
                    <a:pt x="96114" y="31885"/>
                  </a:lnTo>
                  <a:lnTo>
                    <a:pt x="104541" y="45599"/>
                  </a:lnTo>
                  <a:lnTo>
                    <a:pt x="124024" y="51216"/>
                  </a:lnTo>
                  <a:lnTo>
                    <a:pt x="144384" y="63668"/>
                  </a:lnTo>
                  <a:lnTo>
                    <a:pt x="172759" y="7015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>
              <a:off x="10014054" y="5577082"/>
              <a:ext cx="301195" cy="402699"/>
            </a:xfrm>
            <a:custGeom>
              <a:avLst/>
              <a:gdLst>
                <a:gd name="connsiteX0" fmla="*/ 163951 w 301195"/>
                <a:gd name="connsiteY0" fmla="*/ 204618 h 402699"/>
                <a:gd name="connsiteX1" fmla="*/ 169640 w 301195"/>
                <a:gd name="connsiteY1" fmla="*/ 218314 h 402699"/>
                <a:gd name="connsiteX2" fmla="*/ 187478 w 301195"/>
                <a:gd name="connsiteY2" fmla="*/ 204868 h 402699"/>
                <a:gd name="connsiteX3" fmla="*/ 194732 w 301195"/>
                <a:gd name="connsiteY3" fmla="*/ 218886 h 402699"/>
                <a:gd name="connsiteX4" fmla="*/ 194759 w 301195"/>
                <a:gd name="connsiteY4" fmla="*/ 232939 h 402699"/>
                <a:gd name="connsiteX5" fmla="*/ 185429 w 301195"/>
                <a:gd name="connsiteY5" fmla="*/ 248513 h 402699"/>
                <a:gd name="connsiteX6" fmla="*/ 169032 w 301195"/>
                <a:gd name="connsiteY6" fmla="*/ 273534 h 402699"/>
                <a:gd name="connsiteX7" fmla="*/ 156195 w 301195"/>
                <a:gd name="connsiteY7" fmla="*/ 287319 h 402699"/>
                <a:gd name="connsiteX8" fmla="*/ 165445 w 301195"/>
                <a:gd name="connsiteY8" fmla="*/ 303922 h 402699"/>
                <a:gd name="connsiteX9" fmla="*/ 146096 w 301195"/>
                <a:gd name="connsiteY9" fmla="*/ 304351 h 402699"/>
                <a:gd name="connsiteX10" fmla="*/ 124636 w 301195"/>
                <a:gd name="connsiteY10" fmla="*/ 317457 h 402699"/>
                <a:gd name="connsiteX11" fmla="*/ 117918 w 301195"/>
                <a:gd name="connsiteY11" fmla="*/ 340429 h 402699"/>
                <a:gd name="connsiteX12" fmla="*/ 103659 w 301195"/>
                <a:gd name="connsiteY12" fmla="*/ 376452 h 402699"/>
                <a:gd name="connsiteX13" fmla="*/ 83969 w 301195"/>
                <a:gd name="connsiteY13" fmla="*/ 392572 h 402699"/>
                <a:gd name="connsiteX14" fmla="*/ 71454 w 301195"/>
                <a:gd name="connsiteY14" fmla="*/ 402939 h 402699"/>
                <a:gd name="connsiteX15" fmla="*/ 48348 w 301195"/>
                <a:gd name="connsiteY15" fmla="*/ 402170 h 402699"/>
                <a:gd name="connsiteX16" fmla="*/ 32112 w 301195"/>
                <a:gd name="connsiteY16" fmla="*/ 390201 h 402699"/>
                <a:gd name="connsiteX17" fmla="*/ 4846 w 301195"/>
                <a:gd name="connsiteY17" fmla="*/ 387660 h 402699"/>
                <a:gd name="connsiteX18" fmla="*/ 642 w 301195"/>
                <a:gd name="connsiteY18" fmla="*/ 374430 h 402699"/>
                <a:gd name="connsiteX19" fmla="*/ 14123 w 301195"/>
                <a:gd name="connsiteY19" fmla="*/ 347978 h 402699"/>
                <a:gd name="connsiteX20" fmla="*/ 45656 w 301195"/>
                <a:gd name="connsiteY20" fmla="*/ 313315 h 402699"/>
                <a:gd name="connsiteX21" fmla="*/ 61847 w 301195"/>
                <a:gd name="connsiteY21" fmla="*/ 306775 h 402699"/>
                <a:gd name="connsiteX22" fmla="*/ 79873 w 301195"/>
                <a:gd name="connsiteY22" fmla="*/ 293608 h 402699"/>
                <a:gd name="connsiteX23" fmla="*/ 101368 w 301195"/>
                <a:gd name="connsiteY23" fmla="*/ 275627 h 402699"/>
                <a:gd name="connsiteX24" fmla="*/ 116424 w 301195"/>
                <a:gd name="connsiteY24" fmla="*/ 257960 h 402699"/>
                <a:gd name="connsiteX25" fmla="*/ 127578 w 301195"/>
                <a:gd name="connsiteY25" fmla="*/ 232841 h 402699"/>
                <a:gd name="connsiteX26" fmla="*/ 137088 w 301195"/>
                <a:gd name="connsiteY26" fmla="*/ 224378 h 402699"/>
                <a:gd name="connsiteX27" fmla="*/ 140809 w 301195"/>
                <a:gd name="connsiteY27" fmla="*/ 205826 h 402699"/>
                <a:gd name="connsiteX28" fmla="*/ 158405 w 301195"/>
                <a:gd name="connsiteY28" fmla="*/ 190591 h 402699"/>
                <a:gd name="connsiteX29" fmla="*/ 163951 w 301195"/>
                <a:gd name="connsiteY29" fmla="*/ 204618 h 402699"/>
                <a:gd name="connsiteX30" fmla="*/ 203866 w 301195"/>
                <a:gd name="connsiteY30" fmla="*/ 52428 h 402699"/>
                <a:gd name="connsiteX31" fmla="*/ 222043 w 301195"/>
                <a:gd name="connsiteY31" fmla="*/ 85213 h 402699"/>
                <a:gd name="connsiteX32" fmla="*/ 222571 w 301195"/>
                <a:gd name="connsiteY32" fmla="*/ 63896 h 402699"/>
                <a:gd name="connsiteX33" fmla="*/ 233896 w 301195"/>
                <a:gd name="connsiteY33" fmla="*/ 72385 h 402699"/>
                <a:gd name="connsiteX34" fmla="*/ 237644 w 301195"/>
                <a:gd name="connsiteY34" fmla="*/ 96100 h 402699"/>
                <a:gd name="connsiteX35" fmla="*/ 257834 w 301195"/>
                <a:gd name="connsiteY35" fmla="*/ 106387 h 402699"/>
                <a:gd name="connsiteX36" fmla="*/ 274786 w 301195"/>
                <a:gd name="connsiteY36" fmla="*/ 108919 h 402699"/>
                <a:gd name="connsiteX37" fmla="*/ 289125 w 301195"/>
                <a:gd name="connsiteY37" fmla="*/ 96869 h 402699"/>
                <a:gd name="connsiteX38" fmla="*/ 301837 w 301195"/>
                <a:gd name="connsiteY38" fmla="*/ 100510 h 402699"/>
                <a:gd name="connsiteX39" fmla="*/ 295754 w 301195"/>
                <a:gd name="connsiteY39" fmla="*/ 128697 h 402699"/>
                <a:gd name="connsiteX40" fmla="*/ 288115 w 301195"/>
                <a:gd name="connsiteY40" fmla="*/ 147420 h 402699"/>
                <a:gd name="connsiteX41" fmla="*/ 268963 w 301195"/>
                <a:gd name="connsiteY41" fmla="*/ 146758 h 402699"/>
                <a:gd name="connsiteX42" fmla="*/ 262262 w 301195"/>
                <a:gd name="connsiteY42" fmla="*/ 156571 h 402699"/>
                <a:gd name="connsiteX43" fmla="*/ 264597 w 301195"/>
                <a:gd name="connsiteY43" fmla="*/ 170536 h 402699"/>
                <a:gd name="connsiteX44" fmla="*/ 260911 w 301195"/>
                <a:gd name="connsiteY44" fmla="*/ 176600 h 402699"/>
                <a:gd name="connsiteX45" fmla="*/ 251429 w 301195"/>
                <a:gd name="connsiteY45" fmla="*/ 194259 h 402699"/>
                <a:gd name="connsiteX46" fmla="*/ 238995 w 301195"/>
                <a:gd name="connsiteY46" fmla="*/ 216909 h 402699"/>
                <a:gd name="connsiteX47" fmla="*/ 219610 w 301195"/>
                <a:gd name="connsiteY47" fmla="*/ 230211 h 402699"/>
                <a:gd name="connsiteX48" fmla="*/ 215307 w 301195"/>
                <a:gd name="connsiteY48" fmla="*/ 221453 h 402699"/>
                <a:gd name="connsiteX49" fmla="*/ 204850 w 301195"/>
                <a:gd name="connsiteY49" fmla="*/ 216659 h 402699"/>
                <a:gd name="connsiteX50" fmla="*/ 219315 w 301195"/>
                <a:gd name="connsiteY50" fmla="*/ 189473 h 402699"/>
                <a:gd name="connsiteX51" fmla="*/ 211103 w 301195"/>
                <a:gd name="connsiteY51" fmla="*/ 171475 h 402699"/>
                <a:gd name="connsiteX52" fmla="*/ 184105 w 301195"/>
                <a:gd name="connsiteY52" fmla="*/ 158486 h 402699"/>
                <a:gd name="connsiteX53" fmla="*/ 184812 w 301195"/>
                <a:gd name="connsiteY53" fmla="*/ 146785 h 402699"/>
                <a:gd name="connsiteX54" fmla="*/ 202935 w 301195"/>
                <a:gd name="connsiteY54" fmla="*/ 135576 h 402699"/>
                <a:gd name="connsiteX55" fmla="*/ 207167 w 301195"/>
                <a:gd name="connsiteY55" fmla="*/ 111030 h 402699"/>
                <a:gd name="connsiteX56" fmla="*/ 206004 w 301195"/>
                <a:gd name="connsiteY56" fmla="*/ 90616 h 402699"/>
                <a:gd name="connsiteX57" fmla="*/ 195842 w 301195"/>
                <a:gd name="connsiteY57" fmla="*/ 69648 h 402699"/>
                <a:gd name="connsiteX58" fmla="*/ 196513 w 301195"/>
                <a:gd name="connsiteY58" fmla="*/ 64165 h 402699"/>
                <a:gd name="connsiteX59" fmla="*/ 184526 w 301195"/>
                <a:gd name="connsiteY59" fmla="*/ 51372 h 402699"/>
                <a:gd name="connsiteX60" fmla="*/ 164792 w 301195"/>
                <a:gd name="connsiteY60" fmla="*/ 24169 h 402699"/>
                <a:gd name="connsiteX61" fmla="*/ 154299 w 301195"/>
                <a:gd name="connsiteY61" fmla="*/ 2620 h 402699"/>
                <a:gd name="connsiteX62" fmla="*/ 163602 w 301195"/>
                <a:gd name="connsiteY62" fmla="*/ 240 h 402699"/>
                <a:gd name="connsiteX63" fmla="*/ 177253 w 301195"/>
                <a:gd name="connsiteY63" fmla="*/ 17120 h 402699"/>
                <a:gd name="connsiteX64" fmla="*/ 196772 w 301195"/>
                <a:gd name="connsiteY64" fmla="*/ 25037 h 402699"/>
                <a:gd name="connsiteX65" fmla="*/ 203866 w 301195"/>
                <a:gd name="connsiteY65" fmla="*/ 52428 h 40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01195" h="402699">
                  <a:moveTo>
                    <a:pt x="163951" y="204618"/>
                  </a:moveTo>
                  <a:lnTo>
                    <a:pt x="169640" y="218314"/>
                  </a:lnTo>
                  <a:lnTo>
                    <a:pt x="187478" y="204868"/>
                  </a:lnTo>
                  <a:lnTo>
                    <a:pt x="194732" y="218886"/>
                  </a:lnTo>
                  <a:lnTo>
                    <a:pt x="194759" y="232939"/>
                  </a:lnTo>
                  <a:lnTo>
                    <a:pt x="185429" y="248513"/>
                  </a:lnTo>
                  <a:lnTo>
                    <a:pt x="169032" y="273534"/>
                  </a:lnTo>
                  <a:lnTo>
                    <a:pt x="156195" y="287319"/>
                  </a:lnTo>
                  <a:lnTo>
                    <a:pt x="165445" y="303922"/>
                  </a:lnTo>
                  <a:lnTo>
                    <a:pt x="146096" y="304351"/>
                  </a:lnTo>
                  <a:lnTo>
                    <a:pt x="124636" y="317457"/>
                  </a:lnTo>
                  <a:lnTo>
                    <a:pt x="117918" y="340429"/>
                  </a:lnTo>
                  <a:lnTo>
                    <a:pt x="103659" y="376452"/>
                  </a:lnTo>
                  <a:lnTo>
                    <a:pt x="83969" y="392572"/>
                  </a:lnTo>
                  <a:lnTo>
                    <a:pt x="71454" y="402939"/>
                  </a:lnTo>
                  <a:lnTo>
                    <a:pt x="48348" y="402170"/>
                  </a:lnTo>
                  <a:lnTo>
                    <a:pt x="32112" y="390201"/>
                  </a:lnTo>
                  <a:lnTo>
                    <a:pt x="4846" y="387660"/>
                  </a:lnTo>
                  <a:lnTo>
                    <a:pt x="642" y="374430"/>
                  </a:lnTo>
                  <a:lnTo>
                    <a:pt x="14123" y="347978"/>
                  </a:lnTo>
                  <a:lnTo>
                    <a:pt x="45656" y="313315"/>
                  </a:lnTo>
                  <a:lnTo>
                    <a:pt x="61847" y="306775"/>
                  </a:lnTo>
                  <a:lnTo>
                    <a:pt x="79873" y="293608"/>
                  </a:lnTo>
                  <a:lnTo>
                    <a:pt x="101368" y="275627"/>
                  </a:lnTo>
                  <a:lnTo>
                    <a:pt x="116424" y="257960"/>
                  </a:lnTo>
                  <a:lnTo>
                    <a:pt x="127578" y="232841"/>
                  </a:lnTo>
                  <a:lnTo>
                    <a:pt x="137088" y="224378"/>
                  </a:lnTo>
                  <a:lnTo>
                    <a:pt x="140809" y="205826"/>
                  </a:lnTo>
                  <a:lnTo>
                    <a:pt x="158405" y="190591"/>
                  </a:lnTo>
                  <a:lnTo>
                    <a:pt x="163951" y="204618"/>
                  </a:lnTo>
                  <a:close/>
                  <a:moveTo>
                    <a:pt x="203866" y="52428"/>
                  </a:moveTo>
                  <a:lnTo>
                    <a:pt x="222043" y="85213"/>
                  </a:lnTo>
                  <a:lnTo>
                    <a:pt x="222571" y="63896"/>
                  </a:lnTo>
                  <a:lnTo>
                    <a:pt x="233896" y="72385"/>
                  </a:lnTo>
                  <a:lnTo>
                    <a:pt x="237644" y="96100"/>
                  </a:lnTo>
                  <a:lnTo>
                    <a:pt x="257834" y="106387"/>
                  </a:lnTo>
                  <a:lnTo>
                    <a:pt x="274786" y="108919"/>
                  </a:lnTo>
                  <a:lnTo>
                    <a:pt x="289125" y="96869"/>
                  </a:lnTo>
                  <a:lnTo>
                    <a:pt x="301837" y="100510"/>
                  </a:lnTo>
                  <a:lnTo>
                    <a:pt x="295754" y="128697"/>
                  </a:lnTo>
                  <a:lnTo>
                    <a:pt x="288115" y="147420"/>
                  </a:lnTo>
                  <a:lnTo>
                    <a:pt x="268963" y="146758"/>
                  </a:lnTo>
                  <a:lnTo>
                    <a:pt x="262262" y="156571"/>
                  </a:lnTo>
                  <a:lnTo>
                    <a:pt x="264597" y="170536"/>
                  </a:lnTo>
                  <a:lnTo>
                    <a:pt x="260911" y="176600"/>
                  </a:lnTo>
                  <a:lnTo>
                    <a:pt x="251429" y="194259"/>
                  </a:lnTo>
                  <a:lnTo>
                    <a:pt x="238995" y="216909"/>
                  </a:lnTo>
                  <a:lnTo>
                    <a:pt x="219610" y="230211"/>
                  </a:lnTo>
                  <a:lnTo>
                    <a:pt x="215307" y="221453"/>
                  </a:lnTo>
                  <a:lnTo>
                    <a:pt x="204850" y="216659"/>
                  </a:lnTo>
                  <a:lnTo>
                    <a:pt x="219315" y="189473"/>
                  </a:lnTo>
                  <a:lnTo>
                    <a:pt x="211103" y="171475"/>
                  </a:lnTo>
                  <a:lnTo>
                    <a:pt x="184105" y="158486"/>
                  </a:lnTo>
                  <a:lnTo>
                    <a:pt x="184812" y="146785"/>
                  </a:lnTo>
                  <a:lnTo>
                    <a:pt x="202935" y="135576"/>
                  </a:lnTo>
                  <a:lnTo>
                    <a:pt x="207167" y="111030"/>
                  </a:lnTo>
                  <a:lnTo>
                    <a:pt x="206004" y="90616"/>
                  </a:lnTo>
                  <a:lnTo>
                    <a:pt x="195842" y="69648"/>
                  </a:lnTo>
                  <a:lnTo>
                    <a:pt x="196513" y="64165"/>
                  </a:lnTo>
                  <a:lnTo>
                    <a:pt x="184526" y="51372"/>
                  </a:lnTo>
                  <a:lnTo>
                    <a:pt x="164792" y="24169"/>
                  </a:lnTo>
                  <a:lnTo>
                    <a:pt x="154299" y="2620"/>
                  </a:lnTo>
                  <a:lnTo>
                    <a:pt x="163602" y="240"/>
                  </a:lnTo>
                  <a:lnTo>
                    <a:pt x="177253" y="17120"/>
                  </a:lnTo>
                  <a:lnTo>
                    <a:pt x="196772" y="25037"/>
                  </a:lnTo>
                  <a:lnTo>
                    <a:pt x="203866" y="5242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>
            <a:xfrm>
              <a:off x="7141959" y="3978575"/>
              <a:ext cx="195843" cy="261638"/>
            </a:xfrm>
            <a:custGeom>
              <a:avLst/>
              <a:gdLst>
                <a:gd name="connsiteX0" fmla="*/ 172584 w 195843"/>
                <a:gd name="connsiteY0" fmla="*/ 144178 h 261638"/>
                <a:gd name="connsiteX1" fmla="*/ 163218 w 195843"/>
                <a:gd name="connsiteY1" fmla="*/ 162444 h 261638"/>
                <a:gd name="connsiteX2" fmla="*/ 151848 w 195843"/>
                <a:gd name="connsiteY2" fmla="*/ 161049 h 261638"/>
                <a:gd name="connsiteX3" fmla="*/ 146633 w 195843"/>
                <a:gd name="connsiteY3" fmla="*/ 167382 h 261638"/>
                <a:gd name="connsiteX4" fmla="*/ 142607 w 195843"/>
                <a:gd name="connsiteY4" fmla="*/ 180836 h 261638"/>
                <a:gd name="connsiteX5" fmla="*/ 145693 w 195843"/>
                <a:gd name="connsiteY5" fmla="*/ 198504 h 261638"/>
                <a:gd name="connsiteX6" fmla="*/ 143323 w 195843"/>
                <a:gd name="connsiteY6" fmla="*/ 201742 h 261638"/>
                <a:gd name="connsiteX7" fmla="*/ 131783 w 195843"/>
                <a:gd name="connsiteY7" fmla="*/ 201652 h 261638"/>
                <a:gd name="connsiteX8" fmla="*/ 116120 w 195843"/>
                <a:gd name="connsiteY8" fmla="*/ 211492 h 261638"/>
                <a:gd name="connsiteX9" fmla="*/ 113678 w 195843"/>
                <a:gd name="connsiteY9" fmla="*/ 224285 h 261638"/>
                <a:gd name="connsiteX10" fmla="*/ 107935 w 195843"/>
                <a:gd name="connsiteY10" fmla="*/ 229813 h 261638"/>
                <a:gd name="connsiteX11" fmla="*/ 92334 w 195843"/>
                <a:gd name="connsiteY11" fmla="*/ 229607 h 261638"/>
                <a:gd name="connsiteX12" fmla="*/ 82511 w 195843"/>
                <a:gd name="connsiteY12" fmla="*/ 236200 h 261638"/>
                <a:gd name="connsiteX13" fmla="*/ 82637 w 195843"/>
                <a:gd name="connsiteY13" fmla="*/ 246756 h 261638"/>
                <a:gd name="connsiteX14" fmla="*/ 70507 w 195843"/>
                <a:gd name="connsiteY14" fmla="*/ 254001 h 261638"/>
                <a:gd name="connsiteX15" fmla="*/ 56668 w 195843"/>
                <a:gd name="connsiteY15" fmla="*/ 251542 h 261638"/>
                <a:gd name="connsiteX16" fmla="*/ 39895 w 195843"/>
                <a:gd name="connsiteY16" fmla="*/ 260326 h 261638"/>
                <a:gd name="connsiteX17" fmla="*/ 28302 w 195843"/>
                <a:gd name="connsiteY17" fmla="*/ 261802 h 261638"/>
                <a:gd name="connsiteX18" fmla="*/ 20117 w 195843"/>
                <a:gd name="connsiteY18" fmla="*/ 243589 h 261638"/>
                <a:gd name="connsiteX19" fmla="*/ 508 w 195843"/>
                <a:gd name="connsiteY19" fmla="*/ 200284 h 261638"/>
                <a:gd name="connsiteX20" fmla="*/ 75749 w 195843"/>
                <a:gd name="connsiteY20" fmla="*/ 173832 h 261638"/>
                <a:gd name="connsiteX21" fmla="*/ 92468 w 195843"/>
                <a:gd name="connsiteY21" fmla="*/ 120409 h 261638"/>
                <a:gd name="connsiteX22" fmla="*/ 80973 w 195843"/>
                <a:gd name="connsiteY22" fmla="*/ 101311 h 261638"/>
                <a:gd name="connsiteX23" fmla="*/ 81626 w 195843"/>
                <a:gd name="connsiteY23" fmla="*/ 90406 h 261638"/>
                <a:gd name="connsiteX24" fmla="*/ 88934 w 195843"/>
                <a:gd name="connsiteY24" fmla="*/ 79171 h 261638"/>
                <a:gd name="connsiteX25" fmla="*/ 89006 w 195843"/>
                <a:gd name="connsiteY25" fmla="*/ 68033 h 261638"/>
                <a:gd name="connsiteX26" fmla="*/ 100358 w 195843"/>
                <a:gd name="connsiteY26" fmla="*/ 62657 h 261638"/>
                <a:gd name="connsiteX27" fmla="*/ 95921 w 195843"/>
                <a:gd name="connsiteY27" fmla="*/ 58855 h 261638"/>
                <a:gd name="connsiteX28" fmla="*/ 97970 w 195843"/>
                <a:gd name="connsiteY28" fmla="*/ 40991 h 261638"/>
                <a:gd name="connsiteX29" fmla="*/ 110788 w 195843"/>
                <a:gd name="connsiteY29" fmla="*/ 40884 h 261638"/>
                <a:gd name="connsiteX30" fmla="*/ 122033 w 195843"/>
                <a:gd name="connsiteY30" fmla="*/ 59625 h 261638"/>
                <a:gd name="connsiteX31" fmla="*/ 136033 w 195843"/>
                <a:gd name="connsiteY31" fmla="*/ 69536 h 261638"/>
                <a:gd name="connsiteX32" fmla="*/ 154434 w 195843"/>
                <a:gd name="connsiteY32" fmla="*/ 73097 h 261638"/>
                <a:gd name="connsiteX33" fmla="*/ 169283 w 195843"/>
                <a:gd name="connsiteY33" fmla="*/ 78061 h 261638"/>
                <a:gd name="connsiteX34" fmla="*/ 180608 w 195843"/>
                <a:gd name="connsiteY34" fmla="*/ 93626 h 261638"/>
                <a:gd name="connsiteX35" fmla="*/ 187370 w 195843"/>
                <a:gd name="connsiteY35" fmla="*/ 102617 h 261638"/>
                <a:gd name="connsiteX36" fmla="*/ 196352 w 195843"/>
                <a:gd name="connsiteY36" fmla="*/ 106034 h 261638"/>
                <a:gd name="connsiteX37" fmla="*/ 196298 w 195843"/>
                <a:gd name="connsiteY37" fmla="*/ 112054 h 261638"/>
                <a:gd name="connsiteX38" fmla="*/ 187165 w 195843"/>
                <a:gd name="connsiteY38" fmla="*/ 128084 h 261638"/>
                <a:gd name="connsiteX39" fmla="*/ 183158 w 195843"/>
                <a:gd name="connsiteY39" fmla="*/ 135608 h 261638"/>
                <a:gd name="connsiteX40" fmla="*/ 172584 w 195843"/>
                <a:gd name="connsiteY40" fmla="*/ 144178 h 261638"/>
                <a:gd name="connsiteX41" fmla="*/ 110636 w 195843"/>
                <a:gd name="connsiteY41" fmla="*/ 14065 h 261638"/>
                <a:gd name="connsiteX42" fmla="*/ 107371 w 195843"/>
                <a:gd name="connsiteY42" fmla="*/ 19093 h 261638"/>
                <a:gd name="connsiteX43" fmla="*/ 102594 w 195843"/>
                <a:gd name="connsiteY43" fmla="*/ 9637 h 261638"/>
                <a:gd name="connsiteX44" fmla="*/ 109903 w 195843"/>
                <a:gd name="connsiteY44" fmla="*/ 164 h 261638"/>
                <a:gd name="connsiteX45" fmla="*/ 113007 w 195843"/>
                <a:gd name="connsiteY45" fmla="*/ 2588 h 261638"/>
                <a:gd name="connsiteX46" fmla="*/ 110636 w 195843"/>
                <a:gd name="connsiteY46" fmla="*/ 14065 h 261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5843" h="261638">
                  <a:moveTo>
                    <a:pt x="172584" y="144178"/>
                  </a:moveTo>
                  <a:lnTo>
                    <a:pt x="163218" y="162444"/>
                  </a:lnTo>
                  <a:lnTo>
                    <a:pt x="151848" y="161049"/>
                  </a:lnTo>
                  <a:lnTo>
                    <a:pt x="146633" y="167382"/>
                  </a:lnTo>
                  <a:lnTo>
                    <a:pt x="142607" y="180836"/>
                  </a:lnTo>
                  <a:lnTo>
                    <a:pt x="145693" y="198504"/>
                  </a:lnTo>
                  <a:lnTo>
                    <a:pt x="143323" y="201742"/>
                  </a:lnTo>
                  <a:lnTo>
                    <a:pt x="131783" y="201652"/>
                  </a:lnTo>
                  <a:lnTo>
                    <a:pt x="116120" y="211492"/>
                  </a:lnTo>
                  <a:lnTo>
                    <a:pt x="113678" y="224285"/>
                  </a:lnTo>
                  <a:lnTo>
                    <a:pt x="107935" y="229813"/>
                  </a:lnTo>
                  <a:lnTo>
                    <a:pt x="92334" y="229607"/>
                  </a:lnTo>
                  <a:lnTo>
                    <a:pt x="82511" y="236200"/>
                  </a:lnTo>
                  <a:lnTo>
                    <a:pt x="82637" y="246756"/>
                  </a:lnTo>
                  <a:lnTo>
                    <a:pt x="70507" y="254001"/>
                  </a:lnTo>
                  <a:lnTo>
                    <a:pt x="56668" y="251542"/>
                  </a:lnTo>
                  <a:lnTo>
                    <a:pt x="39895" y="260326"/>
                  </a:lnTo>
                  <a:lnTo>
                    <a:pt x="28302" y="261802"/>
                  </a:lnTo>
                  <a:lnTo>
                    <a:pt x="20117" y="243589"/>
                  </a:lnTo>
                  <a:lnTo>
                    <a:pt x="508" y="200284"/>
                  </a:lnTo>
                  <a:lnTo>
                    <a:pt x="75749" y="173832"/>
                  </a:lnTo>
                  <a:lnTo>
                    <a:pt x="92468" y="120409"/>
                  </a:lnTo>
                  <a:lnTo>
                    <a:pt x="80973" y="101311"/>
                  </a:lnTo>
                  <a:lnTo>
                    <a:pt x="81626" y="90406"/>
                  </a:lnTo>
                  <a:lnTo>
                    <a:pt x="88934" y="79171"/>
                  </a:lnTo>
                  <a:lnTo>
                    <a:pt x="89006" y="68033"/>
                  </a:lnTo>
                  <a:lnTo>
                    <a:pt x="100358" y="62657"/>
                  </a:lnTo>
                  <a:lnTo>
                    <a:pt x="95921" y="58855"/>
                  </a:lnTo>
                  <a:lnTo>
                    <a:pt x="97970" y="40991"/>
                  </a:lnTo>
                  <a:lnTo>
                    <a:pt x="110788" y="40884"/>
                  </a:lnTo>
                  <a:lnTo>
                    <a:pt x="122033" y="59625"/>
                  </a:lnTo>
                  <a:lnTo>
                    <a:pt x="136033" y="69536"/>
                  </a:lnTo>
                  <a:lnTo>
                    <a:pt x="154434" y="73097"/>
                  </a:lnTo>
                  <a:lnTo>
                    <a:pt x="169283" y="78061"/>
                  </a:lnTo>
                  <a:lnTo>
                    <a:pt x="180608" y="93626"/>
                  </a:lnTo>
                  <a:lnTo>
                    <a:pt x="187370" y="102617"/>
                  </a:lnTo>
                  <a:lnTo>
                    <a:pt x="196352" y="106034"/>
                  </a:lnTo>
                  <a:lnTo>
                    <a:pt x="196298" y="112054"/>
                  </a:lnTo>
                  <a:lnTo>
                    <a:pt x="187165" y="128084"/>
                  </a:lnTo>
                  <a:lnTo>
                    <a:pt x="183158" y="135608"/>
                  </a:lnTo>
                  <a:lnTo>
                    <a:pt x="172584" y="144178"/>
                  </a:lnTo>
                  <a:close/>
                  <a:moveTo>
                    <a:pt x="110636" y="14065"/>
                  </a:moveTo>
                  <a:lnTo>
                    <a:pt x="107371" y="19093"/>
                  </a:lnTo>
                  <a:lnTo>
                    <a:pt x="102594" y="9637"/>
                  </a:lnTo>
                  <a:lnTo>
                    <a:pt x="109903" y="164"/>
                  </a:lnTo>
                  <a:lnTo>
                    <a:pt x="113007" y="2588"/>
                  </a:lnTo>
                  <a:lnTo>
                    <a:pt x="110636" y="1406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/>
          </p:nvSpPr>
          <p:spPr>
            <a:xfrm>
              <a:off x="3756750" y="4420501"/>
              <a:ext cx="143548" cy="60230"/>
            </a:xfrm>
            <a:custGeom>
              <a:avLst/>
              <a:gdLst>
                <a:gd name="connsiteX0" fmla="*/ 127879 w 143548"/>
                <a:gd name="connsiteY0" fmla="*/ 60329 h 60230"/>
                <a:gd name="connsiteX1" fmla="*/ 119515 w 143548"/>
                <a:gd name="connsiteY1" fmla="*/ 53083 h 60230"/>
                <a:gd name="connsiteX2" fmla="*/ 114139 w 143548"/>
                <a:gd name="connsiteY2" fmla="*/ 39504 h 60230"/>
                <a:gd name="connsiteX3" fmla="*/ 120338 w 143548"/>
                <a:gd name="connsiteY3" fmla="*/ 32786 h 60230"/>
                <a:gd name="connsiteX4" fmla="*/ 113987 w 143548"/>
                <a:gd name="connsiteY4" fmla="*/ 31050 h 60230"/>
                <a:gd name="connsiteX5" fmla="*/ 109300 w 143548"/>
                <a:gd name="connsiteY5" fmla="*/ 22731 h 60230"/>
                <a:gd name="connsiteX6" fmla="*/ 96803 w 143548"/>
                <a:gd name="connsiteY6" fmla="*/ 15727 h 60230"/>
                <a:gd name="connsiteX7" fmla="*/ 85835 w 143548"/>
                <a:gd name="connsiteY7" fmla="*/ 17328 h 60230"/>
                <a:gd name="connsiteX8" fmla="*/ 80745 w 143548"/>
                <a:gd name="connsiteY8" fmla="*/ 26095 h 60230"/>
                <a:gd name="connsiteX9" fmla="*/ 70610 w 143548"/>
                <a:gd name="connsiteY9" fmla="*/ 32428 h 60230"/>
                <a:gd name="connsiteX10" fmla="*/ 65144 w 143548"/>
                <a:gd name="connsiteY10" fmla="*/ 33305 h 60230"/>
                <a:gd name="connsiteX11" fmla="*/ 62685 w 143548"/>
                <a:gd name="connsiteY11" fmla="*/ 38547 h 60230"/>
                <a:gd name="connsiteX12" fmla="*/ 74654 w 143548"/>
                <a:gd name="connsiteY12" fmla="*/ 52198 h 60230"/>
                <a:gd name="connsiteX13" fmla="*/ 67801 w 143548"/>
                <a:gd name="connsiteY13" fmla="*/ 55409 h 60230"/>
                <a:gd name="connsiteX14" fmla="*/ 64178 w 143548"/>
                <a:gd name="connsiteY14" fmla="*/ 59130 h 60230"/>
                <a:gd name="connsiteX15" fmla="*/ 52505 w 143548"/>
                <a:gd name="connsiteY15" fmla="*/ 60410 h 60230"/>
                <a:gd name="connsiteX16" fmla="*/ 48166 w 143548"/>
                <a:gd name="connsiteY16" fmla="*/ 45399 h 60230"/>
                <a:gd name="connsiteX17" fmla="*/ 44901 w 143548"/>
                <a:gd name="connsiteY17" fmla="*/ 49675 h 60230"/>
                <a:gd name="connsiteX18" fmla="*/ 36626 w 143548"/>
                <a:gd name="connsiteY18" fmla="*/ 48190 h 60230"/>
                <a:gd name="connsiteX19" fmla="*/ 31572 w 143548"/>
                <a:gd name="connsiteY19" fmla="*/ 38073 h 60230"/>
                <a:gd name="connsiteX20" fmla="*/ 21285 w 143548"/>
                <a:gd name="connsiteY20" fmla="*/ 36400 h 60230"/>
                <a:gd name="connsiteX21" fmla="*/ 14772 w 143548"/>
                <a:gd name="connsiteY21" fmla="*/ 33457 h 60230"/>
                <a:gd name="connsiteX22" fmla="*/ 4011 w 143548"/>
                <a:gd name="connsiteY22" fmla="*/ 33493 h 60230"/>
                <a:gd name="connsiteX23" fmla="*/ 3233 w 143548"/>
                <a:gd name="connsiteY23" fmla="*/ 38958 h 60230"/>
                <a:gd name="connsiteX24" fmla="*/ 352 w 143548"/>
                <a:gd name="connsiteY24" fmla="*/ 35147 h 60230"/>
                <a:gd name="connsiteX25" fmla="*/ 1676 w 143548"/>
                <a:gd name="connsiteY25" fmla="*/ 30156 h 60230"/>
                <a:gd name="connsiteX26" fmla="*/ 3769 w 143548"/>
                <a:gd name="connsiteY26" fmla="*/ 25048 h 60230"/>
                <a:gd name="connsiteX27" fmla="*/ 2785 w 143548"/>
                <a:gd name="connsiteY27" fmla="*/ 20486 h 60230"/>
                <a:gd name="connsiteX28" fmla="*/ 6543 w 143548"/>
                <a:gd name="connsiteY28" fmla="*/ 17498 h 60230"/>
                <a:gd name="connsiteX29" fmla="*/ 1318 w 143548"/>
                <a:gd name="connsiteY29" fmla="*/ 13750 h 60230"/>
                <a:gd name="connsiteX30" fmla="*/ 1175 w 143548"/>
                <a:gd name="connsiteY30" fmla="*/ 3588 h 60230"/>
                <a:gd name="connsiteX31" fmla="*/ 10881 w 143548"/>
                <a:gd name="connsiteY31" fmla="*/ 1324 h 60230"/>
                <a:gd name="connsiteX32" fmla="*/ 19889 w 143548"/>
                <a:gd name="connsiteY32" fmla="*/ 10386 h 60230"/>
                <a:gd name="connsiteX33" fmla="*/ 19370 w 143548"/>
                <a:gd name="connsiteY33" fmla="*/ 15736 h 60230"/>
                <a:gd name="connsiteX34" fmla="*/ 29380 w 143548"/>
                <a:gd name="connsiteY34" fmla="*/ 16872 h 60230"/>
                <a:gd name="connsiteX35" fmla="*/ 31751 w 143548"/>
                <a:gd name="connsiteY35" fmla="*/ 14814 h 60230"/>
                <a:gd name="connsiteX36" fmla="*/ 38639 w 143548"/>
                <a:gd name="connsiteY36" fmla="*/ 21013 h 60230"/>
                <a:gd name="connsiteX37" fmla="*/ 50984 w 143548"/>
                <a:gd name="connsiteY37" fmla="*/ 19189 h 60230"/>
                <a:gd name="connsiteX38" fmla="*/ 61647 w 143548"/>
                <a:gd name="connsiteY38" fmla="*/ 12819 h 60230"/>
                <a:gd name="connsiteX39" fmla="*/ 76881 w 143548"/>
                <a:gd name="connsiteY39" fmla="*/ 7729 h 60230"/>
                <a:gd name="connsiteX40" fmla="*/ 85442 w 143548"/>
                <a:gd name="connsiteY40" fmla="*/ 180 h 60230"/>
                <a:gd name="connsiteX41" fmla="*/ 99289 w 143548"/>
                <a:gd name="connsiteY41" fmla="*/ 1664 h 60230"/>
                <a:gd name="connsiteX42" fmla="*/ 98359 w 143548"/>
                <a:gd name="connsiteY42" fmla="*/ 4151 h 60230"/>
                <a:gd name="connsiteX43" fmla="*/ 112341 w 143548"/>
                <a:gd name="connsiteY43" fmla="*/ 5010 h 60230"/>
                <a:gd name="connsiteX44" fmla="*/ 123505 w 143548"/>
                <a:gd name="connsiteY44" fmla="*/ 9375 h 60230"/>
                <a:gd name="connsiteX45" fmla="*/ 131690 w 143548"/>
                <a:gd name="connsiteY45" fmla="*/ 16961 h 60230"/>
                <a:gd name="connsiteX46" fmla="*/ 141128 w 143548"/>
                <a:gd name="connsiteY46" fmla="*/ 23930 h 60230"/>
                <a:gd name="connsiteX47" fmla="*/ 138077 w 143548"/>
                <a:gd name="connsiteY47" fmla="*/ 27615 h 60230"/>
                <a:gd name="connsiteX48" fmla="*/ 143901 w 143548"/>
                <a:gd name="connsiteY48" fmla="*/ 42447 h 60230"/>
                <a:gd name="connsiteX49" fmla="*/ 139169 w 143548"/>
                <a:gd name="connsiteY49" fmla="*/ 49916 h 60230"/>
                <a:gd name="connsiteX50" fmla="*/ 131091 w 143548"/>
                <a:gd name="connsiteY50" fmla="*/ 48118 h 6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43548" h="60230">
                  <a:moveTo>
                    <a:pt x="127879" y="60329"/>
                  </a:moveTo>
                  <a:lnTo>
                    <a:pt x="119515" y="53083"/>
                  </a:lnTo>
                  <a:lnTo>
                    <a:pt x="114139" y="39504"/>
                  </a:lnTo>
                  <a:lnTo>
                    <a:pt x="120338" y="32786"/>
                  </a:lnTo>
                  <a:lnTo>
                    <a:pt x="113987" y="31050"/>
                  </a:lnTo>
                  <a:lnTo>
                    <a:pt x="109300" y="22731"/>
                  </a:lnTo>
                  <a:lnTo>
                    <a:pt x="96803" y="15727"/>
                  </a:lnTo>
                  <a:lnTo>
                    <a:pt x="85835" y="17328"/>
                  </a:lnTo>
                  <a:lnTo>
                    <a:pt x="80745" y="26095"/>
                  </a:lnTo>
                  <a:lnTo>
                    <a:pt x="70610" y="32428"/>
                  </a:lnTo>
                  <a:lnTo>
                    <a:pt x="65144" y="33305"/>
                  </a:lnTo>
                  <a:lnTo>
                    <a:pt x="62685" y="38547"/>
                  </a:lnTo>
                  <a:lnTo>
                    <a:pt x="74654" y="52198"/>
                  </a:lnTo>
                  <a:lnTo>
                    <a:pt x="67801" y="55409"/>
                  </a:lnTo>
                  <a:lnTo>
                    <a:pt x="64178" y="59130"/>
                  </a:lnTo>
                  <a:lnTo>
                    <a:pt x="52505" y="60410"/>
                  </a:lnTo>
                  <a:lnTo>
                    <a:pt x="48166" y="45399"/>
                  </a:lnTo>
                  <a:lnTo>
                    <a:pt x="44901" y="49675"/>
                  </a:lnTo>
                  <a:lnTo>
                    <a:pt x="36626" y="48190"/>
                  </a:lnTo>
                  <a:lnTo>
                    <a:pt x="31572" y="38073"/>
                  </a:lnTo>
                  <a:lnTo>
                    <a:pt x="21285" y="36400"/>
                  </a:lnTo>
                  <a:lnTo>
                    <a:pt x="14772" y="33457"/>
                  </a:lnTo>
                  <a:lnTo>
                    <a:pt x="4011" y="33493"/>
                  </a:lnTo>
                  <a:lnTo>
                    <a:pt x="3233" y="38958"/>
                  </a:lnTo>
                  <a:lnTo>
                    <a:pt x="352" y="35147"/>
                  </a:lnTo>
                  <a:lnTo>
                    <a:pt x="1676" y="30156"/>
                  </a:lnTo>
                  <a:lnTo>
                    <a:pt x="3769" y="25048"/>
                  </a:lnTo>
                  <a:lnTo>
                    <a:pt x="2785" y="20486"/>
                  </a:lnTo>
                  <a:lnTo>
                    <a:pt x="6543" y="17498"/>
                  </a:lnTo>
                  <a:lnTo>
                    <a:pt x="1318" y="13750"/>
                  </a:lnTo>
                  <a:lnTo>
                    <a:pt x="1175" y="3588"/>
                  </a:lnTo>
                  <a:lnTo>
                    <a:pt x="10881" y="1324"/>
                  </a:lnTo>
                  <a:lnTo>
                    <a:pt x="19889" y="10386"/>
                  </a:lnTo>
                  <a:lnTo>
                    <a:pt x="19370" y="15736"/>
                  </a:lnTo>
                  <a:lnTo>
                    <a:pt x="29380" y="16872"/>
                  </a:lnTo>
                  <a:lnTo>
                    <a:pt x="31751" y="14814"/>
                  </a:lnTo>
                  <a:lnTo>
                    <a:pt x="38639" y="21013"/>
                  </a:lnTo>
                  <a:lnTo>
                    <a:pt x="50984" y="19189"/>
                  </a:lnTo>
                  <a:lnTo>
                    <a:pt x="61647" y="12819"/>
                  </a:lnTo>
                  <a:lnTo>
                    <a:pt x="76881" y="7729"/>
                  </a:lnTo>
                  <a:lnTo>
                    <a:pt x="85442" y="180"/>
                  </a:lnTo>
                  <a:lnTo>
                    <a:pt x="99289" y="1664"/>
                  </a:lnTo>
                  <a:lnTo>
                    <a:pt x="98359" y="4151"/>
                  </a:lnTo>
                  <a:lnTo>
                    <a:pt x="112341" y="5010"/>
                  </a:lnTo>
                  <a:lnTo>
                    <a:pt x="123505" y="9375"/>
                  </a:lnTo>
                  <a:lnTo>
                    <a:pt x="131690" y="16961"/>
                  </a:lnTo>
                  <a:lnTo>
                    <a:pt x="141128" y="23930"/>
                  </a:lnTo>
                  <a:lnTo>
                    <a:pt x="138077" y="27615"/>
                  </a:lnTo>
                  <a:lnTo>
                    <a:pt x="143901" y="42447"/>
                  </a:lnTo>
                  <a:lnTo>
                    <a:pt x="139169" y="49916"/>
                  </a:lnTo>
                  <a:lnTo>
                    <a:pt x="131091" y="4811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/>
            <p:cNvSpPr/>
            <p:nvPr/>
          </p:nvSpPr>
          <p:spPr>
            <a:xfrm>
              <a:off x="3795752" y="4662530"/>
              <a:ext cx="319685" cy="463823"/>
            </a:xfrm>
            <a:custGeom>
              <a:avLst/>
              <a:gdLst>
                <a:gd name="connsiteX0" fmla="*/ 296839 w 319685"/>
                <a:gd name="connsiteY0" fmla="*/ 443896 h 463823"/>
                <a:gd name="connsiteX1" fmla="*/ 290112 w 319685"/>
                <a:gd name="connsiteY1" fmla="*/ 457324 h 463823"/>
                <a:gd name="connsiteX2" fmla="*/ 277212 w 319685"/>
                <a:gd name="connsiteY2" fmla="*/ 464024 h 463823"/>
                <a:gd name="connsiteX3" fmla="*/ 252067 w 319685"/>
                <a:gd name="connsiteY3" fmla="*/ 448969 h 463823"/>
                <a:gd name="connsiteX4" fmla="*/ 249893 w 319685"/>
                <a:gd name="connsiteY4" fmla="*/ 438243 h 463823"/>
                <a:gd name="connsiteX5" fmla="*/ 200165 w 319685"/>
                <a:gd name="connsiteY5" fmla="*/ 412086 h 463823"/>
                <a:gd name="connsiteX6" fmla="*/ 155187 w 319685"/>
                <a:gd name="connsiteY6" fmla="*/ 383747 h 463823"/>
                <a:gd name="connsiteX7" fmla="*/ 135838 w 319685"/>
                <a:gd name="connsiteY7" fmla="*/ 367851 h 463823"/>
                <a:gd name="connsiteX8" fmla="*/ 125452 w 319685"/>
                <a:gd name="connsiteY8" fmla="*/ 346605 h 463823"/>
                <a:gd name="connsiteX9" fmla="*/ 129567 w 319685"/>
                <a:gd name="connsiteY9" fmla="*/ 339207 h 463823"/>
                <a:gd name="connsiteX10" fmla="*/ 108330 w 319685"/>
                <a:gd name="connsiteY10" fmla="*/ 305662 h 463823"/>
                <a:gd name="connsiteX11" fmla="*/ 83596 w 319685"/>
                <a:gd name="connsiteY11" fmla="*/ 258769 h 463823"/>
                <a:gd name="connsiteX12" fmla="*/ 59899 w 319685"/>
                <a:gd name="connsiteY12" fmla="*/ 208478 h 463823"/>
                <a:gd name="connsiteX13" fmla="*/ 49648 w 319685"/>
                <a:gd name="connsiteY13" fmla="*/ 197010 h 463823"/>
                <a:gd name="connsiteX14" fmla="*/ 41749 w 319685"/>
                <a:gd name="connsiteY14" fmla="*/ 178502 h 463823"/>
                <a:gd name="connsiteX15" fmla="*/ 22266 w 319685"/>
                <a:gd name="connsiteY15" fmla="*/ 162122 h 463823"/>
                <a:gd name="connsiteX16" fmla="*/ 4393 w 319685"/>
                <a:gd name="connsiteY16" fmla="*/ 151969 h 463823"/>
                <a:gd name="connsiteX17" fmla="*/ 12515 w 319685"/>
                <a:gd name="connsiteY17" fmla="*/ 140787 h 463823"/>
                <a:gd name="connsiteX18" fmla="*/ 358 w 319685"/>
                <a:gd name="connsiteY18" fmla="*/ 116929 h 463823"/>
                <a:gd name="connsiteX19" fmla="*/ 8158 w 319685"/>
                <a:gd name="connsiteY19" fmla="*/ 99423 h 463823"/>
                <a:gd name="connsiteX20" fmla="*/ 28161 w 319685"/>
                <a:gd name="connsiteY20" fmla="*/ 83661 h 463823"/>
                <a:gd name="connsiteX21" fmla="*/ 31131 w 319685"/>
                <a:gd name="connsiteY21" fmla="*/ 94047 h 463823"/>
                <a:gd name="connsiteX22" fmla="*/ 23974 w 319685"/>
                <a:gd name="connsiteY22" fmla="*/ 99996 h 463823"/>
                <a:gd name="connsiteX23" fmla="*/ 24654 w 319685"/>
                <a:gd name="connsiteY23" fmla="*/ 109156 h 463823"/>
                <a:gd name="connsiteX24" fmla="*/ 35022 w 319685"/>
                <a:gd name="connsiteY24" fmla="*/ 107161 h 463823"/>
                <a:gd name="connsiteX25" fmla="*/ 45148 w 319685"/>
                <a:gd name="connsiteY25" fmla="*/ 109863 h 463823"/>
                <a:gd name="connsiteX26" fmla="*/ 55677 w 319685"/>
                <a:gd name="connsiteY26" fmla="*/ 122485 h 463823"/>
                <a:gd name="connsiteX27" fmla="*/ 69856 w 319685"/>
                <a:gd name="connsiteY27" fmla="*/ 112197 h 463823"/>
                <a:gd name="connsiteX28" fmla="*/ 74606 w 319685"/>
                <a:gd name="connsiteY28" fmla="*/ 95353 h 463823"/>
                <a:gd name="connsiteX29" fmla="*/ 89974 w 319685"/>
                <a:gd name="connsiteY29" fmla="*/ 73633 h 463823"/>
                <a:gd name="connsiteX30" fmla="*/ 120129 w 319685"/>
                <a:gd name="connsiteY30" fmla="*/ 63793 h 463823"/>
                <a:gd name="connsiteX31" fmla="*/ 147485 w 319685"/>
                <a:gd name="connsiteY31" fmla="*/ 37690 h 463823"/>
                <a:gd name="connsiteX32" fmla="*/ 155294 w 319685"/>
                <a:gd name="connsiteY32" fmla="*/ 21490 h 463823"/>
                <a:gd name="connsiteX33" fmla="*/ 151787 w 319685"/>
                <a:gd name="connsiteY33" fmla="*/ 2570 h 463823"/>
                <a:gd name="connsiteX34" fmla="*/ 158479 w 319685"/>
                <a:gd name="connsiteY34" fmla="*/ 200 h 463823"/>
                <a:gd name="connsiteX35" fmla="*/ 175162 w 319685"/>
                <a:gd name="connsiteY35" fmla="*/ 12008 h 463823"/>
                <a:gd name="connsiteX36" fmla="*/ 183168 w 319685"/>
                <a:gd name="connsiteY36" fmla="*/ 23762 h 463823"/>
                <a:gd name="connsiteX37" fmla="*/ 194779 w 319685"/>
                <a:gd name="connsiteY37" fmla="*/ 30185 h 463823"/>
                <a:gd name="connsiteX38" fmla="*/ 209558 w 319685"/>
                <a:gd name="connsiteY38" fmla="*/ 56315 h 463823"/>
                <a:gd name="connsiteX39" fmla="*/ 228227 w 319685"/>
                <a:gd name="connsiteY39" fmla="*/ 59446 h 463823"/>
                <a:gd name="connsiteX40" fmla="*/ 242047 w 319685"/>
                <a:gd name="connsiteY40" fmla="*/ 52853 h 463823"/>
                <a:gd name="connsiteX41" fmla="*/ 251109 w 319685"/>
                <a:gd name="connsiteY41" fmla="*/ 57165 h 463823"/>
                <a:gd name="connsiteX42" fmla="*/ 266165 w 319685"/>
                <a:gd name="connsiteY42" fmla="*/ 55018 h 463823"/>
                <a:gd name="connsiteX43" fmla="*/ 285371 w 319685"/>
                <a:gd name="connsiteY43" fmla="*/ 66701 h 463823"/>
                <a:gd name="connsiteX44" fmla="*/ 269188 w 319685"/>
                <a:gd name="connsiteY44" fmla="*/ 92097 h 463823"/>
                <a:gd name="connsiteX45" fmla="*/ 276676 w 319685"/>
                <a:gd name="connsiteY45" fmla="*/ 92687 h 463823"/>
                <a:gd name="connsiteX46" fmla="*/ 289235 w 319685"/>
                <a:gd name="connsiteY46" fmla="*/ 105962 h 463823"/>
                <a:gd name="connsiteX47" fmla="*/ 266630 w 319685"/>
                <a:gd name="connsiteY47" fmla="*/ 104790 h 463823"/>
                <a:gd name="connsiteX48" fmla="*/ 263266 w 319685"/>
                <a:gd name="connsiteY48" fmla="*/ 108548 h 463823"/>
                <a:gd name="connsiteX49" fmla="*/ 242709 w 319685"/>
                <a:gd name="connsiteY49" fmla="*/ 113360 h 463823"/>
                <a:gd name="connsiteX50" fmla="*/ 214030 w 319685"/>
                <a:gd name="connsiteY50" fmla="*/ 130375 h 463823"/>
                <a:gd name="connsiteX51" fmla="*/ 212205 w 319685"/>
                <a:gd name="connsiteY51" fmla="*/ 142058 h 463823"/>
                <a:gd name="connsiteX52" fmla="*/ 205809 w 319685"/>
                <a:gd name="connsiteY52" fmla="*/ 150770 h 463823"/>
                <a:gd name="connsiteX53" fmla="*/ 208305 w 319685"/>
                <a:gd name="connsiteY53" fmla="*/ 164332 h 463823"/>
                <a:gd name="connsiteX54" fmla="*/ 193151 w 319685"/>
                <a:gd name="connsiteY54" fmla="*/ 171578 h 463823"/>
                <a:gd name="connsiteX55" fmla="*/ 193169 w 319685"/>
                <a:gd name="connsiteY55" fmla="*/ 182178 h 463823"/>
                <a:gd name="connsiteX56" fmla="*/ 186559 w 319685"/>
                <a:gd name="connsiteY56" fmla="*/ 186776 h 463823"/>
                <a:gd name="connsiteX57" fmla="*/ 196998 w 319685"/>
                <a:gd name="connsiteY57" fmla="*/ 209435 h 463823"/>
                <a:gd name="connsiteX58" fmla="*/ 210935 w 319685"/>
                <a:gd name="connsiteY58" fmla="*/ 224768 h 463823"/>
                <a:gd name="connsiteX59" fmla="*/ 205630 w 319685"/>
                <a:gd name="connsiteY59" fmla="*/ 235609 h 463823"/>
                <a:gd name="connsiteX60" fmla="*/ 222278 w 319685"/>
                <a:gd name="connsiteY60" fmla="*/ 237076 h 463823"/>
                <a:gd name="connsiteX61" fmla="*/ 231760 w 319685"/>
                <a:gd name="connsiteY61" fmla="*/ 250567 h 463823"/>
                <a:gd name="connsiteX62" fmla="*/ 253900 w 319685"/>
                <a:gd name="connsiteY62" fmla="*/ 251220 h 463823"/>
                <a:gd name="connsiteX63" fmla="*/ 274475 w 319685"/>
                <a:gd name="connsiteY63" fmla="*/ 236316 h 463823"/>
                <a:gd name="connsiteX64" fmla="*/ 272802 w 319685"/>
                <a:gd name="connsiteY64" fmla="*/ 274782 h 463823"/>
                <a:gd name="connsiteX65" fmla="*/ 284208 w 319685"/>
                <a:gd name="connsiteY65" fmla="*/ 277698 h 463823"/>
                <a:gd name="connsiteX66" fmla="*/ 298360 w 319685"/>
                <a:gd name="connsiteY66" fmla="*/ 273333 h 463823"/>
                <a:gd name="connsiteX67" fmla="*/ 320044 w 319685"/>
                <a:gd name="connsiteY67" fmla="*/ 314303 h 463823"/>
                <a:gd name="connsiteX68" fmla="*/ 314658 w 319685"/>
                <a:gd name="connsiteY68" fmla="*/ 322953 h 463823"/>
                <a:gd name="connsiteX69" fmla="*/ 313415 w 319685"/>
                <a:gd name="connsiteY69" fmla="*/ 340952 h 463823"/>
                <a:gd name="connsiteX70" fmla="*/ 312932 w 319685"/>
                <a:gd name="connsiteY70" fmla="*/ 362806 h 463823"/>
                <a:gd name="connsiteX71" fmla="*/ 303127 w 319685"/>
                <a:gd name="connsiteY71" fmla="*/ 375687 h 463823"/>
                <a:gd name="connsiteX72" fmla="*/ 307618 w 319685"/>
                <a:gd name="connsiteY72" fmla="*/ 385259 h 463823"/>
                <a:gd name="connsiteX73" fmla="*/ 301866 w 319685"/>
                <a:gd name="connsiteY73" fmla="*/ 393954 h 463823"/>
                <a:gd name="connsiteX74" fmla="*/ 312654 w 319685"/>
                <a:gd name="connsiteY74" fmla="*/ 415754 h 46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19685" h="463823">
                  <a:moveTo>
                    <a:pt x="296839" y="443896"/>
                  </a:moveTo>
                  <a:lnTo>
                    <a:pt x="290112" y="457324"/>
                  </a:lnTo>
                  <a:lnTo>
                    <a:pt x="277212" y="464024"/>
                  </a:lnTo>
                  <a:lnTo>
                    <a:pt x="252067" y="448969"/>
                  </a:lnTo>
                  <a:lnTo>
                    <a:pt x="249893" y="438243"/>
                  </a:lnTo>
                  <a:lnTo>
                    <a:pt x="200165" y="412086"/>
                  </a:lnTo>
                  <a:lnTo>
                    <a:pt x="155187" y="383747"/>
                  </a:lnTo>
                  <a:lnTo>
                    <a:pt x="135838" y="367851"/>
                  </a:lnTo>
                  <a:lnTo>
                    <a:pt x="125452" y="346605"/>
                  </a:lnTo>
                  <a:lnTo>
                    <a:pt x="129567" y="339207"/>
                  </a:lnTo>
                  <a:lnTo>
                    <a:pt x="108330" y="305662"/>
                  </a:lnTo>
                  <a:lnTo>
                    <a:pt x="83596" y="258769"/>
                  </a:lnTo>
                  <a:lnTo>
                    <a:pt x="59899" y="208478"/>
                  </a:lnTo>
                  <a:lnTo>
                    <a:pt x="49648" y="197010"/>
                  </a:lnTo>
                  <a:lnTo>
                    <a:pt x="41749" y="178502"/>
                  </a:lnTo>
                  <a:lnTo>
                    <a:pt x="22266" y="162122"/>
                  </a:lnTo>
                  <a:lnTo>
                    <a:pt x="4393" y="151969"/>
                  </a:lnTo>
                  <a:lnTo>
                    <a:pt x="12515" y="140787"/>
                  </a:lnTo>
                  <a:lnTo>
                    <a:pt x="358" y="116929"/>
                  </a:lnTo>
                  <a:lnTo>
                    <a:pt x="8158" y="99423"/>
                  </a:lnTo>
                  <a:lnTo>
                    <a:pt x="28161" y="83661"/>
                  </a:lnTo>
                  <a:lnTo>
                    <a:pt x="31131" y="94047"/>
                  </a:lnTo>
                  <a:lnTo>
                    <a:pt x="23974" y="99996"/>
                  </a:lnTo>
                  <a:lnTo>
                    <a:pt x="24654" y="109156"/>
                  </a:lnTo>
                  <a:lnTo>
                    <a:pt x="35022" y="107161"/>
                  </a:lnTo>
                  <a:lnTo>
                    <a:pt x="45148" y="109863"/>
                  </a:lnTo>
                  <a:lnTo>
                    <a:pt x="55677" y="122485"/>
                  </a:lnTo>
                  <a:lnTo>
                    <a:pt x="69856" y="112197"/>
                  </a:lnTo>
                  <a:lnTo>
                    <a:pt x="74606" y="95353"/>
                  </a:lnTo>
                  <a:lnTo>
                    <a:pt x="89974" y="73633"/>
                  </a:lnTo>
                  <a:lnTo>
                    <a:pt x="120129" y="63793"/>
                  </a:lnTo>
                  <a:lnTo>
                    <a:pt x="147485" y="37690"/>
                  </a:lnTo>
                  <a:lnTo>
                    <a:pt x="155294" y="21490"/>
                  </a:lnTo>
                  <a:lnTo>
                    <a:pt x="151787" y="2570"/>
                  </a:lnTo>
                  <a:lnTo>
                    <a:pt x="158479" y="200"/>
                  </a:lnTo>
                  <a:lnTo>
                    <a:pt x="175162" y="12008"/>
                  </a:lnTo>
                  <a:lnTo>
                    <a:pt x="183168" y="23762"/>
                  </a:lnTo>
                  <a:lnTo>
                    <a:pt x="194779" y="30185"/>
                  </a:lnTo>
                  <a:lnTo>
                    <a:pt x="209558" y="56315"/>
                  </a:lnTo>
                  <a:lnTo>
                    <a:pt x="228227" y="59446"/>
                  </a:lnTo>
                  <a:lnTo>
                    <a:pt x="242047" y="52853"/>
                  </a:lnTo>
                  <a:lnTo>
                    <a:pt x="251109" y="57165"/>
                  </a:lnTo>
                  <a:lnTo>
                    <a:pt x="266165" y="55018"/>
                  </a:lnTo>
                  <a:lnTo>
                    <a:pt x="285371" y="66701"/>
                  </a:lnTo>
                  <a:lnTo>
                    <a:pt x="269188" y="92097"/>
                  </a:lnTo>
                  <a:lnTo>
                    <a:pt x="276676" y="92687"/>
                  </a:lnTo>
                  <a:lnTo>
                    <a:pt x="289235" y="105962"/>
                  </a:lnTo>
                  <a:lnTo>
                    <a:pt x="266630" y="104790"/>
                  </a:lnTo>
                  <a:lnTo>
                    <a:pt x="263266" y="108548"/>
                  </a:lnTo>
                  <a:lnTo>
                    <a:pt x="242709" y="113360"/>
                  </a:lnTo>
                  <a:lnTo>
                    <a:pt x="214030" y="130375"/>
                  </a:lnTo>
                  <a:lnTo>
                    <a:pt x="212205" y="142058"/>
                  </a:lnTo>
                  <a:lnTo>
                    <a:pt x="205809" y="150770"/>
                  </a:lnTo>
                  <a:lnTo>
                    <a:pt x="208305" y="164332"/>
                  </a:lnTo>
                  <a:lnTo>
                    <a:pt x="193151" y="171578"/>
                  </a:lnTo>
                  <a:lnTo>
                    <a:pt x="193169" y="182178"/>
                  </a:lnTo>
                  <a:lnTo>
                    <a:pt x="186559" y="186776"/>
                  </a:lnTo>
                  <a:lnTo>
                    <a:pt x="196998" y="209435"/>
                  </a:lnTo>
                  <a:lnTo>
                    <a:pt x="210935" y="224768"/>
                  </a:lnTo>
                  <a:lnTo>
                    <a:pt x="205630" y="235609"/>
                  </a:lnTo>
                  <a:lnTo>
                    <a:pt x="222278" y="237076"/>
                  </a:lnTo>
                  <a:lnTo>
                    <a:pt x="231760" y="250567"/>
                  </a:lnTo>
                  <a:lnTo>
                    <a:pt x="253900" y="251220"/>
                  </a:lnTo>
                  <a:lnTo>
                    <a:pt x="274475" y="236316"/>
                  </a:lnTo>
                  <a:lnTo>
                    <a:pt x="272802" y="274782"/>
                  </a:lnTo>
                  <a:lnTo>
                    <a:pt x="284208" y="277698"/>
                  </a:lnTo>
                  <a:lnTo>
                    <a:pt x="298360" y="273333"/>
                  </a:lnTo>
                  <a:lnTo>
                    <a:pt x="320044" y="314303"/>
                  </a:lnTo>
                  <a:lnTo>
                    <a:pt x="314658" y="322953"/>
                  </a:lnTo>
                  <a:lnTo>
                    <a:pt x="313415" y="340952"/>
                  </a:lnTo>
                  <a:lnTo>
                    <a:pt x="312932" y="362806"/>
                  </a:lnTo>
                  <a:lnTo>
                    <a:pt x="303127" y="375687"/>
                  </a:lnTo>
                  <a:lnTo>
                    <a:pt x="307618" y="385259"/>
                  </a:lnTo>
                  <a:lnTo>
                    <a:pt x="301866" y="393954"/>
                  </a:lnTo>
                  <a:lnTo>
                    <a:pt x="312654" y="41575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/>
          </p:nvSpPr>
          <p:spPr>
            <a:xfrm>
              <a:off x="9374228" y="4723413"/>
              <a:ext cx="376721" cy="204646"/>
            </a:xfrm>
            <a:custGeom>
              <a:avLst/>
              <a:gdLst>
                <a:gd name="connsiteX0" fmla="*/ 373830 w 376721"/>
                <a:gd name="connsiteY0" fmla="*/ 108213 h 204646"/>
                <a:gd name="connsiteX1" fmla="*/ 366807 w 376721"/>
                <a:gd name="connsiteY1" fmla="*/ 110727 h 204646"/>
                <a:gd name="connsiteX2" fmla="*/ 355947 w 376721"/>
                <a:gd name="connsiteY2" fmla="*/ 101093 h 204646"/>
                <a:gd name="connsiteX3" fmla="*/ 344962 w 376721"/>
                <a:gd name="connsiteY3" fmla="*/ 85179 h 204646"/>
                <a:gd name="connsiteX4" fmla="*/ 339559 w 376721"/>
                <a:gd name="connsiteY4" fmla="*/ 66116 h 204646"/>
                <a:gd name="connsiteX5" fmla="*/ 343039 w 376721"/>
                <a:gd name="connsiteY5" fmla="*/ 63692 h 204646"/>
                <a:gd name="connsiteX6" fmla="*/ 345732 w 376721"/>
                <a:gd name="connsiteY6" fmla="*/ 71134 h 204646"/>
                <a:gd name="connsiteX7" fmla="*/ 353335 w 376721"/>
                <a:gd name="connsiteY7" fmla="*/ 76815 h 204646"/>
                <a:gd name="connsiteX8" fmla="*/ 365492 w 376721"/>
                <a:gd name="connsiteY8" fmla="*/ 92693 h 204646"/>
                <a:gd name="connsiteX9" fmla="*/ 377336 w 376721"/>
                <a:gd name="connsiteY9" fmla="*/ 101200 h 204646"/>
                <a:gd name="connsiteX10" fmla="*/ 373830 w 376721"/>
                <a:gd name="connsiteY10" fmla="*/ 108213 h 204646"/>
                <a:gd name="connsiteX11" fmla="*/ 276091 w 376721"/>
                <a:gd name="connsiteY11" fmla="*/ 74587 h 204646"/>
                <a:gd name="connsiteX12" fmla="*/ 262950 w 376721"/>
                <a:gd name="connsiteY12" fmla="*/ 76645 h 204646"/>
                <a:gd name="connsiteX13" fmla="*/ 258996 w 376721"/>
                <a:gd name="connsiteY13" fmla="*/ 83667 h 204646"/>
                <a:gd name="connsiteX14" fmla="*/ 245283 w 376721"/>
                <a:gd name="connsiteY14" fmla="*/ 89759 h 204646"/>
                <a:gd name="connsiteX15" fmla="*/ 232410 w 376721"/>
                <a:gd name="connsiteY15" fmla="*/ 95618 h 204646"/>
                <a:gd name="connsiteX16" fmla="*/ 219090 w 376721"/>
                <a:gd name="connsiteY16" fmla="*/ 95591 h 204646"/>
                <a:gd name="connsiteX17" fmla="*/ 198524 w 376721"/>
                <a:gd name="connsiteY17" fmla="*/ 88319 h 204646"/>
                <a:gd name="connsiteX18" fmla="*/ 184194 w 376721"/>
                <a:gd name="connsiteY18" fmla="*/ 81332 h 204646"/>
                <a:gd name="connsiteX19" fmla="*/ 186269 w 376721"/>
                <a:gd name="connsiteY19" fmla="*/ 73585 h 204646"/>
                <a:gd name="connsiteX20" fmla="*/ 208758 w 376721"/>
                <a:gd name="connsiteY20" fmla="*/ 77244 h 204646"/>
                <a:gd name="connsiteX21" fmla="*/ 222481 w 376721"/>
                <a:gd name="connsiteY21" fmla="*/ 75285 h 204646"/>
                <a:gd name="connsiteX22" fmla="*/ 226264 w 376721"/>
                <a:gd name="connsiteY22" fmla="*/ 63289 h 204646"/>
                <a:gd name="connsiteX23" fmla="*/ 229861 w 376721"/>
                <a:gd name="connsiteY23" fmla="*/ 62672 h 204646"/>
                <a:gd name="connsiteX24" fmla="*/ 232294 w 376721"/>
                <a:gd name="connsiteY24" fmla="*/ 75956 h 204646"/>
                <a:gd name="connsiteX25" fmla="*/ 246606 w 376721"/>
                <a:gd name="connsiteY25" fmla="*/ 74042 h 204646"/>
                <a:gd name="connsiteX26" fmla="*/ 253682 w 376721"/>
                <a:gd name="connsiteY26" fmla="*/ 65481 h 204646"/>
                <a:gd name="connsiteX27" fmla="*/ 267682 w 376721"/>
                <a:gd name="connsiteY27" fmla="*/ 56562 h 204646"/>
                <a:gd name="connsiteX28" fmla="*/ 264918 w 376721"/>
                <a:gd name="connsiteY28" fmla="*/ 41838 h 204646"/>
                <a:gd name="connsiteX29" fmla="*/ 279947 w 376721"/>
                <a:gd name="connsiteY29" fmla="*/ 41364 h 204646"/>
                <a:gd name="connsiteX30" fmla="*/ 285010 w 376721"/>
                <a:gd name="connsiteY30" fmla="*/ 45461 h 204646"/>
                <a:gd name="connsiteX31" fmla="*/ 284500 w 376721"/>
                <a:gd name="connsiteY31" fmla="*/ 59326 h 204646"/>
                <a:gd name="connsiteX32" fmla="*/ 276091 w 376721"/>
                <a:gd name="connsiteY32" fmla="*/ 74587 h 204646"/>
                <a:gd name="connsiteX33" fmla="*/ 155917 w 376721"/>
                <a:gd name="connsiteY33" fmla="*/ 122481 h 204646"/>
                <a:gd name="connsiteX34" fmla="*/ 178317 w 376721"/>
                <a:gd name="connsiteY34" fmla="*/ 138977 h 204646"/>
                <a:gd name="connsiteX35" fmla="*/ 194597 w 376721"/>
                <a:gd name="connsiteY35" fmla="*/ 165697 h 204646"/>
                <a:gd name="connsiteX36" fmla="*/ 208964 w 376721"/>
                <a:gd name="connsiteY36" fmla="*/ 164856 h 204646"/>
                <a:gd name="connsiteX37" fmla="*/ 207953 w 376721"/>
                <a:gd name="connsiteY37" fmla="*/ 176038 h 204646"/>
                <a:gd name="connsiteX38" fmla="*/ 227320 w 376721"/>
                <a:gd name="connsiteY38" fmla="*/ 180332 h 204646"/>
                <a:gd name="connsiteX39" fmla="*/ 219797 w 376721"/>
                <a:gd name="connsiteY39" fmla="*/ 185100 h 204646"/>
                <a:gd name="connsiteX40" fmla="*/ 246446 w 376721"/>
                <a:gd name="connsiteY40" fmla="*/ 195745 h 204646"/>
                <a:gd name="connsiteX41" fmla="*/ 243663 w 376721"/>
                <a:gd name="connsiteY41" fmla="*/ 203072 h 204646"/>
                <a:gd name="connsiteX42" fmla="*/ 227052 w 376721"/>
                <a:gd name="connsiteY42" fmla="*/ 204843 h 204646"/>
                <a:gd name="connsiteX43" fmla="*/ 220888 w 376721"/>
                <a:gd name="connsiteY43" fmla="*/ 198277 h 204646"/>
                <a:gd name="connsiteX44" fmla="*/ 199338 w 376721"/>
                <a:gd name="connsiteY44" fmla="*/ 195432 h 204646"/>
                <a:gd name="connsiteX45" fmla="*/ 174005 w 376721"/>
                <a:gd name="connsiteY45" fmla="*/ 191621 h 204646"/>
                <a:gd name="connsiteX46" fmla="*/ 154494 w 376721"/>
                <a:gd name="connsiteY46" fmla="*/ 175484 h 204646"/>
                <a:gd name="connsiteX47" fmla="*/ 140262 w 376721"/>
                <a:gd name="connsiteY47" fmla="*/ 161600 h 204646"/>
                <a:gd name="connsiteX48" fmla="*/ 127229 w 376721"/>
                <a:gd name="connsiteY48" fmla="*/ 139550 h 204646"/>
                <a:gd name="connsiteX49" fmla="*/ 94515 w 376721"/>
                <a:gd name="connsiteY49" fmla="*/ 128556 h 204646"/>
                <a:gd name="connsiteX50" fmla="*/ 73270 w 376721"/>
                <a:gd name="connsiteY50" fmla="*/ 135730 h 204646"/>
                <a:gd name="connsiteX51" fmla="*/ 57955 w 376721"/>
                <a:gd name="connsiteY51" fmla="*/ 144040 h 204646"/>
                <a:gd name="connsiteX52" fmla="*/ 61148 w 376721"/>
                <a:gd name="connsiteY52" fmla="*/ 162629 h 204646"/>
                <a:gd name="connsiteX53" fmla="*/ 41450 w 376721"/>
                <a:gd name="connsiteY53" fmla="*/ 171306 h 204646"/>
                <a:gd name="connsiteX54" fmla="*/ 27406 w 376721"/>
                <a:gd name="connsiteY54" fmla="*/ 167084 h 204646"/>
                <a:gd name="connsiteX55" fmla="*/ 1464 w 376721"/>
                <a:gd name="connsiteY55" fmla="*/ 166028 h 204646"/>
                <a:gd name="connsiteX56" fmla="*/ 1035 w 376721"/>
                <a:gd name="connsiteY56" fmla="*/ 84114 h 204646"/>
                <a:gd name="connsiteX57" fmla="*/ 614 w 376721"/>
                <a:gd name="connsiteY57" fmla="*/ 2683 h 204646"/>
                <a:gd name="connsiteX58" fmla="*/ 44134 w 376721"/>
                <a:gd name="connsiteY58" fmla="*/ 19868 h 204646"/>
                <a:gd name="connsiteX59" fmla="*/ 90508 w 376721"/>
                <a:gd name="connsiteY59" fmla="*/ 34154 h 204646"/>
                <a:gd name="connsiteX60" fmla="*/ 107790 w 376721"/>
                <a:gd name="connsiteY60" fmla="*/ 46946 h 204646"/>
                <a:gd name="connsiteX61" fmla="*/ 121763 w 376721"/>
                <a:gd name="connsiteY61" fmla="*/ 59514 h 204646"/>
                <a:gd name="connsiteX62" fmla="*/ 125574 w 376721"/>
                <a:gd name="connsiteY62" fmla="*/ 74247 h 204646"/>
                <a:gd name="connsiteX63" fmla="*/ 167367 w 376721"/>
                <a:gd name="connsiteY63" fmla="*/ 89723 h 204646"/>
                <a:gd name="connsiteX64" fmla="*/ 173468 w 376721"/>
                <a:gd name="connsiteY64" fmla="*/ 103016 h 204646"/>
                <a:gd name="connsiteX65" fmla="*/ 150389 w 376721"/>
                <a:gd name="connsiteY65" fmla="*/ 105718 h 204646"/>
                <a:gd name="connsiteX66" fmla="*/ 155917 w 376721"/>
                <a:gd name="connsiteY66" fmla="*/ 122481 h 204646"/>
                <a:gd name="connsiteX67" fmla="*/ 305110 w 376721"/>
                <a:gd name="connsiteY67" fmla="*/ 50121 h 204646"/>
                <a:gd name="connsiteX68" fmla="*/ 297265 w 376721"/>
                <a:gd name="connsiteY68" fmla="*/ 56786 h 204646"/>
                <a:gd name="connsiteX69" fmla="*/ 292541 w 376721"/>
                <a:gd name="connsiteY69" fmla="*/ 42035 h 204646"/>
                <a:gd name="connsiteX70" fmla="*/ 286709 w 376721"/>
                <a:gd name="connsiteY70" fmla="*/ 32383 h 204646"/>
                <a:gd name="connsiteX71" fmla="*/ 275348 w 376721"/>
                <a:gd name="connsiteY71" fmla="*/ 24197 h 204646"/>
                <a:gd name="connsiteX72" fmla="*/ 261071 w 376721"/>
                <a:gd name="connsiteY72" fmla="*/ 13552 h 204646"/>
                <a:gd name="connsiteX73" fmla="*/ 242966 w 376721"/>
                <a:gd name="connsiteY73" fmla="*/ 6217 h 204646"/>
                <a:gd name="connsiteX74" fmla="*/ 249934 w 376721"/>
                <a:gd name="connsiteY74" fmla="*/ 197 h 204646"/>
                <a:gd name="connsiteX75" fmla="*/ 263478 w 376721"/>
                <a:gd name="connsiteY75" fmla="*/ 7183 h 204646"/>
                <a:gd name="connsiteX76" fmla="*/ 272003 w 376721"/>
                <a:gd name="connsiteY76" fmla="*/ 12667 h 204646"/>
                <a:gd name="connsiteX77" fmla="*/ 282541 w 376721"/>
                <a:gd name="connsiteY77" fmla="*/ 18651 h 204646"/>
                <a:gd name="connsiteX78" fmla="*/ 292577 w 376721"/>
                <a:gd name="connsiteY78" fmla="*/ 29135 h 204646"/>
                <a:gd name="connsiteX79" fmla="*/ 302104 w 376721"/>
                <a:gd name="connsiteY79" fmla="*/ 37133 h 204646"/>
                <a:gd name="connsiteX80" fmla="*/ 305110 w 376721"/>
                <a:gd name="connsiteY80" fmla="*/ 50121 h 20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6721" h="204646">
                  <a:moveTo>
                    <a:pt x="373830" y="108213"/>
                  </a:moveTo>
                  <a:lnTo>
                    <a:pt x="366807" y="110727"/>
                  </a:lnTo>
                  <a:lnTo>
                    <a:pt x="355947" y="101093"/>
                  </a:lnTo>
                  <a:lnTo>
                    <a:pt x="344962" y="85179"/>
                  </a:lnTo>
                  <a:lnTo>
                    <a:pt x="339559" y="66116"/>
                  </a:lnTo>
                  <a:lnTo>
                    <a:pt x="343039" y="63692"/>
                  </a:lnTo>
                  <a:lnTo>
                    <a:pt x="345732" y="71134"/>
                  </a:lnTo>
                  <a:lnTo>
                    <a:pt x="353335" y="76815"/>
                  </a:lnTo>
                  <a:lnTo>
                    <a:pt x="365492" y="92693"/>
                  </a:lnTo>
                  <a:lnTo>
                    <a:pt x="377336" y="101200"/>
                  </a:lnTo>
                  <a:lnTo>
                    <a:pt x="373830" y="108213"/>
                  </a:lnTo>
                  <a:close/>
                  <a:moveTo>
                    <a:pt x="276091" y="74587"/>
                  </a:moveTo>
                  <a:lnTo>
                    <a:pt x="262950" y="76645"/>
                  </a:lnTo>
                  <a:lnTo>
                    <a:pt x="258996" y="83667"/>
                  </a:lnTo>
                  <a:lnTo>
                    <a:pt x="245283" y="89759"/>
                  </a:lnTo>
                  <a:lnTo>
                    <a:pt x="232410" y="95618"/>
                  </a:lnTo>
                  <a:lnTo>
                    <a:pt x="219090" y="95591"/>
                  </a:lnTo>
                  <a:lnTo>
                    <a:pt x="198524" y="88319"/>
                  </a:lnTo>
                  <a:lnTo>
                    <a:pt x="184194" y="81332"/>
                  </a:lnTo>
                  <a:lnTo>
                    <a:pt x="186269" y="73585"/>
                  </a:lnTo>
                  <a:lnTo>
                    <a:pt x="208758" y="77244"/>
                  </a:lnTo>
                  <a:lnTo>
                    <a:pt x="222481" y="75285"/>
                  </a:lnTo>
                  <a:lnTo>
                    <a:pt x="226264" y="63289"/>
                  </a:lnTo>
                  <a:lnTo>
                    <a:pt x="229861" y="62672"/>
                  </a:lnTo>
                  <a:lnTo>
                    <a:pt x="232294" y="75956"/>
                  </a:lnTo>
                  <a:lnTo>
                    <a:pt x="246606" y="74042"/>
                  </a:lnTo>
                  <a:lnTo>
                    <a:pt x="253682" y="65481"/>
                  </a:lnTo>
                  <a:lnTo>
                    <a:pt x="267682" y="56562"/>
                  </a:lnTo>
                  <a:lnTo>
                    <a:pt x="264918" y="41838"/>
                  </a:lnTo>
                  <a:lnTo>
                    <a:pt x="279947" y="41364"/>
                  </a:lnTo>
                  <a:lnTo>
                    <a:pt x="285010" y="45461"/>
                  </a:lnTo>
                  <a:lnTo>
                    <a:pt x="284500" y="59326"/>
                  </a:lnTo>
                  <a:lnTo>
                    <a:pt x="276091" y="74587"/>
                  </a:lnTo>
                  <a:close/>
                  <a:moveTo>
                    <a:pt x="155917" y="122481"/>
                  </a:moveTo>
                  <a:lnTo>
                    <a:pt x="178317" y="138977"/>
                  </a:lnTo>
                  <a:lnTo>
                    <a:pt x="194597" y="165697"/>
                  </a:lnTo>
                  <a:lnTo>
                    <a:pt x="208964" y="164856"/>
                  </a:lnTo>
                  <a:lnTo>
                    <a:pt x="207953" y="176038"/>
                  </a:lnTo>
                  <a:lnTo>
                    <a:pt x="227320" y="180332"/>
                  </a:lnTo>
                  <a:lnTo>
                    <a:pt x="219797" y="185100"/>
                  </a:lnTo>
                  <a:lnTo>
                    <a:pt x="246446" y="195745"/>
                  </a:lnTo>
                  <a:lnTo>
                    <a:pt x="243663" y="203072"/>
                  </a:lnTo>
                  <a:lnTo>
                    <a:pt x="227052" y="204843"/>
                  </a:lnTo>
                  <a:lnTo>
                    <a:pt x="220888" y="198277"/>
                  </a:lnTo>
                  <a:lnTo>
                    <a:pt x="199338" y="195432"/>
                  </a:lnTo>
                  <a:lnTo>
                    <a:pt x="174005" y="191621"/>
                  </a:lnTo>
                  <a:lnTo>
                    <a:pt x="154494" y="175484"/>
                  </a:lnTo>
                  <a:lnTo>
                    <a:pt x="140262" y="161600"/>
                  </a:lnTo>
                  <a:lnTo>
                    <a:pt x="127229" y="139550"/>
                  </a:lnTo>
                  <a:lnTo>
                    <a:pt x="94515" y="128556"/>
                  </a:lnTo>
                  <a:lnTo>
                    <a:pt x="73270" y="135730"/>
                  </a:lnTo>
                  <a:lnTo>
                    <a:pt x="57955" y="144040"/>
                  </a:lnTo>
                  <a:lnTo>
                    <a:pt x="61148" y="162629"/>
                  </a:lnTo>
                  <a:lnTo>
                    <a:pt x="41450" y="171306"/>
                  </a:lnTo>
                  <a:lnTo>
                    <a:pt x="27406" y="167084"/>
                  </a:lnTo>
                  <a:lnTo>
                    <a:pt x="1464" y="166028"/>
                  </a:lnTo>
                  <a:lnTo>
                    <a:pt x="1035" y="84114"/>
                  </a:lnTo>
                  <a:lnTo>
                    <a:pt x="614" y="2683"/>
                  </a:lnTo>
                  <a:lnTo>
                    <a:pt x="44134" y="19868"/>
                  </a:lnTo>
                  <a:lnTo>
                    <a:pt x="90508" y="34154"/>
                  </a:lnTo>
                  <a:lnTo>
                    <a:pt x="107790" y="46946"/>
                  </a:lnTo>
                  <a:lnTo>
                    <a:pt x="121763" y="59514"/>
                  </a:lnTo>
                  <a:lnTo>
                    <a:pt x="125574" y="74247"/>
                  </a:lnTo>
                  <a:lnTo>
                    <a:pt x="167367" y="89723"/>
                  </a:lnTo>
                  <a:lnTo>
                    <a:pt x="173468" y="103016"/>
                  </a:lnTo>
                  <a:lnTo>
                    <a:pt x="150389" y="105718"/>
                  </a:lnTo>
                  <a:lnTo>
                    <a:pt x="155917" y="122481"/>
                  </a:lnTo>
                  <a:close/>
                  <a:moveTo>
                    <a:pt x="305110" y="50121"/>
                  </a:moveTo>
                  <a:lnTo>
                    <a:pt x="297265" y="56786"/>
                  </a:lnTo>
                  <a:lnTo>
                    <a:pt x="292541" y="42035"/>
                  </a:lnTo>
                  <a:lnTo>
                    <a:pt x="286709" y="32383"/>
                  </a:lnTo>
                  <a:lnTo>
                    <a:pt x="275348" y="24197"/>
                  </a:lnTo>
                  <a:lnTo>
                    <a:pt x="261071" y="13552"/>
                  </a:lnTo>
                  <a:lnTo>
                    <a:pt x="242966" y="6217"/>
                  </a:lnTo>
                  <a:lnTo>
                    <a:pt x="249934" y="197"/>
                  </a:lnTo>
                  <a:lnTo>
                    <a:pt x="263478" y="7183"/>
                  </a:lnTo>
                  <a:lnTo>
                    <a:pt x="272003" y="12667"/>
                  </a:lnTo>
                  <a:lnTo>
                    <a:pt x="282541" y="18651"/>
                  </a:lnTo>
                  <a:lnTo>
                    <a:pt x="292577" y="29135"/>
                  </a:lnTo>
                  <a:lnTo>
                    <a:pt x="302104" y="37133"/>
                  </a:lnTo>
                  <a:lnTo>
                    <a:pt x="305110" y="5012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/>
          </p:nvSpPr>
          <p:spPr>
            <a:xfrm>
              <a:off x="8776633" y="4191728"/>
              <a:ext cx="234846" cy="330115"/>
            </a:xfrm>
            <a:custGeom>
              <a:avLst/>
              <a:gdLst>
                <a:gd name="connsiteX0" fmla="*/ 231404 w 234846"/>
                <a:gd name="connsiteY0" fmla="*/ 259148 h 330115"/>
                <a:gd name="connsiteX1" fmla="*/ 233954 w 234846"/>
                <a:gd name="connsiteY1" fmla="*/ 275867 h 330115"/>
                <a:gd name="connsiteX2" fmla="*/ 235430 w 234846"/>
                <a:gd name="connsiteY2" fmla="*/ 289965 h 330115"/>
                <a:gd name="connsiteX3" fmla="*/ 226887 w 234846"/>
                <a:gd name="connsiteY3" fmla="*/ 312919 h 330115"/>
                <a:gd name="connsiteX4" fmla="*/ 217727 w 234846"/>
                <a:gd name="connsiteY4" fmla="*/ 287344 h 330115"/>
                <a:gd name="connsiteX5" fmla="*/ 205999 w 234846"/>
                <a:gd name="connsiteY5" fmla="*/ 300082 h 330115"/>
                <a:gd name="connsiteX6" fmla="*/ 214014 w 234846"/>
                <a:gd name="connsiteY6" fmla="*/ 318555 h 330115"/>
                <a:gd name="connsiteX7" fmla="*/ 206822 w 234846"/>
                <a:gd name="connsiteY7" fmla="*/ 330291 h 330115"/>
                <a:gd name="connsiteX8" fmla="*/ 177302 w 234846"/>
                <a:gd name="connsiteY8" fmla="*/ 315754 h 330115"/>
                <a:gd name="connsiteX9" fmla="*/ 170253 w 234846"/>
                <a:gd name="connsiteY9" fmla="*/ 297604 h 330115"/>
                <a:gd name="connsiteX10" fmla="*/ 177902 w 234846"/>
                <a:gd name="connsiteY10" fmla="*/ 285671 h 330115"/>
                <a:gd name="connsiteX11" fmla="*/ 162014 w 234846"/>
                <a:gd name="connsiteY11" fmla="*/ 273782 h 330115"/>
                <a:gd name="connsiteX12" fmla="*/ 154133 w 234846"/>
                <a:gd name="connsiteY12" fmla="*/ 284204 h 330115"/>
                <a:gd name="connsiteX13" fmla="*/ 142334 w 234846"/>
                <a:gd name="connsiteY13" fmla="*/ 283238 h 330115"/>
                <a:gd name="connsiteX14" fmla="*/ 123772 w 234846"/>
                <a:gd name="connsiteY14" fmla="*/ 297246 h 330115"/>
                <a:gd name="connsiteX15" fmla="*/ 119622 w 234846"/>
                <a:gd name="connsiteY15" fmla="*/ 289893 h 330115"/>
                <a:gd name="connsiteX16" fmla="*/ 129471 w 234846"/>
                <a:gd name="connsiteY16" fmla="*/ 268710 h 330115"/>
                <a:gd name="connsiteX17" fmla="*/ 145268 w 234846"/>
                <a:gd name="connsiteY17" fmla="*/ 261625 h 330115"/>
                <a:gd name="connsiteX18" fmla="*/ 158946 w 234846"/>
                <a:gd name="connsiteY18" fmla="*/ 252125 h 330115"/>
                <a:gd name="connsiteX19" fmla="*/ 167811 w 234846"/>
                <a:gd name="connsiteY19" fmla="*/ 263531 h 330115"/>
                <a:gd name="connsiteX20" fmla="*/ 186883 w 234846"/>
                <a:gd name="connsiteY20" fmla="*/ 256634 h 330115"/>
                <a:gd name="connsiteX21" fmla="*/ 190971 w 234846"/>
                <a:gd name="connsiteY21" fmla="*/ 245389 h 330115"/>
                <a:gd name="connsiteX22" fmla="*/ 208701 w 234846"/>
                <a:gd name="connsiteY22" fmla="*/ 244718 h 330115"/>
                <a:gd name="connsiteX23" fmla="*/ 207207 w 234846"/>
                <a:gd name="connsiteY23" fmla="*/ 225181 h 330115"/>
                <a:gd name="connsiteX24" fmla="*/ 227540 w 234846"/>
                <a:gd name="connsiteY24" fmla="*/ 237168 h 330115"/>
                <a:gd name="connsiteX25" fmla="*/ 229642 w 234846"/>
                <a:gd name="connsiteY25" fmla="*/ 249871 h 330115"/>
                <a:gd name="connsiteX26" fmla="*/ 231404 w 234846"/>
                <a:gd name="connsiteY26" fmla="*/ 259148 h 330115"/>
                <a:gd name="connsiteX27" fmla="*/ 171354 w 234846"/>
                <a:gd name="connsiteY27" fmla="*/ 212067 h 330115"/>
                <a:gd name="connsiteX28" fmla="*/ 162337 w 234846"/>
                <a:gd name="connsiteY28" fmla="*/ 220387 h 330115"/>
                <a:gd name="connsiteX29" fmla="*/ 154482 w 234846"/>
                <a:gd name="connsiteY29" fmla="*/ 236354 h 330115"/>
                <a:gd name="connsiteX30" fmla="*/ 146601 w 234846"/>
                <a:gd name="connsiteY30" fmla="*/ 243824 h 330115"/>
                <a:gd name="connsiteX31" fmla="*/ 131152 w 234846"/>
                <a:gd name="connsiteY31" fmla="*/ 226362 h 330115"/>
                <a:gd name="connsiteX32" fmla="*/ 136314 w 234846"/>
                <a:gd name="connsiteY32" fmla="*/ 219590 h 330115"/>
                <a:gd name="connsiteX33" fmla="*/ 142612 w 234846"/>
                <a:gd name="connsiteY33" fmla="*/ 212506 h 330115"/>
                <a:gd name="connsiteX34" fmla="*/ 145385 w 234846"/>
                <a:gd name="connsiteY34" fmla="*/ 196770 h 330115"/>
                <a:gd name="connsiteX35" fmla="*/ 159215 w 234846"/>
                <a:gd name="connsiteY35" fmla="*/ 195277 h 330115"/>
                <a:gd name="connsiteX36" fmla="*/ 155180 w 234846"/>
                <a:gd name="connsiteY36" fmla="*/ 212344 h 330115"/>
                <a:gd name="connsiteX37" fmla="*/ 173742 w 234846"/>
                <a:gd name="connsiteY37" fmla="*/ 187861 h 330115"/>
                <a:gd name="connsiteX38" fmla="*/ 171354 w 234846"/>
                <a:gd name="connsiteY38" fmla="*/ 212067 h 330115"/>
                <a:gd name="connsiteX39" fmla="*/ 33950 w 234846"/>
                <a:gd name="connsiteY39" fmla="*/ 236408 h 330115"/>
                <a:gd name="connsiteX40" fmla="*/ 584 w 234846"/>
                <a:gd name="connsiteY40" fmla="*/ 260337 h 330115"/>
                <a:gd name="connsiteX41" fmla="*/ 12884 w 234846"/>
                <a:gd name="connsiteY41" fmla="*/ 242706 h 330115"/>
                <a:gd name="connsiteX42" fmla="*/ 30999 w 234846"/>
                <a:gd name="connsiteY42" fmla="*/ 227114 h 330115"/>
                <a:gd name="connsiteX43" fmla="*/ 46062 w 234846"/>
                <a:gd name="connsiteY43" fmla="*/ 209607 h 330115"/>
                <a:gd name="connsiteX44" fmla="*/ 59213 w 234846"/>
                <a:gd name="connsiteY44" fmla="*/ 184399 h 330115"/>
                <a:gd name="connsiteX45" fmla="*/ 63676 w 234846"/>
                <a:gd name="connsiteY45" fmla="*/ 205099 h 330115"/>
                <a:gd name="connsiteX46" fmla="*/ 47118 w 234846"/>
                <a:gd name="connsiteY46" fmla="*/ 219045 h 330115"/>
                <a:gd name="connsiteX47" fmla="*/ 33950 w 234846"/>
                <a:gd name="connsiteY47" fmla="*/ 236408 h 330115"/>
                <a:gd name="connsiteX48" fmla="*/ 118700 w 234846"/>
                <a:gd name="connsiteY48" fmla="*/ 171106 h 330115"/>
                <a:gd name="connsiteX49" fmla="*/ 133764 w 234846"/>
                <a:gd name="connsiteY49" fmla="*/ 178987 h 330115"/>
                <a:gd name="connsiteX50" fmla="*/ 149723 w 234846"/>
                <a:gd name="connsiteY50" fmla="*/ 178951 h 330115"/>
                <a:gd name="connsiteX51" fmla="*/ 149231 w 234846"/>
                <a:gd name="connsiteY51" fmla="*/ 189569 h 330115"/>
                <a:gd name="connsiteX52" fmla="*/ 137620 w 234846"/>
                <a:gd name="connsiteY52" fmla="*/ 200349 h 330115"/>
                <a:gd name="connsiteX53" fmla="*/ 121688 w 234846"/>
                <a:gd name="connsiteY53" fmla="*/ 207961 h 330115"/>
                <a:gd name="connsiteX54" fmla="*/ 120803 w 234846"/>
                <a:gd name="connsiteY54" fmla="*/ 196180 h 330115"/>
                <a:gd name="connsiteX55" fmla="*/ 122582 w 234846"/>
                <a:gd name="connsiteY55" fmla="*/ 183227 h 330115"/>
                <a:gd name="connsiteX56" fmla="*/ 118700 w 234846"/>
                <a:gd name="connsiteY56" fmla="*/ 171106 h 330115"/>
                <a:gd name="connsiteX57" fmla="*/ 209479 w 234846"/>
                <a:gd name="connsiteY57" fmla="*/ 164200 h 330115"/>
                <a:gd name="connsiteX58" fmla="*/ 216528 w 234846"/>
                <a:gd name="connsiteY58" fmla="*/ 192602 h 330115"/>
                <a:gd name="connsiteX59" fmla="*/ 197170 w 234846"/>
                <a:gd name="connsiteY59" fmla="*/ 185866 h 330115"/>
                <a:gd name="connsiteX60" fmla="*/ 197698 w 234846"/>
                <a:gd name="connsiteY60" fmla="*/ 194391 h 330115"/>
                <a:gd name="connsiteX61" fmla="*/ 203843 w 234846"/>
                <a:gd name="connsiteY61" fmla="*/ 210037 h 330115"/>
                <a:gd name="connsiteX62" fmla="*/ 191910 w 234846"/>
                <a:gd name="connsiteY62" fmla="*/ 215708 h 330115"/>
                <a:gd name="connsiteX63" fmla="*/ 190873 w 234846"/>
                <a:gd name="connsiteY63" fmla="*/ 197889 h 330115"/>
                <a:gd name="connsiteX64" fmla="*/ 183313 w 234846"/>
                <a:gd name="connsiteY64" fmla="*/ 196574 h 330115"/>
                <a:gd name="connsiteX65" fmla="*/ 179395 w 234846"/>
                <a:gd name="connsiteY65" fmla="*/ 181196 h 330115"/>
                <a:gd name="connsiteX66" fmla="*/ 194146 w 234846"/>
                <a:gd name="connsiteY66" fmla="*/ 183227 h 330115"/>
                <a:gd name="connsiteX67" fmla="*/ 193824 w 234846"/>
                <a:gd name="connsiteY67" fmla="*/ 173593 h 330115"/>
                <a:gd name="connsiteX68" fmla="*/ 178492 w 234846"/>
                <a:gd name="connsiteY68" fmla="*/ 154127 h 330115"/>
                <a:gd name="connsiteX69" fmla="*/ 202573 w 234846"/>
                <a:gd name="connsiteY69" fmla="*/ 154691 h 330115"/>
                <a:gd name="connsiteX70" fmla="*/ 209479 w 234846"/>
                <a:gd name="connsiteY70" fmla="*/ 164200 h 330115"/>
                <a:gd name="connsiteX71" fmla="*/ 109772 w 234846"/>
                <a:gd name="connsiteY71" fmla="*/ 141040 h 330115"/>
                <a:gd name="connsiteX72" fmla="*/ 103117 w 234846"/>
                <a:gd name="connsiteY72" fmla="*/ 163108 h 330115"/>
                <a:gd name="connsiteX73" fmla="*/ 92383 w 234846"/>
                <a:gd name="connsiteY73" fmla="*/ 150379 h 330115"/>
                <a:gd name="connsiteX74" fmla="*/ 79573 w 234846"/>
                <a:gd name="connsiteY74" fmla="*/ 130887 h 330115"/>
                <a:gd name="connsiteX75" fmla="*/ 101060 w 234846"/>
                <a:gd name="connsiteY75" fmla="*/ 131826 h 330115"/>
                <a:gd name="connsiteX76" fmla="*/ 109772 w 234846"/>
                <a:gd name="connsiteY76" fmla="*/ 141040 h 330115"/>
                <a:gd name="connsiteX77" fmla="*/ 104602 w 234846"/>
                <a:gd name="connsiteY77" fmla="*/ 211 h 330115"/>
                <a:gd name="connsiteX78" fmla="*/ 120069 w 234846"/>
                <a:gd name="connsiteY78" fmla="*/ 7707 h 330115"/>
                <a:gd name="connsiteX79" fmla="*/ 127798 w 234846"/>
                <a:gd name="connsiteY79" fmla="*/ 873 h 330115"/>
                <a:gd name="connsiteX80" fmla="*/ 130079 w 234846"/>
                <a:gd name="connsiteY80" fmla="*/ 7546 h 330115"/>
                <a:gd name="connsiteX81" fmla="*/ 126000 w 234846"/>
                <a:gd name="connsiteY81" fmla="*/ 18415 h 330115"/>
                <a:gd name="connsiteX82" fmla="*/ 134560 w 234846"/>
                <a:gd name="connsiteY82" fmla="*/ 37147 h 330115"/>
                <a:gd name="connsiteX83" fmla="*/ 127959 w 234846"/>
                <a:gd name="connsiteY83" fmla="*/ 58768 h 330115"/>
                <a:gd name="connsiteX84" fmla="*/ 113172 w 234846"/>
                <a:gd name="connsiteY84" fmla="*/ 67365 h 330115"/>
                <a:gd name="connsiteX85" fmla="*/ 109227 w 234846"/>
                <a:gd name="connsiteY85" fmla="*/ 88226 h 330115"/>
                <a:gd name="connsiteX86" fmla="*/ 114836 w 234846"/>
                <a:gd name="connsiteY86" fmla="*/ 108747 h 330115"/>
                <a:gd name="connsiteX87" fmla="*/ 128129 w 234846"/>
                <a:gd name="connsiteY87" fmla="*/ 111583 h 330115"/>
                <a:gd name="connsiteX88" fmla="*/ 139221 w 234846"/>
                <a:gd name="connsiteY88" fmla="*/ 108541 h 330115"/>
                <a:gd name="connsiteX89" fmla="*/ 170548 w 234846"/>
                <a:gd name="connsiteY89" fmla="*/ 122782 h 330115"/>
                <a:gd name="connsiteX90" fmla="*/ 168160 w 234846"/>
                <a:gd name="connsiteY90" fmla="*/ 136737 h 330115"/>
                <a:gd name="connsiteX91" fmla="*/ 176345 w 234846"/>
                <a:gd name="connsiteY91" fmla="*/ 142883 h 330115"/>
                <a:gd name="connsiteX92" fmla="*/ 173733 w 234846"/>
                <a:gd name="connsiteY92" fmla="*/ 154655 h 330115"/>
                <a:gd name="connsiteX93" fmla="*/ 154187 w 234846"/>
                <a:gd name="connsiteY93" fmla="*/ 142114 h 330115"/>
                <a:gd name="connsiteX94" fmla="*/ 144919 w 234846"/>
                <a:gd name="connsiteY94" fmla="*/ 128660 h 330115"/>
                <a:gd name="connsiteX95" fmla="*/ 138461 w 234846"/>
                <a:gd name="connsiteY95" fmla="*/ 138061 h 330115"/>
                <a:gd name="connsiteX96" fmla="*/ 122493 w 234846"/>
                <a:gd name="connsiteY96" fmla="*/ 122720 h 330115"/>
                <a:gd name="connsiteX97" fmla="*/ 99709 w 234846"/>
                <a:gd name="connsiteY97" fmla="*/ 126512 h 330115"/>
                <a:gd name="connsiteX98" fmla="*/ 87221 w 234846"/>
                <a:gd name="connsiteY98" fmla="*/ 120841 h 330115"/>
                <a:gd name="connsiteX99" fmla="*/ 88500 w 234846"/>
                <a:gd name="connsiteY99" fmla="*/ 110223 h 330115"/>
                <a:gd name="connsiteX100" fmla="*/ 96336 w 234846"/>
                <a:gd name="connsiteY100" fmla="*/ 103675 h 330115"/>
                <a:gd name="connsiteX101" fmla="*/ 88849 w 234846"/>
                <a:gd name="connsiteY101" fmla="*/ 97717 h 330115"/>
                <a:gd name="connsiteX102" fmla="*/ 85611 w 234846"/>
                <a:gd name="connsiteY102" fmla="*/ 107002 h 330115"/>
                <a:gd name="connsiteX103" fmla="*/ 73230 w 234846"/>
                <a:gd name="connsiteY103" fmla="*/ 92197 h 330115"/>
                <a:gd name="connsiteX104" fmla="*/ 69473 w 234846"/>
                <a:gd name="connsiteY104" fmla="*/ 80953 h 330115"/>
                <a:gd name="connsiteX105" fmla="*/ 68543 w 234846"/>
                <a:gd name="connsiteY105" fmla="*/ 56138 h 330115"/>
                <a:gd name="connsiteX106" fmla="*/ 78642 w 234846"/>
                <a:gd name="connsiteY106" fmla="*/ 64681 h 330115"/>
                <a:gd name="connsiteX107" fmla="*/ 81236 w 234846"/>
                <a:gd name="connsiteY107" fmla="*/ 23935 h 330115"/>
                <a:gd name="connsiteX108" fmla="*/ 89412 w 234846"/>
                <a:gd name="connsiteY108" fmla="*/ 175 h 330115"/>
                <a:gd name="connsiteX109" fmla="*/ 104602 w 234846"/>
                <a:gd name="connsiteY109" fmla="*/ 211 h 33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34846" h="330115">
                  <a:moveTo>
                    <a:pt x="231404" y="259148"/>
                  </a:moveTo>
                  <a:lnTo>
                    <a:pt x="233954" y="275867"/>
                  </a:lnTo>
                  <a:lnTo>
                    <a:pt x="235430" y="289965"/>
                  </a:lnTo>
                  <a:lnTo>
                    <a:pt x="226887" y="312919"/>
                  </a:lnTo>
                  <a:lnTo>
                    <a:pt x="217727" y="287344"/>
                  </a:lnTo>
                  <a:lnTo>
                    <a:pt x="205999" y="300082"/>
                  </a:lnTo>
                  <a:lnTo>
                    <a:pt x="214014" y="318555"/>
                  </a:lnTo>
                  <a:lnTo>
                    <a:pt x="206822" y="330291"/>
                  </a:lnTo>
                  <a:lnTo>
                    <a:pt x="177302" y="315754"/>
                  </a:lnTo>
                  <a:lnTo>
                    <a:pt x="170253" y="297604"/>
                  </a:lnTo>
                  <a:lnTo>
                    <a:pt x="177902" y="285671"/>
                  </a:lnTo>
                  <a:lnTo>
                    <a:pt x="162014" y="273782"/>
                  </a:lnTo>
                  <a:lnTo>
                    <a:pt x="154133" y="284204"/>
                  </a:lnTo>
                  <a:lnTo>
                    <a:pt x="142334" y="283238"/>
                  </a:lnTo>
                  <a:lnTo>
                    <a:pt x="123772" y="297246"/>
                  </a:lnTo>
                  <a:lnTo>
                    <a:pt x="119622" y="289893"/>
                  </a:lnTo>
                  <a:lnTo>
                    <a:pt x="129471" y="268710"/>
                  </a:lnTo>
                  <a:lnTo>
                    <a:pt x="145268" y="261625"/>
                  </a:lnTo>
                  <a:lnTo>
                    <a:pt x="158946" y="252125"/>
                  </a:lnTo>
                  <a:lnTo>
                    <a:pt x="167811" y="263531"/>
                  </a:lnTo>
                  <a:lnTo>
                    <a:pt x="186883" y="256634"/>
                  </a:lnTo>
                  <a:lnTo>
                    <a:pt x="190971" y="245389"/>
                  </a:lnTo>
                  <a:lnTo>
                    <a:pt x="208701" y="244718"/>
                  </a:lnTo>
                  <a:lnTo>
                    <a:pt x="207207" y="225181"/>
                  </a:lnTo>
                  <a:lnTo>
                    <a:pt x="227540" y="237168"/>
                  </a:lnTo>
                  <a:lnTo>
                    <a:pt x="229642" y="249871"/>
                  </a:lnTo>
                  <a:lnTo>
                    <a:pt x="231404" y="259148"/>
                  </a:lnTo>
                  <a:close/>
                  <a:moveTo>
                    <a:pt x="171354" y="212067"/>
                  </a:moveTo>
                  <a:lnTo>
                    <a:pt x="162337" y="220387"/>
                  </a:lnTo>
                  <a:lnTo>
                    <a:pt x="154482" y="236354"/>
                  </a:lnTo>
                  <a:lnTo>
                    <a:pt x="146601" y="243824"/>
                  </a:lnTo>
                  <a:lnTo>
                    <a:pt x="131152" y="226362"/>
                  </a:lnTo>
                  <a:lnTo>
                    <a:pt x="136314" y="219590"/>
                  </a:lnTo>
                  <a:lnTo>
                    <a:pt x="142612" y="212506"/>
                  </a:lnTo>
                  <a:lnTo>
                    <a:pt x="145385" y="196770"/>
                  </a:lnTo>
                  <a:lnTo>
                    <a:pt x="159215" y="195277"/>
                  </a:lnTo>
                  <a:lnTo>
                    <a:pt x="155180" y="212344"/>
                  </a:lnTo>
                  <a:lnTo>
                    <a:pt x="173742" y="187861"/>
                  </a:lnTo>
                  <a:lnTo>
                    <a:pt x="171354" y="212067"/>
                  </a:lnTo>
                  <a:close/>
                  <a:moveTo>
                    <a:pt x="33950" y="236408"/>
                  </a:moveTo>
                  <a:lnTo>
                    <a:pt x="584" y="260337"/>
                  </a:lnTo>
                  <a:lnTo>
                    <a:pt x="12884" y="242706"/>
                  </a:lnTo>
                  <a:lnTo>
                    <a:pt x="30999" y="227114"/>
                  </a:lnTo>
                  <a:lnTo>
                    <a:pt x="46062" y="209607"/>
                  </a:lnTo>
                  <a:lnTo>
                    <a:pt x="59213" y="184399"/>
                  </a:lnTo>
                  <a:lnTo>
                    <a:pt x="63676" y="205099"/>
                  </a:lnTo>
                  <a:lnTo>
                    <a:pt x="47118" y="219045"/>
                  </a:lnTo>
                  <a:lnTo>
                    <a:pt x="33950" y="236408"/>
                  </a:lnTo>
                  <a:close/>
                  <a:moveTo>
                    <a:pt x="118700" y="171106"/>
                  </a:moveTo>
                  <a:lnTo>
                    <a:pt x="133764" y="178987"/>
                  </a:lnTo>
                  <a:lnTo>
                    <a:pt x="149723" y="178951"/>
                  </a:lnTo>
                  <a:lnTo>
                    <a:pt x="149231" y="189569"/>
                  </a:lnTo>
                  <a:lnTo>
                    <a:pt x="137620" y="200349"/>
                  </a:lnTo>
                  <a:lnTo>
                    <a:pt x="121688" y="207961"/>
                  </a:lnTo>
                  <a:lnTo>
                    <a:pt x="120803" y="196180"/>
                  </a:lnTo>
                  <a:lnTo>
                    <a:pt x="122582" y="183227"/>
                  </a:lnTo>
                  <a:lnTo>
                    <a:pt x="118700" y="171106"/>
                  </a:lnTo>
                  <a:close/>
                  <a:moveTo>
                    <a:pt x="209479" y="164200"/>
                  </a:moveTo>
                  <a:lnTo>
                    <a:pt x="216528" y="192602"/>
                  </a:lnTo>
                  <a:lnTo>
                    <a:pt x="197170" y="185866"/>
                  </a:lnTo>
                  <a:lnTo>
                    <a:pt x="197698" y="194391"/>
                  </a:lnTo>
                  <a:lnTo>
                    <a:pt x="203843" y="210037"/>
                  </a:lnTo>
                  <a:lnTo>
                    <a:pt x="191910" y="215708"/>
                  </a:lnTo>
                  <a:lnTo>
                    <a:pt x="190873" y="197889"/>
                  </a:lnTo>
                  <a:lnTo>
                    <a:pt x="183313" y="196574"/>
                  </a:lnTo>
                  <a:lnTo>
                    <a:pt x="179395" y="181196"/>
                  </a:lnTo>
                  <a:lnTo>
                    <a:pt x="194146" y="183227"/>
                  </a:lnTo>
                  <a:lnTo>
                    <a:pt x="193824" y="173593"/>
                  </a:lnTo>
                  <a:lnTo>
                    <a:pt x="178492" y="154127"/>
                  </a:lnTo>
                  <a:lnTo>
                    <a:pt x="202573" y="154691"/>
                  </a:lnTo>
                  <a:lnTo>
                    <a:pt x="209479" y="164200"/>
                  </a:lnTo>
                  <a:close/>
                  <a:moveTo>
                    <a:pt x="109772" y="141040"/>
                  </a:moveTo>
                  <a:lnTo>
                    <a:pt x="103117" y="163108"/>
                  </a:lnTo>
                  <a:lnTo>
                    <a:pt x="92383" y="150379"/>
                  </a:lnTo>
                  <a:lnTo>
                    <a:pt x="79573" y="130887"/>
                  </a:lnTo>
                  <a:lnTo>
                    <a:pt x="101060" y="131826"/>
                  </a:lnTo>
                  <a:lnTo>
                    <a:pt x="109772" y="141040"/>
                  </a:lnTo>
                  <a:close/>
                  <a:moveTo>
                    <a:pt x="104602" y="211"/>
                  </a:moveTo>
                  <a:lnTo>
                    <a:pt x="120069" y="7707"/>
                  </a:lnTo>
                  <a:lnTo>
                    <a:pt x="127798" y="873"/>
                  </a:lnTo>
                  <a:lnTo>
                    <a:pt x="130079" y="7546"/>
                  </a:lnTo>
                  <a:lnTo>
                    <a:pt x="126000" y="18415"/>
                  </a:lnTo>
                  <a:lnTo>
                    <a:pt x="134560" y="37147"/>
                  </a:lnTo>
                  <a:lnTo>
                    <a:pt x="127959" y="58768"/>
                  </a:lnTo>
                  <a:lnTo>
                    <a:pt x="113172" y="67365"/>
                  </a:lnTo>
                  <a:lnTo>
                    <a:pt x="109227" y="88226"/>
                  </a:lnTo>
                  <a:lnTo>
                    <a:pt x="114836" y="108747"/>
                  </a:lnTo>
                  <a:lnTo>
                    <a:pt x="128129" y="111583"/>
                  </a:lnTo>
                  <a:lnTo>
                    <a:pt x="139221" y="108541"/>
                  </a:lnTo>
                  <a:lnTo>
                    <a:pt x="170548" y="122782"/>
                  </a:lnTo>
                  <a:lnTo>
                    <a:pt x="168160" y="136737"/>
                  </a:lnTo>
                  <a:lnTo>
                    <a:pt x="176345" y="142883"/>
                  </a:lnTo>
                  <a:lnTo>
                    <a:pt x="173733" y="154655"/>
                  </a:lnTo>
                  <a:lnTo>
                    <a:pt x="154187" y="142114"/>
                  </a:lnTo>
                  <a:lnTo>
                    <a:pt x="144919" y="128660"/>
                  </a:lnTo>
                  <a:lnTo>
                    <a:pt x="138461" y="138061"/>
                  </a:lnTo>
                  <a:lnTo>
                    <a:pt x="122493" y="122720"/>
                  </a:lnTo>
                  <a:lnTo>
                    <a:pt x="99709" y="126512"/>
                  </a:lnTo>
                  <a:lnTo>
                    <a:pt x="87221" y="120841"/>
                  </a:lnTo>
                  <a:lnTo>
                    <a:pt x="88500" y="110223"/>
                  </a:lnTo>
                  <a:lnTo>
                    <a:pt x="96336" y="103675"/>
                  </a:lnTo>
                  <a:lnTo>
                    <a:pt x="88849" y="97717"/>
                  </a:lnTo>
                  <a:lnTo>
                    <a:pt x="85611" y="107002"/>
                  </a:lnTo>
                  <a:lnTo>
                    <a:pt x="73230" y="92197"/>
                  </a:lnTo>
                  <a:lnTo>
                    <a:pt x="69473" y="80953"/>
                  </a:lnTo>
                  <a:lnTo>
                    <a:pt x="68543" y="56138"/>
                  </a:lnTo>
                  <a:lnTo>
                    <a:pt x="78642" y="64681"/>
                  </a:lnTo>
                  <a:lnTo>
                    <a:pt x="81236" y="23935"/>
                  </a:lnTo>
                  <a:lnTo>
                    <a:pt x="89412" y="175"/>
                  </a:lnTo>
                  <a:lnTo>
                    <a:pt x="104602" y="21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/>
          </p:nvSpPr>
          <p:spPr>
            <a:xfrm>
              <a:off x="6190704" y="3016728"/>
              <a:ext cx="249695" cy="236787"/>
            </a:xfrm>
            <a:custGeom>
              <a:avLst/>
              <a:gdLst>
                <a:gd name="connsiteX0" fmla="*/ 24100 w 249695"/>
                <a:gd name="connsiteY0" fmla="*/ 155870 h 236787"/>
                <a:gd name="connsiteX1" fmla="*/ 13821 w 249695"/>
                <a:gd name="connsiteY1" fmla="*/ 130250 h 236787"/>
                <a:gd name="connsiteX2" fmla="*/ 15780 w 249695"/>
                <a:gd name="connsiteY2" fmla="*/ 116268 h 236787"/>
                <a:gd name="connsiteX3" fmla="*/ 9572 w 249695"/>
                <a:gd name="connsiteY3" fmla="*/ 94360 h 236787"/>
                <a:gd name="connsiteX4" fmla="*/ 466 w 249695"/>
                <a:gd name="connsiteY4" fmla="*/ 79609 h 236787"/>
                <a:gd name="connsiteX5" fmla="*/ 7461 w 249695"/>
                <a:gd name="connsiteY5" fmla="*/ 68481 h 236787"/>
                <a:gd name="connsiteX6" fmla="*/ 1593 w 249695"/>
                <a:gd name="connsiteY6" fmla="*/ 47075 h 236787"/>
                <a:gd name="connsiteX7" fmla="*/ 18733 w 249695"/>
                <a:gd name="connsiteY7" fmla="*/ 34595 h 236787"/>
                <a:gd name="connsiteX8" fmla="*/ 57878 w 249695"/>
                <a:gd name="connsiteY8" fmla="*/ 14772 h 236787"/>
                <a:gd name="connsiteX9" fmla="*/ 89464 w 249695"/>
                <a:gd name="connsiteY9" fmla="*/ 119 h 236787"/>
                <a:gd name="connsiteX10" fmla="*/ 114494 w 249695"/>
                <a:gd name="connsiteY10" fmla="*/ 7455 h 236787"/>
                <a:gd name="connsiteX11" fmla="*/ 116382 w 249695"/>
                <a:gd name="connsiteY11" fmla="*/ 17984 h 236787"/>
                <a:gd name="connsiteX12" fmla="*/ 140570 w 249695"/>
                <a:gd name="connsiteY12" fmla="*/ 18520 h 236787"/>
                <a:gd name="connsiteX13" fmla="*/ 171468 w 249695"/>
                <a:gd name="connsiteY13" fmla="*/ 23405 h 236787"/>
                <a:gd name="connsiteX14" fmla="*/ 217591 w 249695"/>
                <a:gd name="connsiteY14" fmla="*/ 22761 h 236787"/>
                <a:gd name="connsiteX15" fmla="*/ 230455 w 249695"/>
                <a:gd name="connsiteY15" fmla="*/ 27341 h 236787"/>
                <a:gd name="connsiteX16" fmla="*/ 236475 w 249695"/>
                <a:gd name="connsiteY16" fmla="*/ 40482 h 236787"/>
                <a:gd name="connsiteX17" fmla="*/ 237566 w 249695"/>
                <a:gd name="connsiteY17" fmla="*/ 59178 h 236787"/>
                <a:gd name="connsiteX18" fmla="*/ 244526 w 249695"/>
                <a:gd name="connsiteY18" fmla="*/ 75092 h 236787"/>
                <a:gd name="connsiteX19" fmla="*/ 244374 w 249695"/>
                <a:gd name="connsiteY19" fmla="*/ 91623 h 236787"/>
                <a:gd name="connsiteX20" fmla="*/ 229337 w 249695"/>
                <a:gd name="connsiteY20" fmla="*/ 100032 h 236787"/>
                <a:gd name="connsiteX21" fmla="*/ 237074 w 249695"/>
                <a:gd name="connsiteY21" fmla="*/ 118969 h 236787"/>
                <a:gd name="connsiteX22" fmla="*/ 237548 w 249695"/>
                <a:gd name="connsiteY22" fmla="*/ 136977 h 236787"/>
                <a:gd name="connsiteX23" fmla="*/ 250162 w 249695"/>
                <a:gd name="connsiteY23" fmla="*/ 171784 h 236787"/>
                <a:gd name="connsiteX24" fmla="*/ 247478 w 249695"/>
                <a:gd name="connsiteY24" fmla="*/ 182831 h 236787"/>
                <a:gd name="connsiteX25" fmla="*/ 235035 w 249695"/>
                <a:gd name="connsiteY25" fmla="*/ 187402 h 236787"/>
                <a:gd name="connsiteX26" fmla="*/ 212260 w 249695"/>
                <a:gd name="connsiteY26" fmla="*/ 219687 h 236787"/>
                <a:gd name="connsiteX27" fmla="*/ 218727 w 249695"/>
                <a:gd name="connsiteY27" fmla="*/ 236907 h 236787"/>
                <a:gd name="connsiteX28" fmla="*/ 213244 w 249695"/>
                <a:gd name="connsiteY28" fmla="*/ 234688 h 236787"/>
                <a:gd name="connsiteX29" fmla="*/ 189413 w 249695"/>
                <a:gd name="connsiteY29" fmla="*/ 219946 h 236787"/>
                <a:gd name="connsiteX30" fmla="*/ 171361 w 249695"/>
                <a:gd name="connsiteY30" fmla="*/ 225385 h 236787"/>
                <a:gd name="connsiteX31" fmla="*/ 159517 w 249695"/>
                <a:gd name="connsiteY31" fmla="*/ 221440 h 236787"/>
                <a:gd name="connsiteX32" fmla="*/ 144694 w 249695"/>
                <a:gd name="connsiteY32" fmla="*/ 229661 h 236787"/>
                <a:gd name="connsiteX33" fmla="*/ 132045 w 249695"/>
                <a:gd name="connsiteY33" fmla="*/ 216037 h 236787"/>
                <a:gd name="connsiteX34" fmla="*/ 121731 w 249695"/>
                <a:gd name="connsiteY34" fmla="*/ 221270 h 236787"/>
                <a:gd name="connsiteX35" fmla="*/ 120318 w 249695"/>
                <a:gd name="connsiteY35" fmla="*/ 218944 h 236787"/>
                <a:gd name="connsiteX36" fmla="*/ 108778 w 249695"/>
                <a:gd name="connsiteY36" fmla="*/ 199890 h 236787"/>
                <a:gd name="connsiteX37" fmla="*/ 90127 w 249695"/>
                <a:gd name="connsiteY37" fmla="*/ 197529 h 236787"/>
                <a:gd name="connsiteX38" fmla="*/ 87756 w 249695"/>
                <a:gd name="connsiteY38" fmla="*/ 185300 h 236787"/>
                <a:gd name="connsiteX39" fmla="*/ 70545 w 249695"/>
                <a:gd name="connsiteY39" fmla="*/ 180908 h 236787"/>
                <a:gd name="connsiteX40" fmla="*/ 66806 w 249695"/>
                <a:gd name="connsiteY40" fmla="*/ 191025 h 236787"/>
                <a:gd name="connsiteX41" fmla="*/ 53182 w 249695"/>
                <a:gd name="connsiteY41" fmla="*/ 182930 h 236787"/>
                <a:gd name="connsiteX42" fmla="*/ 54747 w 249695"/>
                <a:gd name="connsiteY42" fmla="*/ 172097 h 236787"/>
                <a:gd name="connsiteX43" fmla="*/ 35997 w 249695"/>
                <a:gd name="connsiteY43" fmla="*/ 168653 h 236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49695" h="236787">
                  <a:moveTo>
                    <a:pt x="24100" y="155870"/>
                  </a:moveTo>
                  <a:lnTo>
                    <a:pt x="13821" y="130250"/>
                  </a:lnTo>
                  <a:lnTo>
                    <a:pt x="15780" y="116268"/>
                  </a:lnTo>
                  <a:lnTo>
                    <a:pt x="9572" y="94360"/>
                  </a:lnTo>
                  <a:lnTo>
                    <a:pt x="466" y="79609"/>
                  </a:lnTo>
                  <a:lnTo>
                    <a:pt x="7461" y="68481"/>
                  </a:lnTo>
                  <a:lnTo>
                    <a:pt x="1593" y="47075"/>
                  </a:lnTo>
                  <a:lnTo>
                    <a:pt x="18733" y="34595"/>
                  </a:lnTo>
                  <a:lnTo>
                    <a:pt x="57878" y="14772"/>
                  </a:lnTo>
                  <a:lnTo>
                    <a:pt x="89464" y="119"/>
                  </a:lnTo>
                  <a:lnTo>
                    <a:pt x="114494" y="7455"/>
                  </a:lnTo>
                  <a:lnTo>
                    <a:pt x="116382" y="17984"/>
                  </a:lnTo>
                  <a:lnTo>
                    <a:pt x="140570" y="18520"/>
                  </a:lnTo>
                  <a:lnTo>
                    <a:pt x="171468" y="23405"/>
                  </a:lnTo>
                  <a:lnTo>
                    <a:pt x="217591" y="22761"/>
                  </a:lnTo>
                  <a:lnTo>
                    <a:pt x="230455" y="27341"/>
                  </a:lnTo>
                  <a:lnTo>
                    <a:pt x="236475" y="40482"/>
                  </a:lnTo>
                  <a:lnTo>
                    <a:pt x="237566" y="59178"/>
                  </a:lnTo>
                  <a:lnTo>
                    <a:pt x="244526" y="75092"/>
                  </a:lnTo>
                  <a:lnTo>
                    <a:pt x="244374" y="91623"/>
                  </a:lnTo>
                  <a:lnTo>
                    <a:pt x="229337" y="100032"/>
                  </a:lnTo>
                  <a:lnTo>
                    <a:pt x="237074" y="118969"/>
                  </a:lnTo>
                  <a:lnTo>
                    <a:pt x="237548" y="136977"/>
                  </a:lnTo>
                  <a:lnTo>
                    <a:pt x="250162" y="171784"/>
                  </a:lnTo>
                  <a:lnTo>
                    <a:pt x="247478" y="182831"/>
                  </a:lnTo>
                  <a:lnTo>
                    <a:pt x="235035" y="187402"/>
                  </a:lnTo>
                  <a:lnTo>
                    <a:pt x="212260" y="219687"/>
                  </a:lnTo>
                  <a:lnTo>
                    <a:pt x="218727" y="236907"/>
                  </a:lnTo>
                  <a:lnTo>
                    <a:pt x="213244" y="234688"/>
                  </a:lnTo>
                  <a:lnTo>
                    <a:pt x="189413" y="219946"/>
                  </a:lnTo>
                  <a:lnTo>
                    <a:pt x="171361" y="225385"/>
                  </a:lnTo>
                  <a:lnTo>
                    <a:pt x="159517" y="221440"/>
                  </a:lnTo>
                  <a:lnTo>
                    <a:pt x="144694" y="229661"/>
                  </a:lnTo>
                  <a:lnTo>
                    <a:pt x="132045" y="216037"/>
                  </a:lnTo>
                  <a:lnTo>
                    <a:pt x="121731" y="221270"/>
                  </a:lnTo>
                  <a:lnTo>
                    <a:pt x="120318" y="218944"/>
                  </a:lnTo>
                  <a:lnTo>
                    <a:pt x="108778" y="199890"/>
                  </a:lnTo>
                  <a:lnTo>
                    <a:pt x="90127" y="197529"/>
                  </a:lnTo>
                  <a:lnTo>
                    <a:pt x="87756" y="185300"/>
                  </a:lnTo>
                  <a:lnTo>
                    <a:pt x="70545" y="180908"/>
                  </a:lnTo>
                  <a:lnTo>
                    <a:pt x="66806" y="191025"/>
                  </a:lnTo>
                  <a:lnTo>
                    <a:pt x="53182" y="182930"/>
                  </a:lnTo>
                  <a:lnTo>
                    <a:pt x="54747" y="172097"/>
                  </a:lnTo>
                  <a:lnTo>
                    <a:pt x="35997" y="16865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/>
          </p:nvSpPr>
          <p:spPr>
            <a:xfrm>
              <a:off x="7364532" y="3662548"/>
              <a:ext cx="425465" cy="390498"/>
            </a:xfrm>
            <a:custGeom>
              <a:avLst/>
              <a:gdLst>
                <a:gd name="connsiteX0" fmla="*/ 358782 w 425465"/>
                <a:gd name="connsiteY0" fmla="*/ 152 h 390498"/>
                <a:gd name="connsiteX1" fmla="*/ 377317 w 425465"/>
                <a:gd name="connsiteY1" fmla="*/ 14707 h 390498"/>
                <a:gd name="connsiteX2" fmla="*/ 384742 w 425465"/>
                <a:gd name="connsiteY2" fmla="*/ 38511 h 390498"/>
                <a:gd name="connsiteX3" fmla="*/ 425989 w 425465"/>
                <a:gd name="connsiteY3" fmla="*/ 50954 h 390498"/>
                <a:gd name="connsiteX4" fmla="*/ 401765 w 425465"/>
                <a:gd name="connsiteY4" fmla="*/ 76592 h 390498"/>
                <a:gd name="connsiteX5" fmla="*/ 373810 w 425465"/>
                <a:gd name="connsiteY5" fmla="*/ 81100 h 390498"/>
                <a:gd name="connsiteX6" fmla="*/ 335756 w 425465"/>
                <a:gd name="connsiteY6" fmla="*/ 73693 h 390498"/>
                <a:gd name="connsiteX7" fmla="*/ 323465 w 425465"/>
                <a:gd name="connsiteY7" fmla="*/ 86763 h 390498"/>
                <a:gd name="connsiteX8" fmla="*/ 332348 w 425465"/>
                <a:gd name="connsiteY8" fmla="*/ 113116 h 390498"/>
                <a:gd name="connsiteX9" fmla="*/ 341061 w 425465"/>
                <a:gd name="connsiteY9" fmla="*/ 133280 h 390498"/>
                <a:gd name="connsiteX10" fmla="*/ 361314 w 425465"/>
                <a:gd name="connsiteY10" fmla="*/ 147896 h 390498"/>
                <a:gd name="connsiteX11" fmla="*/ 339916 w 425465"/>
                <a:gd name="connsiteY11" fmla="*/ 164920 h 390498"/>
                <a:gd name="connsiteX12" fmla="*/ 340309 w 425465"/>
                <a:gd name="connsiteY12" fmla="*/ 185745 h 390498"/>
                <a:gd name="connsiteX13" fmla="*/ 315951 w 425465"/>
                <a:gd name="connsiteY13" fmla="*/ 214809 h 390498"/>
                <a:gd name="connsiteX14" fmla="*/ 300234 w 425465"/>
                <a:gd name="connsiteY14" fmla="*/ 243891 h 390498"/>
                <a:gd name="connsiteX15" fmla="*/ 273997 w 425465"/>
                <a:gd name="connsiteY15" fmla="*/ 273643 h 390498"/>
                <a:gd name="connsiteX16" fmla="*/ 244870 w 425465"/>
                <a:gd name="connsiteY16" fmla="*/ 271496 h 390498"/>
                <a:gd name="connsiteX17" fmla="*/ 217229 w 425465"/>
                <a:gd name="connsiteY17" fmla="*/ 300972 h 390498"/>
                <a:gd name="connsiteX18" fmla="*/ 233643 w 425465"/>
                <a:gd name="connsiteY18" fmla="*/ 313513 h 390498"/>
                <a:gd name="connsiteX19" fmla="*/ 236497 w 425465"/>
                <a:gd name="connsiteY19" fmla="*/ 334902 h 390498"/>
                <a:gd name="connsiteX20" fmla="*/ 250595 w 425465"/>
                <a:gd name="connsiteY20" fmla="*/ 348911 h 390498"/>
                <a:gd name="connsiteX21" fmla="*/ 255569 w 425465"/>
                <a:gd name="connsiteY21" fmla="*/ 372500 h 390498"/>
                <a:gd name="connsiteX22" fmla="*/ 200375 w 425465"/>
                <a:gd name="connsiteY22" fmla="*/ 372428 h 390498"/>
                <a:gd name="connsiteX23" fmla="*/ 183674 w 425465"/>
                <a:gd name="connsiteY23" fmla="*/ 390650 h 390498"/>
                <a:gd name="connsiteX24" fmla="*/ 165291 w 425465"/>
                <a:gd name="connsiteY24" fmla="*/ 383754 h 390498"/>
                <a:gd name="connsiteX25" fmla="*/ 157812 w 425465"/>
                <a:gd name="connsiteY25" fmla="*/ 364082 h 390498"/>
                <a:gd name="connsiteX26" fmla="*/ 138437 w 425465"/>
                <a:gd name="connsiteY26" fmla="*/ 343114 h 390498"/>
                <a:gd name="connsiteX27" fmla="*/ 92224 w 425465"/>
                <a:gd name="connsiteY27" fmla="*/ 348302 h 390498"/>
                <a:gd name="connsiteX28" fmla="*/ 51468 w 425465"/>
                <a:gd name="connsiteY28" fmla="*/ 348812 h 390498"/>
                <a:gd name="connsiteX29" fmla="*/ 16151 w 425465"/>
                <a:gd name="connsiteY29" fmla="*/ 352686 h 390498"/>
                <a:gd name="connsiteX30" fmla="*/ 25598 w 425465"/>
                <a:gd name="connsiteY30" fmla="*/ 320527 h 390498"/>
                <a:gd name="connsiteX31" fmla="*/ 61774 w 425465"/>
                <a:gd name="connsiteY31" fmla="*/ 306133 h 390498"/>
                <a:gd name="connsiteX32" fmla="*/ 59707 w 425465"/>
                <a:gd name="connsiteY32" fmla="*/ 293234 h 390498"/>
                <a:gd name="connsiteX33" fmla="*/ 47703 w 425465"/>
                <a:gd name="connsiteY33" fmla="*/ 288690 h 390498"/>
                <a:gd name="connsiteX34" fmla="*/ 47014 w 425465"/>
                <a:gd name="connsiteY34" fmla="*/ 263848 h 390498"/>
                <a:gd name="connsiteX35" fmla="*/ 23031 w 425465"/>
                <a:gd name="connsiteY35" fmla="*/ 251360 h 390498"/>
                <a:gd name="connsiteX36" fmla="*/ 12931 w 425465"/>
                <a:gd name="connsiteY36" fmla="*/ 234131 h 390498"/>
                <a:gd name="connsiteX37" fmla="*/ 524 w 425465"/>
                <a:gd name="connsiteY37" fmla="*/ 219049 h 390498"/>
                <a:gd name="connsiteX38" fmla="*/ 42549 w 425465"/>
                <a:gd name="connsiteY38" fmla="*/ 233693 h 390498"/>
                <a:gd name="connsiteX39" fmla="*/ 67633 w 425465"/>
                <a:gd name="connsiteY39" fmla="*/ 229408 h 390498"/>
                <a:gd name="connsiteX40" fmla="*/ 82626 w 425465"/>
                <a:gd name="connsiteY40" fmla="*/ 233058 h 390498"/>
                <a:gd name="connsiteX41" fmla="*/ 87707 w 425465"/>
                <a:gd name="connsiteY41" fmla="*/ 226778 h 390498"/>
                <a:gd name="connsiteX42" fmla="*/ 105177 w 425465"/>
                <a:gd name="connsiteY42" fmla="*/ 229300 h 390498"/>
                <a:gd name="connsiteX43" fmla="*/ 137766 w 425465"/>
                <a:gd name="connsiteY43" fmla="*/ 217358 h 390498"/>
                <a:gd name="connsiteX44" fmla="*/ 138651 w 425465"/>
                <a:gd name="connsiteY44" fmla="*/ 192758 h 390498"/>
                <a:gd name="connsiteX45" fmla="*/ 152624 w 425465"/>
                <a:gd name="connsiteY45" fmla="*/ 176272 h 390498"/>
                <a:gd name="connsiteX46" fmla="*/ 171302 w 425465"/>
                <a:gd name="connsiteY46" fmla="*/ 176316 h 390498"/>
                <a:gd name="connsiteX47" fmla="*/ 174048 w 425465"/>
                <a:gd name="connsiteY47" fmla="*/ 168140 h 390498"/>
                <a:gd name="connsiteX48" fmla="*/ 193219 w 425465"/>
                <a:gd name="connsiteY48" fmla="*/ 164311 h 390498"/>
                <a:gd name="connsiteX49" fmla="*/ 202495 w 425465"/>
                <a:gd name="connsiteY49" fmla="*/ 167049 h 390498"/>
                <a:gd name="connsiteX50" fmla="*/ 212291 w 425465"/>
                <a:gd name="connsiteY50" fmla="*/ 158783 h 390498"/>
                <a:gd name="connsiteX51" fmla="*/ 210913 w 425465"/>
                <a:gd name="connsiteY51" fmla="*/ 141071 h 390498"/>
                <a:gd name="connsiteX52" fmla="*/ 221567 w 425465"/>
                <a:gd name="connsiteY52" fmla="*/ 123144 h 390498"/>
                <a:gd name="connsiteX53" fmla="*/ 237526 w 425465"/>
                <a:gd name="connsiteY53" fmla="*/ 115594 h 390498"/>
                <a:gd name="connsiteX54" fmla="*/ 227668 w 425465"/>
                <a:gd name="connsiteY54" fmla="*/ 95744 h 390498"/>
                <a:gd name="connsiteX55" fmla="*/ 251526 w 425465"/>
                <a:gd name="connsiteY55" fmla="*/ 96683 h 390498"/>
                <a:gd name="connsiteX56" fmla="*/ 258422 w 425465"/>
                <a:gd name="connsiteY56" fmla="*/ 85823 h 390498"/>
                <a:gd name="connsiteX57" fmla="*/ 257376 w 425465"/>
                <a:gd name="connsiteY57" fmla="*/ 74176 h 390498"/>
                <a:gd name="connsiteX58" fmla="*/ 269873 w 425465"/>
                <a:gd name="connsiteY58" fmla="*/ 61384 h 390498"/>
                <a:gd name="connsiteX59" fmla="*/ 267001 w 425465"/>
                <a:gd name="connsiteY59" fmla="*/ 46141 h 390498"/>
                <a:gd name="connsiteX60" fmla="*/ 261079 w 425465"/>
                <a:gd name="connsiteY60" fmla="*/ 33081 h 390498"/>
                <a:gd name="connsiteX61" fmla="*/ 275714 w 425465"/>
                <a:gd name="connsiteY61" fmla="*/ 19591 h 390498"/>
                <a:gd name="connsiteX62" fmla="*/ 302649 w 425465"/>
                <a:gd name="connsiteY62" fmla="*/ 13052 h 390498"/>
                <a:gd name="connsiteX63" fmla="*/ 331436 w 425465"/>
                <a:gd name="connsiteY63" fmla="*/ 9429 h 390498"/>
                <a:gd name="connsiteX64" fmla="*/ 344183 w 425465"/>
                <a:gd name="connsiteY64" fmla="*/ 3659 h 39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25465" h="390498">
                  <a:moveTo>
                    <a:pt x="358782" y="152"/>
                  </a:moveTo>
                  <a:lnTo>
                    <a:pt x="377317" y="14707"/>
                  </a:lnTo>
                  <a:lnTo>
                    <a:pt x="384742" y="38511"/>
                  </a:lnTo>
                  <a:lnTo>
                    <a:pt x="425989" y="50954"/>
                  </a:lnTo>
                  <a:lnTo>
                    <a:pt x="401765" y="76592"/>
                  </a:lnTo>
                  <a:lnTo>
                    <a:pt x="373810" y="81100"/>
                  </a:lnTo>
                  <a:lnTo>
                    <a:pt x="335756" y="73693"/>
                  </a:lnTo>
                  <a:lnTo>
                    <a:pt x="323465" y="86763"/>
                  </a:lnTo>
                  <a:lnTo>
                    <a:pt x="332348" y="113116"/>
                  </a:lnTo>
                  <a:lnTo>
                    <a:pt x="341061" y="133280"/>
                  </a:lnTo>
                  <a:lnTo>
                    <a:pt x="361314" y="147896"/>
                  </a:lnTo>
                  <a:lnTo>
                    <a:pt x="339916" y="164920"/>
                  </a:lnTo>
                  <a:lnTo>
                    <a:pt x="340309" y="185745"/>
                  </a:lnTo>
                  <a:lnTo>
                    <a:pt x="315951" y="214809"/>
                  </a:lnTo>
                  <a:lnTo>
                    <a:pt x="300234" y="243891"/>
                  </a:lnTo>
                  <a:lnTo>
                    <a:pt x="273997" y="273643"/>
                  </a:lnTo>
                  <a:lnTo>
                    <a:pt x="244870" y="271496"/>
                  </a:lnTo>
                  <a:lnTo>
                    <a:pt x="217229" y="300972"/>
                  </a:lnTo>
                  <a:lnTo>
                    <a:pt x="233643" y="313513"/>
                  </a:lnTo>
                  <a:lnTo>
                    <a:pt x="236497" y="334902"/>
                  </a:lnTo>
                  <a:lnTo>
                    <a:pt x="250595" y="348911"/>
                  </a:lnTo>
                  <a:lnTo>
                    <a:pt x="255569" y="372500"/>
                  </a:lnTo>
                  <a:lnTo>
                    <a:pt x="200375" y="372428"/>
                  </a:lnTo>
                  <a:lnTo>
                    <a:pt x="183674" y="390650"/>
                  </a:lnTo>
                  <a:lnTo>
                    <a:pt x="165291" y="383754"/>
                  </a:lnTo>
                  <a:lnTo>
                    <a:pt x="157812" y="364082"/>
                  </a:lnTo>
                  <a:lnTo>
                    <a:pt x="138437" y="343114"/>
                  </a:lnTo>
                  <a:lnTo>
                    <a:pt x="92224" y="348302"/>
                  </a:lnTo>
                  <a:lnTo>
                    <a:pt x="51468" y="348812"/>
                  </a:lnTo>
                  <a:lnTo>
                    <a:pt x="16151" y="352686"/>
                  </a:lnTo>
                  <a:lnTo>
                    <a:pt x="25598" y="320527"/>
                  </a:lnTo>
                  <a:lnTo>
                    <a:pt x="61774" y="306133"/>
                  </a:lnTo>
                  <a:lnTo>
                    <a:pt x="59707" y="293234"/>
                  </a:lnTo>
                  <a:lnTo>
                    <a:pt x="47703" y="288690"/>
                  </a:lnTo>
                  <a:lnTo>
                    <a:pt x="47014" y="263848"/>
                  </a:lnTo>
                  <a:lnTo>
                    <a:pt x="23031" y="251360"/>
                  </a:lnTo>
                  <a:lnTo>
                    <a:pt x="12931" y="234131"/>
                  </a:lnTo>
                  <a:lnTo>
                    <a:pt x="524" y="219049"/>
                  </a:lnTo>
                  <a:lnTo>
                    <a:pt x="42549" y="233693"/>
                  </a:lnTo>
                  <a:lnTo>
                    <a:pt x="67633" y="229408"/>
                  </a:lnTo>
                  <a:lnTo>
                    <a:pt x="82626" y="233058"/>
                  </a:lnTo>
                  <a:lnTo>
                    <a:pt x="87707" y="226778"/>
                  </a:lnTo>
                  <a:lnTo>
                    <a:pt x="105177" y="229300"/>
                  </a:lnTo>
                  <a:lnTo>
                    <a:pt x="137766" y="217358"/>
                  </a:lnTo>
                  <a:lnTo>
                    <a:pt x="138651" y="192758"/>
                  </a:lnTo>
                  <a:lnTo>
                    <a:pt x="152624" y="176272"/>
                  </a:lnTo>
                  <a:lnTo>
                    <a:pt x="171302" y="176316"/>
                  </a:lnTo>
                  <a:lnTo>
                    <a:pt x="174048" y="168140"/>
                  </a:lnTo>
                  <a:lnTo>
                    <a:pt x="193219" y="164311"/>
                  </a:lnTo>
                  <a:lnTo>
                    <a:pt x="202495" y="167049"/>
                  </a:lnTo>
                  <a:lnTo>
                    <a:pt x="212291" y="158783"/>
                  </a:lnTo>
                  <a:lnTo>
                    <a:pt x="210913" y="141071"/>
                  </a:lnTo>
                  <a:lnTo>
                    <a:pt x="221567" y="123144"/>
                  </a:lnTo>
                  <a:lnTo>
                    <a:pt x="237526" y="115594"/>
                  </a:lnTo>
                  <a:lnTo>
                    <a:pt x="227668" y="95744"/>
                  </a:lnTo>
                  <a:lnTo>
                    <a:pt x="251526" y="96683"/>
                  </a:lnTo>
                  <a:lnTo>
                    <a:pt x="258422" y="85823"/>
                  </a:lnTo>
                  <a:lnTo>
                    <a:pt x="257376" y="74176"/>
                  </a:lnTo>
                  <a:lnTo>
                    <a:pt x="269873" y="61384"/>
                  </a:lnTo>
                  <a:lnTo>
                    <a:pt x="267001" y="46141"/>
                  </a:lnTo>
                  <a:lnTo>
                    <a:pt x="261079" y="33081"/>
                  </a:lnTo>
                  <a:lnTo>
                    <a:pt x="275714" y="19591"/>
                  </a:lnTo>
                  <a:lnTo>
                    <a:pt x="302649" y="13052"/>
                  </a:lnTo>
                  <a:lnTo>
                    <a:pt x="331436" y="9429"/>
                  </a:lnTo>
                  <a:lnTo>
                    <a:pt x="344183" y="365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/>
          </p:nvSpPr>
          <p:spPr>
            <a:xfrm>
              <a:off x="4151121" y="4191326"/>
              <a:ext cx="41426" cy="15073"/>
            </a:xfrm>
            <a:custGeom>
              <a:avLst/>
              <a:gdLst>
                <a:gd name="connsiteX0" fmla="*/ 24449 w 41426"/>
                <a:gd name="connsiteY0" fmla="*/ 320 h 15073"/>
                <a:gd name="connsiteX1" fmla="*/ 37268 w 41426"/>
                <a:gd name="connsiteY1" fmla="*/ 2637 h 15073"/>
                <a:gd name="connsiteX2" fmla="*/ 41795 w 41426"/>
                <a:gd name="connsiteY2" fmla="*/ 7861 h 15073"/>
                <a:gd name="connsiteX3" fmla="*/ 35363 w 41426"/>
                <a:gd name="connsiteY3" fmla="*/ 14472 h 15073"/>
                <a:gd name="connsiteX4" fmla="*/ 16488 w 41426"/>
                <a:gd name="connsiteY4" fmla="*/ 14311 h 15073"/>
                <a:gd name="connsiteX5" fmla="*/ 1826 w 41426"/>
                <a:gd name="connsiteY5" fmla="*/ 15241 h 15073"/>
                <a:gd name="connsiteX6" fmla="*/ 368 w 41426"/>
                <a:gd name="connsiteY6" fmla="*/ 4006 h 15073"/>
                <a:gd name="connsiteX7" fmla="*/ 3919 w 41426"/>
                <a:gd name="connsiteY7" fmla="*/ 168 h 15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426" h="15073">
                  <a:moveTo>
                    <a:pt x="24449" y="320"/>
                  </a:moveTo>
                  <a:lnTo>
                    <a:pt x="37268" y="2637"/>
                  </a:lnTo>
                  <a:lnTo>
                    <a:pt x="41795" y="7861"/>
                  </a:lnTo>
                  <a:lnTo>
                    <a:pt x="35363" y="14472"/>
                  </a:lnTo>
                  <a:lnTo>
                    <a:pt x="16488" y="14311"/>
                  </a:lnTo>
                  <a:lnTo>
                    <a:pt x="1826" y="15241"/>
                  </a:lnTo>
                  <a:lnTo>
                    <a:pt x="368" y="4006"/>
                  </a:lnTo>
                  <a:lnTo>
                    <a:pt x="3919" y="16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/>
          </p:nvSpPr>
          <p:spPr>
            <a:xfrm>
              <a:off x="6713729" y="3802563"/>
              <a:ext cx="15511" cy="34681"/>
            </a:xfrm>
            <a:custGeom>
              <a:avLst/>
              <a:gdLst>
                <a:gd name="connsiteX0" fmla="*/ 15996 w 15511"/>
                <a:gd name="connsiteY0" fmla="*/ 4248 h 34681"/>
                <a:gd name="connsiteX1" fmla="*/ 15987 w 15511"/>
                <a:gd name="connsiteY1" fmla="*/ 22264 h 34681"/>
                <a:gd name="connsiteX2" fmla="*/ 12275 w 15511"/>
                <a:gd name="connsiteY2" fmla="*/ 30869 h 34681"/>
                <a:gd name="connsiteX3" fmla="*/ 484 w 15511"/>
                <a:gd name="connsiteY3" fmla="*/ 34832 h 34681"/>
                <a:gd name="connsiteX4" fmla="*/ 1567 w 15511"/>
                <a:gd name="connsiteY4" fmla="*/ 27130 h 34681"/>
                <a:gd name="connsiteX5" fmla="*/ 7972 w 15511"/>
                <a:gd name="connsiteY5" fmla="*/ 23096 h 34681"/>
                <a:gd name="connsiteX6" fmla="*/ 1674 w 15511"/>
                <a:gd name="connsiteY6" fmla="*/ 19795 h 34681"/>
                <a:gd name="connsiteX7" fmla="*/ 6916 w 15511"/>
                <a:gd name="connsiteY7" fmla="*/ 151 h 3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11" h="34681">
                  <a:moveTo>
                    <a:pt x="15996" y="4248"/>
                  </a:moveTo>
                  <a:lnTo>
                    <a:pt x="15987" y="22264"/>
                  </a:lnTo>
                  <a:lnTo>
                    <a:pt x="12275" y="30869"/>
                  </a:lnTo>
                  <a:lnTo>
                    <a:pt x="484" y="34832"/>
                  </a:lnTo>
                  <a:lnTo>
                    <a:pt x="1567" y="27130"/>
                  </a:lnTo>
                  <a:lnTo>
                    <a:pt x="7972" y="23096"/>
                  </a:lnTo>
                  <a:lnTo>
                    <a:pt x="1674" y="19795"/>
                  </a:lnTo>
                  <a:lnTo>
                    <a:pt x="6916" y="15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/>
          </p:nvSpPr>
          <p:spPr>
            <a:xfrm>
              <a:off x="5598744" y="3495259"/>
              <a:ext cx="78693" cy="176503"/>
            </a:xfrm>
            <a:custGeom>
              <a:avLst/>
              <a:gdLst>
                <a:gd name="connsiteX0" fmla="*/ 12771 w 78693"/>
                <a:gd name="connsiteY0" fmla="*/ 13603 h 176503"/>
                <a:gd name="connsiteX1" fmla="*/ 21868 w 78693"/>
                <a:gd name="connsiteY1" fmla="*/ 5060 h 176503"/>
                <a:gd name="connsiteX2" fmla="*/ 32111 w 78693"/>
                <a:gd name="connsiteY2" fmla="*/ 140 h 176503"/>
                <a:gd name="connsiteX3" fmla="*/ 38391 w 78693"/>
                <a:gd name="connsiteY3" fmla="*/ 16609 h 176503"/>
                <a:gd name="connsiteX4" fmla="*/ 53205 w 78693"/>
                <a:gd name="connsiteY4" fmla="*/ 16573 h 176503"/>
                <a:gd name="connsiteX5" fmla="*/ 57498 w 78693"/>
                <a:gd name="connsiteY5" fmla="*/ 12333 h 176503"/>
                <a:gd name="connsiteX6" fmla="*/ 72115 w 78693"/>
                <a:gd name="connsiteY6" fmla="*/ 13513 h 176503"/>
                <a:gd name="connsiteX7" fmla="*/ 79128 w 78693"/>
                <a:gd name="connsiteY7" fmla="*/ 30277 h 176503"/>
                <a:gd name="connsiteX8" fmla="*/ 67535 w 78693"/>
                <a:gd name="connsiteY8" fmla="*/ 39276 h 176503"/>
                <a:gd name="connsiteX9" fmla="*/ 67213 w 78693"/>
                <a:gd name="connsiteY9" fmla="*/ 64995 h 176503"/>
                <a:gd name="connsiteX10" fmla="*/ 63143 w 78693"/>
                <a:gd name="connsiteY10" fmla="*/ 69789 h 176503"/>
                <a:gd name="connsiteX11" fmla="*/ 62132 w 78693"/>
                <a:gd name="connsiteY11" fmla="*/ 85185 h 176503"/>
                <a:gd name="connsiteX12" fmla="*/ 51299 w 78693"/>
                <a:gd name="connsiteY12" fmla="*/ 87859 h 176503"/>
                <a:gd name="connsiteX13" fmla="*/ 61345 w 78693"/>
                <a:gd name="connsiteY13" fmla="*/ 107227 h 176503"/>
                <a:gd name="connsiteX14" fmla="*/ 54421 w 78693"/>
                <a:gd name="connsiteY14" fmla="*/ 128248 h 176503"/>
                <a:gd name="connsiteX15" fmla="*/ 63071 w 78693"/>
                <a:gd name="connsiteY15" fmla="*/ 137704 h 176503"/>
                <a:gd name="connsiteX16" fmla="*/ 59627 w 78693"/>
                <a:gd name="connsiteY16" fmla="*/ 146318 h 176503"/>
                <a:gd name="connsiteX17" fmla="*/ 50333 w 78693"/>
                <a:gd name="connsiteY17" fmla="*/ 158144 h 176503"/>
                <a:gd name="connsiteX18" fmla="*/ 52426 w 78693"/>
                <a:gd name="connsiteY18" fmla="*/ 168530 h 176503"/>
                <a:gd name="connsiteX19" fmla="*/ 42345 w 78693"/>
                <a:gd name="connsiteY19" fmla="*/ 176643 h 176503"/>
                <a:gd name="connsiteX20" fmla="*/ 29123 w 78693"/>
                <a:gd name="connsiteY20" fmla="*/ 172251 h 176503"/>
                <a:gd name="connsiteX21" fmla="*/ 16179 w 78693"/>
                <a:gd name="connsiteY21" fmla="*/ 175695 h 176503"/>
                <a:gd name="connsiteX22" fmla="*/ 20008 w 78693"/>
                <a:gd name="connsiteY22" fmla="*/ 151140 h 176503"/>
                <a:gd name="connsiteX23" fmla="*/ 17655 w 78693"/>
                <a:gd name="connsiteY23" fmla="*/ 131657 h 176503"/>
                <a:gd name="connsiteX24" fmla="*/ 6429 w 78693"/>
                <a:gd name="connsiteY24" fmla="*/ 128722 h 176503"/>
                <a:gd name="connsiteX25" fmla="*/ 435 w 78693"/>
                <a:gd name="connsiteY25" fmla="*/ 116619 h 176503"/>
                <a:gd name="connsiteX26" fmla="*/ 2430 w 78693"/>
                <a:gd name="connsiteY26" fmla="*/ 95552 h 176503"/>
                <a:gd name="connsiteX27" fmla="*/ 12431 w 78693"/>
                <a:gd name="connsiteY27" fmla="*/ 83789 h 176503"/>
                <a:gd name="connsiteX28" fmla="*/ 14211 w 78693"/>
                <a:gd name="connsiteY28" fmla="*/ 70612 h 176503"/>
                <a:gd name="connsiteX29" fmla="*/ 19444 w 78693"/>
                <a:gd name="connsiteY29" fmla="*/ 50870 h 176503"/>
                <a:gd name="connsiteX30" fmla="*/ 18881 w 78693"/>
                <a:gd name="connsiteY30" fmla="*/ 36843 h 176503"/>
                <a:gd name="connsiteX31" fmla="*/ 13871 w 78693"/>
                <a:gd name="connsiteY31" fmla="*/ 24892 h 17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8693" h="176503">
                  <a:moveTo>
                    <a:pt x="12771" y="13603"/>
                  </a:moveTo>
                  <a:lnTo>
                    <a:pt x="21868" y="5060"/>
                  </a:lnTo>
                  <a:lnTo>
                    <a:pt x="32111" y="140"/>
                  </a:lnTo>
                  <a:lnTo>
                    <a:pt x="38391" y="16609"/>
                  </a:lnTo>
                  <a:lnTo>
                    <a:pt x="53205" y="16573"/>
                  </a:lnTo>
                  <a:lnTo>
                    <a:pt x="57498" y="12333"/>
                  </a:lnTo>
                  <a:lnTo>
                    <a:pt x="72115" y="13513"/>
                  </a:lnTo>
                  <a:lnTo>
                    <a:pt x="79128" y="30277"/>
                  </a:lnTo>
                  <a:lnTo>
                    <a:pt x="67535" y="39276"/>
                  </a:lnTo>
                  <a:lnTo>
                    <a:pt x="67213" y="64995"/>
                  </a:lnTo>
                  <a:lnTo>
                    <a:pt x="63143" y="69789"/>
                  </a:lnTo>
                  <a:lnTo>
                    <a:pt x="62132" y="85185"/>
                  </a:lnTo>
                  <a:lnTo>
                    <a:pt x="51299" y="87859"/>
                  </a:lnTo>
                  <a:lnTo>
                    <a:pt x="61345" y="107227"/>
                  </a:lnTo>
                  <a:lnTo>
                    <a:pt x="54421" y="128248"/>
                  </a:lnTo>
                  <a:lnTo>
                    <a:pt x="63071" y="137704"/>
                  </a:lnTo>
                  <a:lnTo>
                    <a:pt x="59627" y="146318"/>
                  </a:lnTo>
                  <a:lnTo>
                    <a:pt x="50333" y="158144"/>
                  </a:lnTo>
                  <a:lnTo>
                    <a:pt x="52426" y="168530"/>
                  </a:lnTo>
                  <a:lnTo>
                    <a:pt x="42345" y="176643"/>
                  </a:lnTo>
                  <a:lnTo>
                    <a:pt x="29123" y="172251"/>
                  </a:lnTo>
                  <a:lnTo>
                    <a:pt x="16179" y="175695"/>
                  </a:lnTo>
                  <a:lnTo>
                    <a:pt x="20008" y="151140"/>
                  </a:lnTo>
                  <a:lnTo>
                    <a:pt x="17655" y="131657"/>
                  </a:lnTo>
                  <a:lnTo>
                    <a:pt x="6429" y="128722"/>
                  </a:lnTo>
                  <a:lnTo>
                    <a:pt x="435" y="116619"/>
                  </a:lnTo>
                  <a:lnTo>
                    <a:pt x="2430" y="95552"/>
                  </a:lnTo>
                  <a:lnTo>
                    <a:pt x="12431" y="83789"/>
                  </a:lnTo>
                  <a:lnTo>
                    <a:pt x="14211" y="70612"/>
                  </a:lnTo>
                  <a:lnTo>
                    <a:pt x="19444" y="50870"/>
                  </a:lnTo>
                  <a:lnTo>
                    <a:pt x="18881" y="36843"/>
                  </a:lnTo>
                  <a:lnTo>
                    <a:pt x="13871" y="2489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/>
          </p:nvSpPr>
          <p:spPr>
            <a:xfrm>
              <a:off x="4265426" y="5152564"/>
              <a:ext cx="210487" cy="223333"/>
            </a:xfrm>
            <a:custGeom>
              <a:avLst/>
              <a:gdLst>
                <a:gd name="connsiteX0" fmla="*/ 377 w 210487"/>
                <a:gd name="connsiteY0" fmla="*/ 77739 h 223333"/>
                <a:gd name="connsiteX1" fmla="*/ 10262 w 210487"/>
                <a:gd name="connsiteY1" fmla="*/ 45615 h 223333"/>
                <a:gd name="connsiteX2" fmla="*/ 10888 w 210487"/>
                <a:gd name="connsiteY2" fmla="*/ 31267 h 223333"/>
                <a:gd name="connsiteX3" fmla="*/ 22920 w 210487"/>
                <a:gd name="connsiteY3" fmla="*/ 7910 h 223333"/>
                <a:gd name="connsiteX4" fmla="*/ 66627 w 210487"/>
                <a:gd name="connsiteY4" fmla="*/ 217 h 223333"/>
                <a:gd name="connsiteX5" fmla="*/ 89921 w 210487"/>
                <a:gd name="connsiteY5" fmla="*/ 584 h 223333"/>
                <a:gd name="connsiteX6" fmla="*/ 113287 w 210487"/>
                <a:gd name="connsiteY6" fmla="*/ 14127 h 223333"/>
                <a:gd name="connsiteX7" fmla="*/ 113716 w 210487"/>
                <a:gd name="connsiteY7" fmla="*/ 22304 h 223333"/>
                <a:gd name="connsiteX8" fmla="*/ 121132 w 210487"/>
                <a:gd name="connsiteY8" fmla="*/ 37099 h 223333"/>
                <a:gd name="connsiteX9" fmla="*/ 119468 w 210487"/>
                <a:gd name="connsiteY9" fmla="*/ 73463 h 223333"/>
                <a:gd name="connsiteX10" fmla="*/ 145947 w 210487"/>
                <a:gd name="connsiteY10" fmla="*/ 78633 h 223333"/>
                <a:gd name="connsiteX11" fmla="*/ 156181 w 210487"/>
                <a:gd name="connsiteY11" fmla="*/ 73355 h 223333"/>
                <a:gd name="connsiteX12" fmla="*/ 173123 w 210487"/>
                <a:gd name="connsiteY12" fmla="*/ 80646 h 223333"/>
                <a:gd name="connsiteX13" fmla="*/ 177820 w 210487"/>
                <a:gd name="connsiteY13" fmla="*/ 88715 h 223333"/>
                <a:gd name="connsiteX14" fmla="*/ 180155 w 210487"/>
                <a:gd name="connsiteY14" fmla="*/ 113565 h 223333"/>
                <a:gd name="connsiteX15" fmla="*/ 183080 w 210487"/>
                <a:gd name="connsiteY15" fmla="*/ 124049 h 223333"/>
                <a:gd name="connsiteX16" fmla="*/ 192437 w 210487"/>
                <a:gd name="connsiteY16" fmla="*/ 125266 h 223333"/>
                <a:gd name="connsiteX17" fmla="*/ 201848 w 210487"/>
                <a:gd name="connsiteY17" fmla="*/ 120856 h 223333"/>
                <a:gd name="connsiteX18" fmla="*/ 210865 w 210487"/>
                <a:gd name="connsiteY18" fmla="*/ 125803 h 223333"/>
                <a:gd name="connsiteX19" fmla="*/ 210856 w 210487"/>
                <a:gd name="connsiteY19" fmla="*/ 140849 h 223333"/>
                <a:gd name="connsiteX20" fmla="*/ 207456 w 210487"/>
                <a:gd name="connsiteY20" fmla="*/ 157103 h 223333"/>
                <a:gd name="connsiteX21" fmla="*/ 202536 w 210487"/>
                <a:gd name="connsiteY21" fmla="*/ 173053 h 223333"/>
                <a:gd name="connsiteX22" fmla="*/ 198430 w 210487"/>
                <a:gd name="connsiteY22" fmla="*/ 197582 h 223333"/>
                <a:gd name="connsiteX23" fmla="*/ 175682 w 210487"/>
                <a:gd name="connsiteY23" fmla="*/ 219033 h 223333"/>
                <a:gd name="connsiteX24" fmla="*/ 155850 w 210487"/>
                <a:gd name="connsiteY24" fmla="*/ 223550 h 223333"/>
                <a:gd name="connsiteX25" fmla="*/ 127680 w 210487"/>
                <a:gd name="connsiteY25" fmla="*/ 219265 h 223333"/>
                <a:gd name="connsiteX26" fmla="*/ 102382 w 210487"/>
                <a:gd name="connsiteY26" fmla="*/ 211626 h 223333"/>
                <a:gd name="connsiteX27" fmla="*/ 127081 w 210487"/>
                <a:gd name="connsiteY27" fmla="*/ 169296 h 223333"/>
                <a:gd name="connsiteX28" fmla="*/ 123476 w 210487"/>
                <a:gd name="connsiteY28" fmla="*/ 157112 h 223333"/>
                <a:gd name="connsiteX29" fmla="*/ 97641 w 210487"/>
                <a:gd name="connsiteY29" fmla="*/ 146360 h 223333"/>
                <a:gd name="connsiteX30" fmla="*/ 66994 w 210487"/>
                <a:gd name="connsiteY30" fmla="*/ 126125 h 223333"/>
                <a:gd name="connsiteX31" fmla="*/ 46491 w 210487"/>
                <a:gd name="connsiteY31" fmla="*/ 121974 h 22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10487" h="223333">
                  <a:moveTo>
                    <a:pt x="377" y="77739"/>
                  </a:moveTo>
                  <a:lnTo>
                    <a:pt x="10262" y="45615"/>
                  </a:lnTo>
                  <a:lnTo>
                    <a:pt x="10888" y="31267"/>
                  </a:lnTo>
                  <a:lnTo>
                    <a:pt x="22920" y="7910"/>
                  </a:lnTo>
                  <a:lnTo>
                    <a:pt x="66627" y="217"/>
                  </a:lnTo>
                  <a:lnTo>
                    <a:pt x="89921" y="584"/>
                  </a:lnTo>
                  <a:lnTo>
                    <a:pt x="113287" y="14127"/>
                  </a:lnTo>
                  <a:lnTo>
                    <a:pt x="113716" y="22304"/>
                  </a:lnTo>
                  <a:lnTo>
                    <a:pt x="121132" y="37099"/>
                  </a:lnTo>
                  <a:lnTo>
                    <a:pt x="119468" y="73463"/>
                  </a:lnTo>
                  <a:lnTo>
                    <a:pt x="145947" y="78633"/>
                  </a:lnTo>
                  <a:lnTo>
                    <a:pt x="156181" y="73355"/>
                  </a:lnTo>
                  <a:lnTo>
                    <a:pt x="173123" y="80646"/>
                  </a:lnTo>
                  <a:lnTo>
                    <a:pt x="177820" y="88715"/>
                  </a:lnTo>
                  <a:lnTo>
                    <a:pt x="180155" y="113565"/>
                  </a:lnTo>
                  <a:lnTo>
                    <a:pt x="183080" y="124049"/>
                  </a:lnTo>
                  <a:lnTo>
                    <a:pt x="192437" y="125266"/>
                  </a:lnTo>
                  <a:lnTo>
                    <a:pt x="201848" y="120856"/>
                  </a:lnTo>
                  <a:lnTo>
                    <a:pt x="210865" y="125803"/>
                  </a:lnTo>
                  <a:lnTo>
                    <a:pt x="210856" y="140849"/>
                  </a:lnTo>
                  <a:lnTo>
                    <a:pt x="207456" y="157103"/>
                  </a:lnTo>
                  <a:lnTo>
                    <a:pt x="202536" y="173053"/>
                  </a:lnTo>
                  <a:lnTo>
                    <a:pt x="198430" y="197582"/>
                  </a:lnTo>
                  <a:lnTo>
                    <a:pt x="175682" y="219033"/>
                  </a:lnTo>
                  <a:lnTo>
                    <a:pt x="155850" y="223550"/>
                  </a:lnTo>
                  <a:lnTo>
                    <a:pt x="127680" y="219265"/>
                  </a:lnTo>
                  <a:lnTo>
                    <a:pt x="102382" y="211626"/>
                  </a:lnTo>
                  <a:lnTo>
                    <a:pt x="127081" y="169296"/>
                  </a:lnTo>
                  <a:lnTo>
                    <a:pt x="123476" y="157112"/>
                  </a:lnTo>
                  <a:lnTo>
                    <a:pt x="97641" y="146360"/>
                  </a:lnTo>
                  <a:lnTo>
                    <a:pt x="66994" y="126125"/>
                  </a:lnTo>
                  <a:lnTo>
                    <a:pt x="46491" y="12197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/>
            <p:cNvSpPr/>
            <p:nvPr/>
          </p:nvSpPr>
          <p:spPr>
            <a:xfrm>
              <a:off x="7110435" y="3986411"/>
              <a:ext cx="21639" cy="43009"/>
            </a:xfrm>
            <a:custGeom>
              <a:avLst/>
              <a:gdLst>
                <a:gd name="connsiteX0" fmla="*/ 2166 w 21639"/>
                <a:gd name="connsiteY0" fmla="*/ 37722 h 43009"/>
                <a:gd name="connsiteX1" fmla="*/ 503 w 21639"/>
                <a:gd name="connsiteY1" fmla="*/ 17675 h 43009"/>
                <a:gd name="connsiteX2" fmla="*/ 7265 w 21639"/>
                <a:gd name="connsiteY2" fmla="*/ 3147 h 43009"/>
                <a:gd name="connsiteX3" fmla="*/ 14118 w 21639"/>
                <a:gd name="connsiteY3" fmla="*/ 159 h 43009"/>
                <a:gd name="connsiteX4" fmla="*/ 21704 w 21639"/>
                <a:gd name="connsiteY4" fmla="*/ 8854 h 43009"/>
                <a:gd name="connsiteX5" fmla="*/ 22142 w 21639"/>
                <a:gd name="connsiteY5" fmla="*/ 25037 h 43009"/>
                <a:gd name="connsiteX6" fmla="*/ 16703 w 21639"/>
                <a:gd name="connsiteY6" fmla="*/ 41219 h 43009"/>
                <a:gd name="connsiteX7" fmla="*/ 9744 w 21639"/>
                <a:gd name="connsiteY7" fmla="*/ 43169 h 4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39" h="43009">
                  <a:moveTo>
                    <a:pt x="2166" y="37722"/>
                  </a:moveTo>
                  <a:lnTo>
                    <a:pt x="503" y="17675"/>
                  </a:lnTo>
                  <a:lnTo>
                    <a:pt x="7265" y="3147"/>
                  </a:lnTo>
                  <a:lnTo>
                    <a:pt x="14118" y="159"/>
                  </a:lnTo>
                  <a:lnTo>
                    <a:pt x="21704" y="8854"/>
                  </a:lnTo>
                  <a:lnTo>
                    <a:pt x="22142" y="25037"/>
                  </a:lnTo>
                  <a:lnTo>
                    <a:pt x="16703" y="41219"/>
                  </a:lnTo>
                  <a:lnTo>
                    <a:pt x="9744" y="4316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/>
            <p:cNvSpPr/>
            <p:nvPr/>
          </p:nvSpPr>
          <p:spPr>
            <a:xfrm>
              <a:off x="6344844" y="3284029"/>
              <a:ext cx="235928" cy="163130"/>
            </a:xfrm>
            <a:custGeom>
              <a:avLst/>
              <a:gdLst>
                <a:gd name="connsiteX0" fmla="*/ 62939 w 235928"/>
                <a:gd name="connsiteY0" fmla="*/ 12806 h 163130"/>
                <a:gd name="connsiteX1" fmla="*/ 73772 w 235928"/>
                <a:gd name="connsiteY1" fmla="*/ 4800 h 163130"/>
                <a:gd name="connsiteX2" fmla="*/ 89283 w 235928"/>
                <a:gd name="connsiteY2" fmla="*/ 8950 h 163130"/>
                <a:gd name="connsiteX3" fmla="*/ 105367 w 235928"/>
                <a:gd name="connsiteY3" fmla="*/ 9084 h 163130"/>
                <a:gd name="connsiteX4" fmla="*/ 117014 w 235928"/>
                <a:gd name="connsiteY4" fmla="*/ 18191 h 163130"/>
                <a:gd name="connsiteX5" fmla="*/ 125575 w 235928"/>
                <a:gd name="connsiteY5" fmla="*/ 12475 h 163130"/>
                <a:gd name="connsiteX6" fmla="*/ 144083 w 235928"/>
                <a:gd name="connsiteY6" fmla="*/ 8888 h 163130"/>
                <a:gd name="connsiteX7" fmla="*/ 150399 w 235928"/>
                <a:gd name="connsiteY7" fmla="*/ 130 h 163130"/>
                <a:gd name="connsiteX8" fmla="*/ 160982 w 235928"/>
                <a:gd name="connsiteY8" fmla="*/ 139 h 163130"/>
                <a:gd name="connsiteX9" fmla="*/ 168621 w 235928"/>
                <a:gd name="connsiteY9" fmla="*/ 3798 h 163130"/>
                <a:gd name="connsiteX10" fmla="*/ 176394 w 235928"/>
                <a:gd name="connsiteY10" fmla="*/ 14872 h 163130"/>
                <a:gd name="connsiteX11" fmla="*/ 184347 w 235928"/>
                <a:gd name="connsiteY11" fmla="*/ 30509 h 163130"/>
                <a:gd name="connsiteX12" fmla="*/ 198821 w 235928"/>
                <a:gd name="connsiteY12" fmla="*/ 52354 h 163130"/>
                <a:gd name="connsiteX13" fmla="*/ 199617 w 235928"/>
                <a:gd name="connsiteY13" fmla="*/ 68321 h 163130"/>
                <a:gd name="connsiteX14" fmla="*/ 196978 w 235928"/>
                <a:gd name="connsiteY14" fmla="*/ 83743 h 163130"/>
                <a:gd name="connsiteX15" fmla="*/ 201469 w 235928"/>
                <a:gd name="connsiteY15" fmla="*/ 100078 h 163130"/>
                <a:gd name="connsiteX16" fmla="*/ 212660 w 235928"/>
                <a:gd name="connsiteY16" fmla="*/ 106635 h 163130"/>
                <a:gd name="connsiteX17" fmla="*/ 224441 w 235928"/>
                <a:gd name="connsiteY17" fmla="*/ 100910 h 163130"/>
                <a:gd name="connsiteX18" fmla="*/ 235819 w 235928"/>
                <a:gd name="connsiteY18" fmla="*/ 107020 h 163130"/>
                <a:gd name="connsiteX19" fmla="*/ 236401 w 235928"/>
                <a:gd name="connsiteY19" fmla="*/ 116162 h 163130"/>
                <a:gd name="connsiteX20" fmla="*/ 224244 w 235928"/>
                <a:gd name="connsiteY20" fmla="*/ 123757 h 163130"/>
                <a:gd name="connsiteX21" fmla="*/ 216622 w 235928"/>
                <a:gd name="connsiteY21" fmla="*/ 120456 h 163130"/>
                <a:gd name="connsiteX22" fmla="*/ 209609 w 235928"/>
                <a:gd name="connsiteY22" fmla="*/ 162598 h 163130"/>
                <a:gd name="connsiteX23" fmla="*/ 194858 w 235928"/>
                <a:gd name="connsiteY23" fmla="*/ 158966 h 163130"/>
                <a:gd name="connsiteX24" fmla="*/ 176610 w 235928"/>
                <a:gd name="connsiteY24" fmla="*/ 146335 h 163130"/>
                <a:gd name="connsiteX25" fmla="*/ 147080 w 235928"/>
                <a:gd name="connsiteY25" fmla="*/ 154422 h 163130"/>
                <a:gd name="connsiteX26" fmla="*/ 134637 w 235928"/>
                <a:gd name="connsiteY26" fmla="*/ 163260 h 163130"/>
                <a:gd name="connsiteX27" fmla="*/ 97808 w 235928"/>
                <a:gd name="connsiteY27" fmla="*/ 161435 h 163130"/>
                <a:gd name="connsiteX28" fmla="*/ 78531 w 235928"/>
                <a:gd name="connsiteY28" fmla="*/ 156032 h 163130"/>
                <a:gd name="connsiteX29" fmla="*/ 68816 w 235928"/>
                <a:gd name="connsiteY29" fmla="*/ 158573 h 163130"/>
                <a:gd name="connsiteX30" fmla="*/ 61597 w 235928"/>
                <a:gd name="connsiteY30" fmla="*/ 144278 h 163130"/>
                <a:gd name="connsiteX31" fmla="*/ 57008 w 235928"/>
                <a:gd name="connsiteY31" fmla="*/ 138186 h 163130"/>
                <a:gd name="connsiteX32" fmla="*/ 62822 w 235928"/>
                <a:gd name="connsiteY32" fmla="*/ 132273 h 163130"/>
                <a:gd name="connsiteX33" fmla="*/ 56632 w 235928"/>
                <a:gd name="connsiteY33" fmla="*/ 127907 h 163130"/>
                <a:gd name="connsiteX34" fmla="*/ 48760 w 235928"/>
                <a:gd name="connsiteY34" fmla="*/ 135762 h 163130"/>
                <a:gd name="connsiteX35" fmla="*/ 34135 w 235928"/>
                <a:gd name="connsiteY35" fmla="*/ 125564 h 163130"/>
                <a:gd name="connsiteX36" fmla="*/ 32166 w 235928"/>
                <a:gd name="connsiteY36" fmla="*/ 111001 h 163130"/>
                <a:gd name="connsiteX37" fmla="*/ 16879 w 235928"/>
                <a:gd name="connsiteY37" fmla="*/ 102637 h 163130"/>
                <a:gd name="connsiteX38" fmla="*/ 14069 w 235928"/>
                <a:gd name="connsiteY38" fmla="*/ 91276 h 163130"/>
                <a:gd name="connsiteX39" fmla="*/ 473 w 235928"/>
                <a:gd name="connsiteY39" fmla="*/ 77151 h 163130"/>
                <a:gd name="connsiteX40" fmla="*/ 20582 w 235928"/>
                <a:gd name="connsiteY40" fmla="*/ 70334 h 163130"/>
                <a:gd name="connsiteX41" fmla="*/ 35753 w 235928"/>
                <a:gd name="connsiteY41" fmla="*/ 45636 h 163130"/>
                <a:gd name="connsiteX42" fmla="*/ 47615 w 235928"/>
                <a:gd name="connsiteY42" fmla="*/ 20606 h 16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35928" h="163130">
                  <a:moveTo>
                    <a:pt x="62939" y="12806"/>
                  </a:moveTo>
                  <a:lnTo>
                    <a:pt x="73772" y="4800"/>
                  </a:lnTo>
                  <a:lnTo>
                    <a:pt x="89283" y="8950"/>
                  </a:lnTo>
                  <a:lnTo>
                    <a:pt x="105367" y="9084"/>
                  </a:lnTo>
                  <a:lnTo>
                    <a:pt x="117014" y="18191"/>
                  </a:lnTo>
                  <a:lnTo>
                    <a:pt x="125575" y="12475"/>
                  </a:lnTo>
                  <a:lnTo>
                    <a:pt x="144083" y="8888"/>
                  </a:lnTo>
                  <a:lnTo>
                    <a:pt x="150399" y="130"/>
                  </a:lnTo>
                  <a:lnTo>
                    <a:pt x="160982" y="139"/>
                  </a:lnTo>
                  <a:lnTo>
                    <a:pt x="168621" y="3798"/>
                  </a:lnTo>
                  <a:lnTo>
                    <a:pt x="176394" y="14872"/>
                  </a:lnTo>
                  <a:lnTo>
                    <a:pt x="184347" y="30509"/>
                  </a:lnTo>
                  <a:lnTo>
                    <a:pt x="198821" y="52354"/>
                  </a:lnTo>
                  <a:lnTo>
                    <a:pt x="199617" y="68321"/>
                  </a:lnTo>
                  <a:lnTo>
                    <a:pt x="196978" y="83743"/>
                  </a:lnTo>
                  <a:lnTo>
                    <a:pt x="201469" y="100078"/>
                  </a:lnTo>
                  <a:lnTo>
                    <a:pt x="212660" y="106635"/>
                  </a:lnTo>
                  <a:lnTo>
                    <a:pt x="224441" y="100910"/>
                  </a:lnTo>
                  <a:lnTo>
                    <a:pt x="235819" y="107020"/>
                  </a:lnTo>
                  <a:lnTo>
                    <a:pt x="236401" y="116162"/>
                  </a:lnTo>
                  <a:lnTo>
                    <a:pt x="224244" y="123757"/>
                  </a:lnTo>
                  <a:lnTo>
                    <a:pt x="216622" y="120456"/>
                  </a:lnTo>
                  <a:lnTo>
                    <a:pt x="209609" y="162598"/>
                  </a:lnTo>
                  <a:lnTo>
                    <a:pt x="194858" y="158966"/>
                  </a:lnTo>
                  <a:lnTo>
                    <a:pt x="176610" y="146335"/>
                  </a:lnTo>
                  <a:lnTo>
                    <a:pt x="147080" y="154422"/>
                  </a:lnTo>
                  <a:lnTo>
                    <a:pt x="134637" y="163260"/>
                  </a:lnTo>
                  <a:lnTo>
                    <a:pt x="97808" y="161435"/>
                  </a:lnTo>
                  <a:lnTo>
                    <a:pt x="78531" y="156032"/>
                  </a:lnTo>
                  <a:lnTo>
                    <a:pt x="68816" y="158573"/>
                  </a:lnTo>
                  <a:lnTo>
                    <a:pt x="61597" y="144278"/>
                  </a:lnTo>
                  <a:lnTo>
                    <a:pt x="57008" y="138186"/>
                  </a:lnTo>
                  <a:lnTo>
                    <a:pt x="62822" y="132273"/>
                  </a:lnTo>
                  <a:lnTo>
                    <a:pt x="56632" y="127907"/>
                  </a:lnTo>
                  <a:lnTo>
                    <a:pt x="48760" y="135762"/>
                  </a:lnTo>
                  <a:lnTo>
                    <a:pt x="34135" y="125564"/>
                  </a:lnTo>
                  <a:lnTo>
                    <a:pt x="32166" y="111001"/>
                  </a:lnTo>
                  <a:lnTo>
                    <a:pt x="16879" y="102637"/>
                  </a:lnTo>
                  <a:lnTo>
                    <a:pt x="14069" y="91276"/>
                  </a:lnTo>
                  <a:lnTo>
                    <a:pt x="473" y="77151"/>
                  </a:lnTo>
                  <a:lnTo>
                    <a:pt x="20582" y="70334"/>
                  </a:lnTo>
                  <a:lnTo>
                    <a:pt x="35753" y="45636"/>
                  </a:lnTo>
                  <a:lnTo>
                    <a:pt x="47615" y="2060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/>
            <p:cNvSpPr/>
            <p:nvPr/>
          </p:nvSpPr>
          <p:spPr>
            <a:xfrm>
              <a:off x="6309974" y="3359448"/>
              <a:ext cx="104242" cy="137000"/>
            </a:xfrm>
            <a:custGeom>
              <a:avLst/>
              <a:gdLst>
                <a:gd name="connsiteX0" fmla="*/ 51744 w 104242"/>
                <a:gd name="connsiteY0" fmla="*/ 27220 h 137000"/>
                <a:gd name="connsiteX1" fmla="*/ 67031 w 104242"/>
                <a:gd name="connsiteY1" fmla="*/ 35584 h 137000"/>
                <a:gd name="connsiteX2" fmla="*/ 69000 w 104242"/>
                <a:gd name="connsiteY2" fmla="*/ 50147 h 137000"/>
                <a:gd name="connsiteX3" fmla="*/ 83625 w 104242"/>
                <a:gd name="connsiteY3" fmla="*/ 60345 h 137000"/>
                <a:gd name="connsiteX4" fmla="*/ 91497 w 104242"/>
                <a:gd name="connsiteY4" fmla="*/ 52491 h 137000"/>
                <a:gd name="connsiteX5" fmla="*/ 97688 w 104242"/>
                <a:gd name="connsiteY5" fmla="*/ 56856 h 137000"/>
                <a:gd name="connsiteX6" fmla="*/ 91873 w 104242"/>
                <a:gd name="connsiteY6" fmla="*/ 62769 h 137000"/>
                <a:gd name="connsiteX7" fmla="*/ 96462 w 104242"/>
                <a:gd name="connsiteY7" fmla="*/ 68861 h 137000"/>
                <a:gd name="connsiteX8" fmla="*/ 90272 w 104242"/>
                <a:gd name="connsiteY8" fmla="*/ 76760 h 137000"/>
                <a:gd name="connsiteX9" fmla="*/ 92526 w 104242"/>
                <a:gd name="connsiteY9" fmla="*/ 89418 h 137000"/>
                <a:gd name="connsiteX10" fmla="*/ 104710 w 104242"/>
                <a:gd name="connsiteY10" fmla="*/ 104276 h 137000"/>
                <a:gd name="connsiteX11" fmla="*/ 95147 w 104242"/>
                <a:gd name="connsiteY11" fmla="*/ 114966 h 137000"/>
                <a:gd name="connsiteX12" fmla="*/ 90934 w 104242"/>
                <a:gd name="connsiteY12" fmla="*/ 125790 h 137000"/>
                <a:gd name="connsiteX13" fmla="*/ 93653 w 104242"/>
                <a:gd name="connsiteY13" fmla="*/ 129825 h 137000"/>
                <a:gd name="connsiteX14" fmla="*/ 89529 w 104242"/>
                <a:gd name="connsiteY14" fmla="*/ 134602 h 137000"/>
                <a:gd name="connsiteX15" fmla="*/ 77900 w 104242"/>
                <a:gd name="connsiteY15" fmla="*/ 135165 h 137000"/>
                <a:gd name="connsiteX16" fmla="*/ 69357 w 104242"/>
                <a:gd name="connsiteY16" fmla="*/ 137133 h 137000"/>
                <a:gd name="connsiteX17" fmla="*/ 68525 w 104242"/>
                <a:gd name="connsiteY17" fmla="*/ 134602 h 137000"/>
                <a:gd name="connsiteX18" fmla="*/ 71531 w 104242"/>
                <a:gd name="connsiteY18" fmla="*/ 130576 h 137000"/>
                <a:gd name="connsiteX19" fmla="*/ 74340 w 104242"/>
                <a:gd name="connsiteY19" fmla="*/ 122310 h 137000"/>
                <a:gd name="connsiteX20" fmla="*/ 70780 w 104242"/>
                <a:gd name="connsiteY20" fmla="*/ 122498 h 137000"/>
                <a:gd name="connsiteX21" fmla="*/ 65904 w 104242"/>
                <a:gd name="connsiteY21" fmla="*/ 116192 h 137000"/>
                <a:gd name="connsiteX22" fmla="*/ 61781 w 104242"/>
                <a:gd name="connsiteY22" fmla="*/ 114582 h 137000"/>
                <a:gd name="connsiteX23" fmla="*/ 58497 w 104242"/>
                <a:gd name="connsiteY23" fmla="*/ 109152 h 137000"/>
                <a:gd name="connsiteX24" fmla="*/ 53810 w 104242"/>
                <a:gd name="connsiteY24" fmla="*/ 107023 h 137000"/>
                <a:gd name="connsiteX25" fmla="*/ 50250 w 104242"/>
                <a:gd name="connsiteY25" fmla="*/ 102183 h 137000"/>
                <a:gd name="connsiteX26" fmla="*/ 45750 w 104242"/>
                <a:gd name="connsiteY26" fmla="*/ 104079 h 137000"/>
                <a:gd name="connsiteX27" fmla="*/ 42279 w 104242"/>
                <a:gd name="connsiteY27" fmla="*/ 115440 h 137000"/>
                <a:gd name="connsiteX28" fmla="*/ 36277 w 104242"/>
                <a:gd name="connsiteY28" fmla="*/ 117891 h 137000"/>
                <a:gd name="connsiteX29" fmla="*/ 38343 w 104242"/>
                <a:gd name="connsiteY29" fmla="*/ 114966 h 137000"/>
                <a:gd name="connsiteX30" fmla="*/ 28780 w 104242"/>
                <a:gd name="connsiteY30" fmla="*/ 107872 h 137000"/>
                <a:gd name="connsiteX31" fmla="*/ 20533 w 104242"/>
                <a:gd name="connsiteY31" fmla="*/ 104178 h 137000"/>
                <a:gd name="connsiteX32" fmla="*/ 16874 w 104242"/>
                <a:gd name="connsiteY32" fmla="*/ 99428 h 137000"/>
                <a:gd name="connsiteX33" fmla="*/ 10218 w 104242"/>
                <a:gd name="connsiteY33" fmla="*/ 93515 h 137000"/>
                <a:gd name="connsiteX34" fmla="*/ 16123 w 104242"/>
                <a:gd name="connsiteY34" fmla="*/ 91994 h 137000"/>
                <a:gd name="connsiteX35" fmla="*/ 19781 w 104242"/>
                <a:gd name="connsiteY35" fmla="*/ 75704 h 137000"/>
                <a:gd name="connsiteX36" fmla="*/ 7687 w 104242"/>
                <a:gd name="connsiteY36" fmla="*/ 62286 h 137000"/>
                <a:gd name="connsiteX37" fmla="*/ 13967 w 104242"/>
                <a:gd name="connsiteY37" fmla="*/ 46837 h 137000"/>
                <a:gd name="connsiteX38" fmla="*/ 4878 w 104242"/>
                <a:gd name="connsiteY38" fmla="*/ 46927 h 137000"/>
                <a:gd name="connsiteX39" fmla="*/ 14530 w 104242"/>
                <a:gd name="connsiteY39" fmla="*/ 33616 h 137000"/>
                <a:gd name="connsiteX40" fmla="*/ 6560 w 104242"/>
                <a:gd name="connsiteY40" fmla="*/ 23472 h 137000"/>
                <a:gd name="connsiteX41" fmla="*/ 468 w 104242"/>
                <a:gd name="connsiteY41" fmla="*/ 9606 h 137000"/>
                <a:gd name="connsiteX42" fmla="*/ 19683 w 104242"/>
                <a:gd name="connsiteY42" fmla="*/ 133 h 137000"/>
                <a:gd name="connsiteX43" fmla="*/ 35338 w 104242"/>
                <a:gd name="connsiteY43" fmla="*/ 1734 h 137000"/>
                <a:gd name="connsiteX44" fmla="*/ 48934 w 104242"/>
                <a:gd name="connsiteY44" fmla="*/ 15859 h 1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4242" h="137000">
                  <a:moveTo>
                    <a:pt x="51744" y="27220"/>
                  </a:moveTo>
                  <a:lnTo>
                    <a:pt x="67031" y="35584"/>
                  </a:lnTo>
                  <a:lnTo>
                    <a:pt x="69000" y="50147"/>
                  </a:lnTo>
                  <a:lnTo>
                    <a:pt x="83625" y="60345"/>
                  </a:lnTo>
                  <a:lnTo>
                    <a:pt x="91497" y="52491"/>
                  </a:lnTo>
                  <a:lnTo>
                    <a:pt x="97688" y="56856"/>
                  </a:lnTo>
                  <a:lnTo>
                    <a:pt x="91873" y="62769"/>
                  </a:lnTo>
                  <a:lnTo>
                    <a:pt x="96462" y="68861"/>
                  </a:lnTo>
                  <a:lnTo>
                    <a:pt x="90272" y="76760"/>
                  </a:lnTo>
                  <a:lnTo>
                    <a:pt x="92526" y="89418"/>
                  </a:lnTo>
                  <a:lnTo>
                    <a:pt x="104710" y="104276"/>
                  </a:lnTo>
                  <a:lnTo>
                    <a:pt x="95147" y="114966"/>
                  </a:lnTo>
                  <a:lnTo>
                    <a:pt x="90934" y="125790"/>
                  </a:lnTo>
                  <a:lnTo>
                    <a:pt x="93653" y="129825"/>
                  </a:lnTo>
                  <a:lnTo>
                    <a:pt x="89529" y="134602"/>
                  </a:lnTo>
                  <a:lnTo>
                    <a:pt x="77900" y="135165"/>
                  </a:lnTo>
                  <a:lnTo>
                    <a:pt x="69357" y="137133"/>
                  </a:lnTo>
                  <a:lnTo>
                    <a:pt x="68525" y="134602"/>
                  </a:lnTo>
                  <a:lnTo>
                    <a:pt x="71531" y="130576"/>
                  </a:lnTo>
                  <a:lnTo>
                    <a:pt x="74340" y="122310"/>
                  </a:lnTo>
                  <a:lnTo>
                    <a:pt x="70780" y="122498"/>
                  </a:lnTo>
                  <a:lnTo>
                    <a:pt x="65904" y="116192"/>
                  </a:lnTo>
                  <a:lnTo>
                    <a:pt x="61781" y="114582"/>
                  </a:lnTo>
                  <a:lnTo>
                    <a:pt x="58497" y="109152"/>
                  </a:lnTo>
                  <a:lnTo>
                    <a:pt x="53810" y="107023"/>
                  </a:lnTo>
                  <a:lnTo>
                    <a:pt x="50250" y="102183"/>
                  </a:lnTo>
                  <a:lnTo>
                    <a:pt x="45750" y="104079"/>
                  </a:lnTo>
                  <a:lnTo>
                    <a:pt x="42279" y="115440"/>
                  </a:lnTo>
                  <a:lnTo>
                    <a:pt x="36277" y="117891"/>
                  </a:lnTo>
                  <a:lnTo>
                    <a:pt x="38343" y="114966"/>
                  </a:lnTo>
                  <a:lnTo>
                    <a:pt x="28780" y="107872"/>
                  </a:lnTo>
                  <a:lnTo>
                    <a:pt x="20533" y="104178"/>
                  </a:lnTo>
                  <a:lnTo>
                    <a:pt x="16874" y="99428"/>
                  </a:lnTo>
                  <a:lnTo>
                    <a:pt x="10218" y="93515"/>
                  </a:lnTo>
                  <a:lnTo>
                    <a:pt x="16123" y="91994"/>
                  </a:lnTo>
                  <a:lnTo>
                    <a:pt x="19781" y="75704"/>
                  </a:lnTo>
                  <a:lnTo>
                    <a:pt x="7687" y="62286"/>
                  </a:lnTo>
                  <a:lnTo>
                    <a:pt x="13967" y="46837"/>
                  </a:lnTo>
                  <a:lnTo>
                    <a:pt x="4878" y="46927"/>
                  </a:lnTo>
                  <a:lnTo>
                    <a:pt x="14530" y="33616"/>
                  </a:lnTo>
                  <a:lnTo>
                    <a:pt x="6560" y="23472"/>
                  </a:lnTo>
                  <a:lnTo>
                    <a:pt x="468" y="9606"/>
                  </a:lnTo>
                  <a:lnTo>
                    <a:pt x="19683" y="133"/>
                  </a:lnTo>
                  <a:lnTo>
                    <a:pt x="35338" y="1734"/>
                  </a:lnTo>
                  <a:lnTo>
                    <a:pt x="48934" y="1585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/>
            <p:cNvSpPr/>
            <p:nvPr/>
          </p:nvSpPr>
          <p:spPr>
            <a:xfrm>
              <a:off x="6330817" y="976716"/>
              <a:ext cx="4274973" cy="2556319"/>
            </a:xfrm>
            <a:custGeom>
              <a:avLst/>
              <a:gdLst>
                <a:gd name="connsiteX0" fmla="*/ 4275538 w 4274973"/>
                <a:gd name="connsiteY0" fmla="*/ 1469288 h 2556319"/>
                <a:gd name="connsiteX1" fmla="*/ 4250669 w 4274973"/>
                <a:gd name="connsiteY1" fmla="*/ 1495883 h 2556319"/>
                <a:gd name="connsiteX2" fmla="*/ 4209520 w 4274973"/>
                <a:gd name="connsiteY2" fmla="*/ 1502127 h 2556319"/>
                <a:gd name="connsiteX3" fmla="*/ 4208894 w 4274973"/>
                <a:gd name="connsiteY3" fmla="*/ 1559942 h 2556319"/>
                <a:gd name="connsiteX4" fmla="*/ 4198866 w 4274973"/>
                <a:gd name="connsiteY4" fmla="*/ 1571991 h 2556319"/>
                <a:gd name="connsiteX5" fmla="*/ 4175384 w 4274973"/>
                <a:gd name="connsiteY5" fmla="*/ 1570265 h 2556319"/>
                <a:gd name="connsiteX6" fmla="*/ 4156258 w 4274973"/>
                <a:gd name="connsiteY6" fmla="*/ 1550012 h 2556319"/>
                <a:gd name="connsiteX7" fmla="*/ 4122910 w 4274973"/>
                <a:gd name="connsiteY7" fmla="*/ 1532864 h 2556319"/>
                <a:gd name="connsiteX8" fmla="*/ 4117301 w 4274973"/>
                <a:gd name="connsiteY8" fmla="*/ 1507011 h 2556319"/>
                <a:gd name="connsiteX9" fmla="*/ 4091824 w 4274973"/>
                <a:gd name="connsiteY9" fmla="*/ 1497153 h 2556319"/>
                <a:gd name="connsiteX10" fmla="*/ 4063305 w 4274973"/>
                <a:gd name="connsiteY10" fmla="*/ 1504981 h 2556319"/>
                <a:gd name="connsiteX11" fmla="*/ 4049681 w 4274973"/>
                <a:gd name="connsiteY11" fmla="*/ 1483789 h 2556319"/>
                <a:gd name="connsiteX12" fmla="*/ 4055129 w 4274973"/>
                <a:gd name="connsiteY12" fmla="*/ 1460960 h 2556319"/>
                <a:gd name="connsiteX13" fmla="*/ 4025091 w 4274973"/>
                <a:gd name="connsiteY13" fmla="*/ 1475586 h 2556319"/>
                <a:gd name="connsiteX14" fmla="*/ 4036407 w 4274973"/>
                <a:gd name="connsiteY14" fmla="*/ 1504158 h 2556319"/>
                <a:gd name="connsiteX15" fmla="*/ 4022174 w 4274973"/>
                <a:gd name="connsiteY15" fmla="*/ 1529500 h 2556319"/>
                <a:gd name="connsiteX16" fmla="*/ 4021987 w 4274973"/>
                <a:gd name="connsiteY16" fmla="*/ 1529822 h 2556319"/>
                <a:gd name="connsiteX17" fmla="*/ 3989747 w 4274973"/>
                <a:gd name="connsiteY17" fmla="*/ 1555630 h 2556319"/>
                <a:gd name="connsiteX18" fmla="*/ 3957239 w 4274973"/>
                <a:gd name="connsiteY18" fmla="*/ 1551354 h 2556319"/>
                <a:gd name="connsiteX19" fmla="*/ 3979862 w 4274973"/>
                <a:gd name="connsiteY19" fmla="*/ 1582144 h 2556319"/>
                <a:gd name="connsiteX20" fmla="*/ 3994792 w 4274973"/>
                <a:gd name="connsiteY20" fmla="*/ 1628670 h 2556319"/>
                <a:gd name="connsiteX21" fmla="*/ 4006377 w 4274973"/>
                <a:gd name="connsiteY21" fmla="*/ 1643591 h 2556319"/>
                <a:gd name="connsiteX22" fmla="*/ 4009284 w 4274973"/>
                <a:gd name="connsiteY22" fmla="*/ 1666241 h 2556319"/>
                <a:gd name="connsiteX23" fmla="*/ 4002807 w 4274973"/>
                <a:gd name="connsiteY23" fmla="*/ 1680572 h 2556319"/>
                <a:gd name="connsiteX24" fmla="*/ 3956058 w 4274973"/>
                <a:gd name="connsiteY24" fmla="*/ 1668791 h 2556319"/>
                <a:gd name="connsiteX25" fmla="*/ 3885952 w 4274973"/>
                <a:gd name="connsiteY25" fmla="*/ 1709144 h 2556319"/>
                <a:gd name="connsiteX26" fmla="*/ 3863651 w 4274973"/>
                <a:gd name="connsiteY26" fmla="*/ 1715298 h 2556319"/>
                <a:gd name="connsiteX27" fmla="*/ 3825275 w 4274973"/>
                <a:gd name="connsiteY27" fmla="*/ 1751939 h 2556319"/>
                <a:gd name="connsiteX28" fmla="*/ 3788867 w 4274973"/>
                <a:gd name="connsiteY28" fmla="*/ 1783293 h 2556319"/>
                <a:gd name="connsiteX29" fmla="*/ 3779653 w 4274973"/>
                <a:gd name="connsiteY29" fmla="*/ 1806131 h 2556319"/>
                <a:gd name="connsiteX30" fmla="*/ 3743773 w 4274973"/>
                <a:gd name="connsiteY30" fmla="*/ 1771243 h 2556319"/>
                <a:gd name="connsiteX31" fmla="*/ 3678416 w 4274973"/>
                <a:gd name="connsiteY31" fmla="*/ 1810773 h 2556319"/>
                <a:gd name="connsiteX32" fmla="*/ 3667011 w 4274973"/>
                <a:gd name="connsiteY32" fmla="*/ 1792185 h 2556319"/>
                <a:gd name="connsiteX33" fmla="*/ 3642850 w 4274973"/>
                <a:gd name="connsiteY33" fmla="*/ 1813600 h 2556319"/>
                <a:gd name="connsiteX34" fmla="*/ 3609304 w 4274973"/>
                <a:gd name="connsiteY34" fmla="*/ 1806775 h 2556319"/>
                <a:gd name="connsiteX35" fmla="*/ 3601226 w 4274973"/>
                <a:gd name="connsiteY35" fmla="*/ 1839256 h 2556319"/>
                <a:gd name="connsiteX36" fmla="*/ 3571133 w 4274973"/>
                <a:gd name="connsiteY36" fmla="*/ 1885933 h 2556319"/>
                <a:gd name="connsiteX37" fmla="*/ 3572037 w 4274973"/>
                <a:gd name="connsiteY37" fmla="*/ 1905050 h 2556319"/>
                <a:gd name="connsiteX38" fmla="*/ 3600600 w 4274973"/>
                <a:gd name="connsiteY38" fmla="*/ 1915552 h 2556319"/>
                <a:gd name="connsiteX39" fmla="*/ 3597236 w 4274973"/>
                <a:gd name="connsiteY39" fmla="*/ 1982268 h 2556319"/>
                <a:gd name="connsiteX40" fmla="*/ 3573951 w 4274973"/>
                <a:gd name="connsiteY40" fmla="*/ 1983932 h 2556319"/>
                <a:gd name="connsiteX41" fmla="*/ 3563208 w 4274973"/>
                <a:gd name="connsiteY41" fmla="*/ 2021091 h 2556319"/>
                <a:gd name="connsiteX42" fmla="*/ 3573647 w 4274973"/>
                <a:gd name="connsiteY42" fmla="*/ 2039912 h 2556319"/>
                <a:gd name="connsiteX43" fmla="*/ 3529787 w 4274973"/>
                <a:gd name="connsiteY43" fmla="*/ 2061981 h 2556319"/>
                <a:gd name="connsiteX44" fmla="*/ 3521083 w 4274973"/>
                <a:gd name="connsiteY44" fmla="*/ 2110332 h 2556319"/>
                <a:gd name="connsiteX45" fmla="*/ 3483682 w 4274973"/>
                <a:gd name="connsiteY45" fmla="*/ 2120485 h 2556319"/>
                <a:gd name="connsiteX46" fmla="*/ 3476168 w 4274973"/>
                <a:gd name="connsiteY46" fmla="*/ 2162198 h 2556319"/>
                <a:gd name="connsiteX47" fmla="*/ 3440010 w 4274973"/>
                <a:gd name="connsiteY47" fmla="*/ 2199616 h 2556319"/>
                <a:gd name="connsiteX48" fmla="*/ 3430742 w 4274973"/>
                <a:gd name="connsiteY48" fmla="*/ 2172020 h 2556319"/>
                <a:gd name="connsiteX49" fmla="*/ 3419999 w 4274973"/>
                <a:gd name="connsiteY49" fmla="*/ 2112148 h 2556319"/>
                <a:gd name="connsiteX50" fmla="*/ 3406008 w 4274973"/>
                <a:gd name="connsiteY50" fmla="*/ 2016905 h 2556319"/>
                <a:gd name="connsiteX51" fmla="*/ 3418067 w 4274973"/>
                <a:gd name="connsiteY51" fmla="*/ 1954698 h 2556319"/>
                <a:gd name="connsiteX52" fmla="*/ 3439223 w 4274973"/>
                <a:gd name="connsiteY52" fmla="*/ 1927226 h 2556319"/>
                <a:gd name="connsiteX53" fmla="*/ 3440529 w 4274973"/>
                <a:gd name="connsiteY53" fmla="*/ 1905390 h 2556319"/>
                <a:gd name="connsiteX54" fmla="*/ 3479505 w 4274973"/>
                <a:gd name="connsiteY54" fmla="*/ 1894834 h 2556319"/>
                <a:gd name="connsiteX55" fmla="*/ 3524312 w 4274973"/>
                <a:gd name="connsiteY55" fmla="*/ 1834175 h 2556319"/>
                <a:gd name="connsiteX56" fmla="*/ 3567483 w 4274973"/>
                <a:gd name="connsiteY56" fmla="*/ 1782944 h 2556319"/>
                <a:gd name="connsiteX57" fmla="*/ 3612569 w 4274973"/>
                <a:gd name="connsiteY57" fmla="*/ 1742063 h 2556319"/>
                <a:gd name="connsiteX58" fmla="*/ 3632732 w 4274973"/>
                <a:gd name="connsiteY58" fmla="*/ 1667225 h 2556319"/>
                <a:gd name="connsiteX59" fmla="*/ 3602263 w 4274973"/>
                <a:gd name="connsiteY59" fmla="*/ 1671796 h 2556319"/>
                <a:gd name="connsiteX60" fmla="*/ 3587190 w 4274973"/>
                <a:gd name="connsiteY60" fmla="*/ 1715826 h 2556319"/>
                <a:gd name="connsiteX61" fmla="*/ 3523579 w 4274973"/>
                <a:gd name="connsiteY61" fmla="*/ 1772728 h 2556319"/>
                <a:gd name="connsiteX62" fmla="*/ 3503031 w 4274973"/>
                <a:gd name="connsiteY62" fmla="*/ 1708875 h 2556319"/>
                <a:gd name="connsiteX63" fmla="*/ 3438284 w 4274973"/>
                <a:gd name="connsiteY63" fmla="*/ 1726757 h 2556319"/>
                <a:gd name="connsiteX64" fmla="*/ 3375504 w 4274973"/>
                <a:gd name="connsiteY64" fmla="*/ 1812276 h 2556319"/>
                <a:gd name="connsiteX65" fmla="*/ 3396213 w 4274973"/>
                <a:gd name="connsiteY65" fmla="*/ 1842485 h 2556319"/>
                <a:gd name="connsiteX66" fmla="*/ 3340232 w 4274973"/>
                <a:gd name="connsiteY66" fmla="*/ 1855179 h 2556319"/>
                <a:gd name="connsiteX67" fmla="*/ 3301454 w 4274973"/>
                <a:gd name="connsiteY67" fmla="*/ 1860162 h 2556319"/>
                <a:gd name="connsiteX68" fmla="*/ 3303269 w 4274973"/>
                <a:gd name="connsiteY68" fmla="*/ 1824863 h 2556319"/>
                <a:gd name="connsiteX69" fmla="*/ 3264285 w 4274973"/>
                <a:gd name="connsiteY69" fmla="*/ 1817357 h 2556319"/>
                <a:gd name="connsiteX70" fmla="*/ 3233208 w 4274973"/>
                <a:gd name="connsiteY70" fmla="*/ 1841528 h 2556319"/>
                <a:gd name="connsiteX71" fmla="*/ 3156518 w 4274973"/>
                <a:gd name="connsiteY71" fmla="*/ 1833110 h 2556319"/>
                <a:gd name="connsiteX72" fmla="*/ 3074014 w 4274973"/>
                <a:gd name="connsiteY72" fmla="*/ 1847602 h 2556319"/>
                <a:gd name="connsiteX73" fmla="*/ 2992762 w 4274973"/>
                <a:gd name="connsiteY73" fmla="*/ 1940009 h 2556319"/>
                <a:gd name="connsiteX74" fmla="*/ 2896642 w 4274973"/>
                <a:gd name="connsiteY74" fmla="*/ 2045360 h 2556319"/>
                <a:gd name="connsiteX75" fmla="*/ 2936155 w 4274973"/>
                <a:gd name="connsiteY75" fmla="*/ 2050817 h 2556319"/>
                <a:gd name="connsiteX76" fmla="*/ 2948491 w 4274973"/>
                <a:gd name="connsiteY76" fmla="*/ 2077662 h 2556319"/>
                <a:gd name="connsiteX77" fmla="*/ 2972858 w 4274973"/>
                <a:gd name="connsiteY77" fmla="*/ 2087100 h 2556319"/>
                <a:gd name="connsiteX78" fmla="*/ 2988907 w 4274973"/>
                <a:gd name="connsiteY78" fmla="*/ 2065828 h 2556319"/>
                <a:gd name="connsiteX79" fmla="*/ 3016423 w 4274973"/>
                <a:gd name="connsiteY79" fmla="*/ 2068610 h 2556319"/>
                <a:gd name="connsiteX80" fmla="*/ 3052634 w 4274973"/>
                <a:gd name="connsiteY80" fmla="*/ 2115046 h 2556319"/>
                <a:gd name="connsiteX81" fmla="*/ 3053484 w 4274973"/>
                <a:gd name="connsiteY81" fmla="*/ 2150148 h 2556319"/>
                <a:gd name="connsiteX82" fmla="*/ 3033885 w 4274973"/>
                <a:gd name="connsiteY82" fmla="*/ 2190510 h 2556319"/>
                <a:gd name="connsiteX83" fmla="*/ 3031765 w 4274973"/>
                <a:gd name="connsiteY83" fmla="*/ 2237617 h 2556319"/>
                <a:gd name="connsiteX84" fmla="*/ 3020448 w 4274973"/>
                <a:gd name="connsiteY84" fmla="*/ 2298876 h 2556319"/>
                <a:gd name="connsiteX85" fmla="*/ 2982645 w 4274973"/>
                <a:gd name="connsiteY85" fmla="*/ 2352665 h 2556319"/>
                <a:gd name="connsiteX86" fmla="*/ 2974245 w 4274973"/>
                <a:gd name="connsiteY86" fmla="*/ 2377864 h 2556319"/>
                <a:gd name="connsiteX87" fmla="*/ 2940198 w 4274973"/>
                <a:gd name="connsiteY87" fmla="*/ 2419569 h 2556319"/>
                <a:gd name="connsiteX88" fmla="*/ 2906411 w 4274973"/>
                <a:gd name="connsiteY88" fmla="*/ 2460074 h 2556319"/>
                <a:gd name="connsiteX89" fmla="*/ 2890211 w 4274973"/>
                <a:gd name="connsiteY89" fmla="*/ 2480496 h 2556319"/>
                <a:gd name="connsiteX90" fmla="*/ 2856791 w 4274973"/>
                <a:gd name="connsiteY90" fmla="*/ 2500579 h 2556319"/>
                <a:gd name="connsiteX91" fmla="*/ 2840966 w 4274973"/>
                <a:gd name="connsiteY91" fmla="*/ 2501017 h 2556319"/>
                <a:gd name="connsiteX92" fmla="*/ 2825213 w 4274973"/>
                <a:gd name="connsiteY92" fmla="*/ 2484396 h 2556319"/>
                <a:gd name="connsiteX93" fmla="*/ 2791542 w 4274973"/>
                <a:gd name="connsiteY93" fmla="*/ 2509372 h 2556319"/>
                <a:gd name="connsiteX94" fmla="*/ 2787624 w 4274973"/>
                <a:gd name="connsiteY94" fmla="*/ 2520626 h 2556319"/>
                <a:gd name="connsiteX95" fmla="*/ 2784108 w 4274973"/>
                <a:gd name="connsiteY95" fmla="*/ 2514713 h 2556319"/>
                <a:gd name="connsiteX96" fmla="*/ 2783956 w 4274973"/>
                <a:gd name="connsiteY96" fmla="*/ 2497457 h 2556319"/>
                <a:gd name="connsiteX97" fmla="*/ 2796766 w 4274973"/>
                <a:gd name="connsiteY97" fmla="*/ 2496536 h 2556319"/>
                <a:gd name="connsiteX98" fmla="*/ 2800380 w 4274973"/>
                <a:gd name="connsiteY98" fmla="*/ 2455807 h 2556319"/>
                <a:gd name="connsiteX99" fmla="*/ 2793769 w 4274973"/>
                <a:gd name="connsiteY99" fmla="*/ 2425768 h 2556319"/>
                <a:gd name="connsiteX100" fmla="*/ 2815301 w 4274973"/>
                <a:gd name="connsiteY100" fmla="*/ 2413253 h 2556319"/>
                <a:gd name="connsiteX101" fmla="*/ 2845734 w 4274973"/>
                <a:gd name="connsiteY101" fmla="*/ 2419541 h 2556319"/>
                <a:gd name="connsiteX102" fmla="*/ 2862605 w 4274973"/>
                <a:gd name="connsiteY102" fmla="*/ 2384761 h 2556319"/>
                <a:gd name="connsiteX103" fmla="*/ 2871201 w 4274973"/>
                <a:gd name="connsiteY103" fmla="*/ 2344847 h 2556319"/>
                <a:gd name="connsiteX104" fmla="*/ 2880943 w 4274973"/>
                <a:gd name="connsiteY104" fmla="*/ 2331330 h 2556319"/>
                <a:gd name="connsiteX105" fmla="*/ 2894129 w 4274973"/>
                <a:gd name="connsiteY105" fmla="*/ 2297686 h 2556319"/>
                <a:gd name="connsiteX106" fmla="*/ 2852675 w 4274973"/>
                <a:gd name="connsiteY106" fmla="*/ 2308769 h 2556319"/>
                <a:gd name="connsiteX107" fmla="*/ 2830929 w 4274973"/>
                <a:gd name="connsiteY107" fmla="*/ 2323503 h 2556319"/>
                <a:gd name="connsiteX108" fmla="*/ 2792812 w 4274973"/>
                <a:gd name="connsiteY108" fmla="*/ 2323458 h 2556319"/>
                <a:gd name="connsiteX109" fmla="*/ 2782659 w 4274973"/>
                <a:gd name="connsiteY109" fmla="*/ 2288168 h 2556319"/>
                <a:gd name="connsiteX110" fmla="*/ 2752951 w 4274973"/>
                <a:gd name="connsiteY110" fmla="*/ 2261019 h 2556319"/>
                <a:gd name="connsiteX111" fmla="*/ 2709297 w 4274973"/>
                <a:gd name="connsiteY111" fmla="*/ 2248683 h 2556319"/>
                <a:gd name="connsiteX112" fmla="*/ 2700021 w 4274973"/>
                <a:gd name="connsiteY112" fmla="*/ 2210360 h 2556319"/>
                <a:gd name="connsiteX113" fmla="*/ 2691281 w 4274973"/>
                <a:gd name="connsiteY113" fmla="*/ 2185930 h 2556319"/>
                <a:gd name="connsiteX114" fmla="*/ 2681879 w 4274973"/>
                <a:gd name="connsiteY114" fmla="*/ 2168602 h 2556319"/>
                <a:gd name="connsiteX115" fmla="*/ 2666377 w 4274973"/>
                <a:gd name="connsiteY115" fmla="*/ 2127355 h 2556319"/>
                <a:gd name="connsiteX116" fmla="*/ 2644352 w 4274973"/>
                <a:gd name="connsiteY116" fmla="*/ 2112049 h 2556319"/>
                <a:gd name="connsiteX117" fmla="*/ 2606817 w 4274973"/>
                <a:gd name="connsiteY117" fmla="*/ 2099579 h 2556319"/>
                <a:gd name="connsiteX118" fmla="*/ 2573558 w 4274973"/>
                <a:gd name="connsiteY118" fmla="*/ 2100715 h 2556319"/>
                <a:gd name="connsiteX119" fmla="*/ 2542392 w 4274973"/>
                <a:gd name="connsiteY119" fmla="*/ 2108274 h 2556319"/>
                <a:gd name="connsiteX120" fmla="*/ 2521683 w 4274973"/>
                <a:gd name="connsiteY120" fmla="*/ 2128965 h 2556319"/>
                <a:gd name="connsiteX121" fmla="*/ 2535441 w 4274973"/>
                <a:gd name="connsiteY121" fmla="*/ 2138760 h 2556319"/>
                <a:gd name="connsiteX122" fmla="*/ 2535755 w 4274973"/>
                <a:gd name="connsiteY122" fmla="*/ 2161321 h 2556319"/>
                <a:gd name="connsiteX123" fmla="*/ 2521800 w 4274973"/>
                <a:gd name="connsiteY123" fmla="*/ 2174292 h 2556319"/>
                <a:gd name="connsiteX124" fmla="*/ 2499158 w 4274973"/>
                <a:gd name="connsiteY124" fmla="*/ 2216559 h 2556319"/>
                <a:gd name="connsiteX125" fmla="*/ 2499391 w 4274973"/>
                <a:gd name="connsiteY125" fmla="*/ 2233815 h 2556319"/>
                <a:gd name="connsiteX126" fmla="*/ 2464038 w 4274973"/>
                <a:gd name="connsiteY126" fmla="*/ 2258317 h 2556319"/>
                <a:gd name="connsiteX127" fmla="*/ 2433937 w 4274973"/>
                <a:gd name="connsiteY127" fmla="*/ 2243718 h 2556319"/>
                <a:gd name="connsiteX128" fmla="*/ 2404005 w 4274973"/>
                <a:gd name="connsiteY128" fmla="*/ 2246947 h 2556319"/>
                <a:gd name="connsiteX129" fmla="*/ 2390873 w 4274973"/>
                <a:gd name="connsiteY129" fmla="*/ 2233914 h 2556319"/>
                <a:gd name="connsiteX130" fmla="*/ 2375827 w 4274973"/>
                <a:gd name="connsiteY130" fmla="*/ 2229691 h 2556319"/>
                <a:gd name="connsiteX131" fmla="*/ 2339097 w 4274973"/>
                <a:gd name="connsiteY131" fmla="*/ 2257055 h 2556319"/>
                <a:gd name="connsiteX132" fmla="*/ 2306078 w 4274973"/>
                <a:gd name="connsiteY132" fmla="*/ 2263425 h 2556319"/>
                <a:gd name="connsiteX133" fmla="*/ 2283026 w 4274973"/>
                <a:gd name="connsiteY133" fmla="*/ 2272925 h 2556319"/>
                <a:gd name="connsiteX134" fmla="*/ 2251431 w 4274973"/>
                <a:gd name="connsiteY134" fmla="*/ 2266690 h 2556319"/>
                <a:gd name="connsiteX135" fmla="*/ 2228172 w 4274973"/>
                <a:gd name="connsiteY135" fmla="*/ 2267092 h 2556319"/>
                <a:gd name="connsiteX136" fmla="*/ 2212947 w 4274973"/>
                <a:gd name="connsiteY136" fmla="*/ 2247385 h 2556319"/>
                <a:gd name="connsiteX137" fmla="*/ 2188383 w 4274973"/>
                <a:gd name="connsiteY137" fmla="*/ 2228672 h 2556319"/>
                <a:gd name="connsiteX138" fmla="*/ 2163246 w 4274973"/>
                <a:gd name="connsiteY138" fmla="*/ 2223510 h 2556319"/>
                <a:gd name="connsiteX139" fmla="*/ 2131516 w 4274973"/>
                <a:gd name="connsiteY139" fmla="*/ 2228636 h 2556319"/>
                <a:gd name="connsiteX140" fmla="*/ 2107810 w 4274973"/>
                <a:gd name="connsiteY140" fmla="*/ 2235873 h 2556319"/>
                <a:gd name="connsiteX141" fmla="*/ 2072181 w 4274973"/>
                <a:gd name="connsiteY141" fmla="*/ 2219404 h 2556319"/>
                <a:gd name="connsiteX142" fmla="*/ 2067404 w 4274973"/>
                <a:gd name="connsiteY142" fmla="*/ 2189687 h 2556319"/>
                <a:gd name="connsiteX143" fmla="*/ 2037910 w 4274973"/>
                <a:gd name="connsiteY143" fmla="*/ 2179391 h 2556319"/>
                <a:gd name="connsiteX144" fmla="*/ 2015144 w 4274973"/>
                <a:gd name="connsiteY144" fmla="*/ 2174676 h 2556319"/>
                <a:gd name="connsiteX145" fmla="*/ 1987046 w 4274973"/>
                <a:gd name="connsiteY145" fmla="*/ 2157939 h 2556319"/>
                <a:gd name="connsiteX146" fmla="*/ 1961068 w 4274973"/>
                <a:gd name="connsiteY146" fmla="*/ 2199616 h 2556319"/>
                <a:gd name="connsiteX147" fmla="*/ 1971258 w 4274973"/>
                <a:gd name="connsiteY147" fmla="*/ 2222875 h 2556319"/>
                <a:gd name="connsiteX148" fmla="*/ 1946872 w 4274973"/>
                <a:gd name="connsiteY148" fmla="*/ 2250015 h 2556319"/>
                <a:gd name="connsiteX149" fmla="*/ 1910607 w 4274973"/>
                <a:gd name="connsiteY149" fmla="*/ 2240265 h 2556319"/>
                <a:gd name="connsiteX150" fmla="*/ 1885568 w 4274973"/>
                <a:gd name="connsiteY150" fmla="*/ 2238869 h 2556319"/>
                <a:gd name="connsiteX151" fmla="*/ 1868805 w 4274973"/>
                <a:gd name="connsiteY151" fmla="*/ 2220603 h 2556319"/>
                <a:gd name="connsiteX152" fmla="*/ 1842639 w 4274973"/>
                <a:gd name="connsiteY152" fmla="*/ 2220021 h 2556319"/>
                <a:gd name="connsiteX153" fmla="*/ 1820830 w 4274973"/>
                <a:gd name="connsiteY153" fmla="*/ 2207909 h 2556319"/>
                <a:gd name="connsiteX154" fmla="*/ 1782678 w 4274973"/>
                <a:gd name="connsiteY154" fmla="*/ 2226435 h 2556319"/>
                <a:gd name="connsiteX155" fmla="*/ 1734819 w 4274973"/>
                <a:gd name="connsiteY155" fmla="*/ 2259882 h 2556319"/>
                <a:gd name="connsiteX156" fmla="*/ 1708376 w 4274973"/>
                <a:gd name="connsiteY156" fmla="*/ 2266538 h 2556319"/>
                <a:gd name="connsiteX157" fmla="*/ 1698554 w 4274973"/>
                <a:gd name="connsiteY157" fmla="*/ 2269687 h 2556319"/>
                <a:gd name="connsiteX158" fmla="*/ 1685252 w 4274973"/>
                <a:gd name="connsiteY158" fmla="*/ 2246124 h 2556319"/>
                <a:gd name="connsiteX159" fmla="*/ 1652941 w 4274973"/>
                <a:gd name="connsiteY159" fmla="*/ 2251304 h 2556319"/>
                <a:gd name="connsiteX160" fmla="*/ 1642269 w 4274973"/>
                <a:gd name="connsiteY160" fmla="*/ 2234817 h 2556319"/>
                <a:gd name="connsiteX161" fmla="*/ 1624736 w 4274973"/>
                <a:gd name="connsiteY161" fmla="*/ 2227231 h 2556319"/>
                <a:gd name="connsiteX162" fmla="*/ 1612659 w 4274973"/>
                <a:gd name="connsiteY162" fmla="*/ 2204465 h 2556319"/>
                <a:gd name="connsiteX163" fmla="*/ 1598812 w 4274973"/>
                <a:gd name="connsiteY163" fmla="*/ 2197318 h 2556319"/>
                <a:gd name="connsiteX164" fmla="*/ 1562770 w 4274973"/>
                <a:gd name="connsiteY164" fmla="*/ 2207515 h 2556319"/>
                <a:gd name="connsiteX165" fmla="*/ 1528223 w 4274973"/>
                <a:gd name="connsiteY165" fmla="*/ 2184570 h 2556319"/>
                <a:gd name="connsiteX166" fmla="*/ 1514858 w 4274973"/>
                <a:gd name="connsiteY166" fmla="*/ 2205440 h 2556319"/>
                <a:gd name="connsiteX167" fmla="*/ 1458806 w 4274973"/>
                <a:gd name="connsiteY167" fmla="*/ 2101887 h 2556319"/>
                <a:gd name="connsiteX168" fmla="*/ 1426807 w 4274973"/>
                <a:gd name="connsiteY168" fmla="*/ 2069155 h 2556319"/>
                <a:gd name="connsiteX169" fmla="*/ 1435977 w 4274973"/>
                <a:gd name="connsiteY169" fmla="*/ 2055701 h 2556319"/>
                <a:gd name="connsiteX170" fmla="*/ 1373126 w 4274973"/>
                <a:gd name="connsiteY170" fmla="*/ 2095902 h 2556319"/>
                <a:gd name="connsiteX171" fmla="*/ 1349071 w 4274973"/>
                <a:gd name="connsiteY171" fmla="*/ 2098300 h 2556319"/>
                <a:gd name="connsiteX172" fmla="*/ 1351146 w 4274973"/>
                <a:gd name="connsiteY172" fmla="*/ 2075193 h 2556319"/>
                <a:gd name="connsiteX173" fmla="*/ 1318925 w 4274973"/>
                <a:gd name="connsiteY173" fmla="*/ 2060603 h 2556319"/>
                <a:gd name="connsiteX174" fmla="*/ 1292741 w 4274973"/>
                <a:gd name="connsiteY174" fmla="*/ 2071034 h 2556319"/>
                <a:gd name="connsiteX175" fmla="*/ 1284842 w 4274973"/>
                <a:gd name="connsiteY175" fmla="*/ 2026199 h 2556319"/>
                <a:gd name="connsiteX176" fmla="*/ 1239766 w 4274973"/>
                <a:gd name="connsiteY176" fmla="*/ 2016726 h 2556319"/>
                <a:gd name="connsiteX177" fmla="*/ 1217214 w 4274973"/>
                <a:gd name="connsiteY177" fmla="*/ 2034912 h 2556319"/>
                <a:gd name="connsiteX178" fmla="*/ 1154453 w 4274973"/>
                <a:gd name="connsiteY178" fmla="*/ 2050933 h 2556319"/>
                <a:gd name="connsiteX179" fmla="*/ 1142206 w 4274973"/>
                <a:gd name="connsiteY179" fmla="*/ 2061569 h 2556319"/>
                <a:gd name="connsiteX180" fmla="*/ 1048350 w 4274973"/>
                <a:gd name="connsiteY180" fmla="*/ 2076446 h 2556319"/>
                <a:gd name="connsiteX181" fmla="*/ 1036855 w 4274973"/>
                <a:gd name="connsiteY181" fmla="*/ 2090920 h 2556319"/>
                <a:gd name="connsiteX182" fmla="*/ 1054961 w 4274973"/>
                <a:gd name="connsiteY182" fmla="*/ 2119617 h 2556319"/>
                <a:gd name="connsiteX183" fmla="*/ 1030880 w 4274973"/>
                <a:gd name="connsiteY183" fmla="*/ 2130387 h 2556319"/>
                <a:gd name="connsiteX184" fmla="*/ 1035576 w 4274973"/>
                <a:gd name="connsiteY184" fmla="*/ 2141605 h 2556319"/>
                <a:gd name="connsiteX185" fmla="*/ 1011504 w 4274973"/>
                <a:gd name="connsiteY185" fmla="*/ 2161491 h 2556319"/>
                <a:gd name="connsiteX186" fmla="*/ 1052152 w 4274973"/>
                <a:gd name="connsiteY186" fmla="*/ 2189204 h 2556319"/>
                <a:gd name="connsiteX187" fmla="*/ 1045872 w 4274973"/>
                <a:gd name="connsiteY187" fmla="*/ 2208043 h 2556319"/>
                <a:gd name="connsiteX188" fmla="*/ 1010645 w 4274973"/>
                <a:gd name="connsiteY188" fmla="*/ 2206335 h 2556319"/>
                <a:gd name="connsiteX189" fmla="*/ 1003363 w 4274973"/>
                <a:gd name="connsiteY189" fmla="*/ 2218053 h 2556319"/>
                <a:gd name="connsiteX190" fmla="*/ 971285 w 4274973"/>
                <a:gd name="connsiteY190" fmla="*/ 2197541 h 2556319"/>
                <a:gd name="connsiteX191" fmla="*/ 931522 w 4274973"/>
                <a:gd name="connsiteY191" fmla="*/ 2198337 h 2556319"/>
                <a:gd name="connsiteX192" fmla="*/ 904901 w 4274973"/>
                <a:gd name="connsiteY192" fmla="*/ 2215048 h 2556319"/>
                <a:gd name="connsiteX193" fmla="*/ 875210 w 4274973"/>
                <a:gd name="connsiteY193" fmla="*/ 2199026 h 2556319"/>
                <a:gd name="connsiteX194" fmla="*/ 819918 w 4274973"/>
                <a:gd name="connsiteY194" fmla="*/ 2171277 h 2556319"/>
                <a:gd name="connsiteX195" fmla="*/ 780737 w 4274973"/>
                <a:gd name="connsiteY195" fmla="*/ 2172324 h 2556319"/>
                <a:gd name="connsiteX196" fmla="*/ 728960 w 4274973"/>
                <a:gd name="connsiteY196" fmla="*/ 2215701 h 2556319"/>
                <a:gd name="connsiteX197" fmla="*/ 725838 w 4274973"/>
                <a:gd name="connsiteY197" fmla="*/ 2244263 h 2556319"/>
                <a:gd name="connsiteX198" fmla="*/ 700048 w 4274973"/>
                <a:gd name="connsiteY198" fmla="*/ 2221614 h 2556319"/>
                <a:gd name="connsiteX199" fmla="*/ 680037 w 4274973"/>
                <a:gd name="connsiteY199" fmla="*/ 2264284 h 2556319"/>
                <a:gd name="connsiteX200" fmla="*/ 687364 w 4274973"/>
                <a:gd name="connsiteY200" fmla="*/ 2272102 h 2556319"/>
                <a:gd name="connsiteX201" fmla="*/ 672890 w 4274973"/>
                <a:gd name="connsiteY201" fmla="*/ 2300862 h 2556319"/>
                <a:gd name="connsiteX202" fmla="*/ 694180 w 4274973"/>
                <a:gd name="connsiteY202" fmla="*/ 2326240 h 2556319"/>
                <a:gd name="connsiteX203" fmla="*/ 712796 w 4274973"/>
                <a:gd name="connsiteY203" fmla="*/ 2325202 h 2556319"/>
                <a:gd name="connsiteX204" fmla="*/ 728781 w 4274973"/>
                <a:gd name="connsiteY204" fmla="*/ 2349892 h 2556319"/>
                <a:gd name="connsiteX205" fmla="*/ 726241 w 4274973"/>
                <a:gd name="connsiteY205" fmla="*/ 2368695 h 2556319"/>
                <a:gd name="connsiteX206" fmla="*/ 738979 w 4274973"/>
                <a:gd name="connsiteY206" fmla="*/ 2374564 h 2556319"/>
                <a:gd name="connsiteX207" fmla="*/ 727547 w 4274973"/>
                <a:gd name="connsiteY207" fmla="*/ 2395952 h 2556319"/>
                <a:gd name="connsiteX208" fmla="*/ 703233 w 4274973"/>
                <a:gd name="connsiteY208" fmla="*/ 2401856 h 2556319"/>
                <a:gd name="connsiteX209" fmla="*/ 678302 w 4274973"/>
                <a:gd name="connsiteY209" fmla="*/ 2438426 h 2556319"/>
                <a:gd name="connsiteX210" fmla="*/ 701095 w 4274973"/>
                <a:gd name="connsiteY210" fmla="*/ 2471479 h 2556319"/>
                <a:gd name="connsiteX211" fmla="*/ 698626 w 4274973"/>
                <a:gd name="connsiteY211" fmla="*/ 2494612 h 2556319"/>
                <a:gd name="connsiteX212" fmla="*/ 726017 w 4274973"/>
                <a:gd name="connsiteY212" fmla="*/ 2534473 h 2556319"/>
                <a:gd name="connsiteX213" fmla="*/ 711042 w 4274973"/>
                <a:gd name="connsiteY213" fmla="*/ 2547945 h 2556319"/>
                <a:gd name="connsiteX214" fmla="*/ 706739 w 4274973"/>
                <a:gd name="connsiteY214" fmla="*/ 2556399 h 2556319"/>
                <a:gd name="connsiteX215" fmla="*/ 695638 w 4274973"/>
                <a:gd name="connsiteY215" fmla="*/ 2554136 h 2556319"/>
                <a:gd name="connsiteX216" fmla="*/ 678400 w 4274973"/>
                <a:gd name="connsiteY216" fmla="*/ 2533865 h 2556319"/>
                <a:gd name="connsiteX217" fmla="*/ 671351 w 4274973"/>
                <a:gd name="connsiteY217" fmla="*/ 2532738 h 2556319"/>
                <a:gd name="connsiteX218" fmla="*/ 655580 w 4274973"/>
                <a:gd name="connsiteY218" fmla="*/ 2524946 h 2556319"/>
                <a:gd name="connsiteX219" fmla="*/ 647905 w 4274973"/>
                <a:gd name="connsiteY219" fmla="*/ 2511081 h 2556319"/>
                <a:gd name="connsiteX220" fmla="*/ 624513 w 4274973"/>
                <a:gd name="connsiteY220" fmla="*/ 2503978 h 2556319"/>
                <a:gd name="connsiteX221" fmla="*/ 609305 w 4274973"/>
                <a:gd name="connsiteY221" fmla="*/ 2509319 h 2556319"/>
                <a:gd name="connsiteX222" fmla="*/ 604913 w 4274973"/>
                <a:gd name="connsiteY222" fmla="*/ 2503003 h 2556319"/>
                <a:gd name="connsiteX223" fmla="*/ 570759 w 4274973"/>
                <a:gd name="connsiteY223" fmla="*/ 2486624 h 2556319"/>
                <a:gd name="connsiteX224" fmla="*/ 533832 w 4274973"/>
                <a:gd name="connsiteY224" fmla="*/ 2481060 h 2556319"/>
                <a:gd name="connsiteX225" fmla="*/ 512631 w 4274973"/>
                <a:gd name="connsiteY225" fmla="*/ 2475174 h 2556319"/>
                <a:gd name="connsiteX226" fmla="*/ 509572 w 4274973"/>
                <a:gd name="connsiteY226" fmla="*/ 2479244 h 2556319"/>
                <a:gd name="connsiteX227" fmla="*/ 477592 w 4274973"/>
                <a:gd name="connsiteY227" fmla="*/ 2449956 h 2556319"/>
                <a:gd name="connsiteX228" fmla="*/ 448975 w 4274973"/>
                <a:gd name="connsiteY228" fmla="*/ 2436744 h 2556319"/>
                <a:gd name="connsiteX229" fmla="*/ 427309 w 4274973"/>
                <a:gd name="connsiteY229" fmla="*/ 2415999 h 2556319"/>
                <a:gd name="connsiteX230" fmla="*/ 445567 w 4274973"/>
                <a:gd name="connsiteY230" fmla="*/ 2410310 h 2556319"/>
                <a:gd name="connsiteX231" fmla="*/ 466383 w 4274973"/>
                <a:gd name="connsiteY231" fmla="*/ 2380307 h 2556319"/>
                <a:gd name="connsiteX232" fmla="*/ 452356 w 4274973"/>
                <a:gd name="connsiteY232" fmla="*/ 2365949 h 2556319"/>
                <a:gd name="connsiteX233" fmla="*/ 489319 w 4274973"/>
                <a:gd name="connsiteY233" fmla="*/ 2351037 h 2556319"/>
                <a:gd name="connsiteX234" fmla="*/ 488657 w 4274973"/>
                <a:gd name="connsiteY234" fmla="*/ 2342995 h 2556319"/>
                <a:gd name="connsiteX235" fmla="*/ 466141 w 4274973"/>
                <a:gd name="connsiteY235" fmla="*/ 2348926 h 2556319"/>
                <a:gd name="connsiteX236" fmla="*/ 466929 w 4274973"/>
                <a:gd name="connsiteY236" fmla="*/ 2332538 h 2556319"/>
                <a:gd name="connsiteX237" fmla="*/ 479855 w 4274973"/>
                <a:gd name="connsiteY237" fmla="*/ 2322170 h 2556319"/>
                <a:gd name="connsiteX238" fmla="*/ 504124 w 4274973"/>
                <a:gd name="connsiteY238" fmla="*/ 2319433 h 2556319"/>
                <a:gd name="connsiteX239" fmla="*/ 508069 w 4274973"/>
                <a:gd name="connsiteY239" fmla="*/ 2306953 h 2556319"/>
                <a:gd name="connsiteX240" fmla="*/ 502523 w 4274973"/>
                <a:gd name="connsiteY240" fmla="*/ 2286137 h 2556319"/>
                <a:gd name="connsiteX241" fmla="*/ 512712 w 4274973"/>
                <a:gd name="connsiteY241" fmla="*/ 2266162 h 2556319"/>
                <a:gd name="connsiteX242" fmla="*/ 512417 w 4274973"/>
                <a:gd name="connsiteY242" fmla="*/ 2254864 h 2556319"/>
                <a:gd name="connsiteX243" fmla="*/ 475445 w 4274973"/>
                <a:gd name="connsiteY243" fmla="*/ 2242260 h 2556319"/>
                <a:gd name="connsiteX244" fmla="*/ 460783 w 4274973"/>
                <a:gd name="connsiteY244" fmla="*/ 2242680 h 2556319"/>
                <a:gd name="connsiteX245" fmla="*/ 445307 w 4274973"/>
                <a:gd name="connsiteY245" fmla="*/ 2224404 h 2556319"/>
                <a:gd name="connsiteX246" fmla="*/ 426066 w 4274973"/>
                <a:gd name="connsiteY246" fmla="*/ 2230604 h 2556319"/>
                <a:gd name="connsiteX247" fmla="*/ 394210 w 4274973"/>
                <a:gd name="connsiteY247" fmla="*/ 2216810 h 2556319"/>
                <a:gd name="connsiteX248" fmla="*/ 394756 w 4274973"/>
                <a:gd name="connsiteY248" fmla="*/ 2209045 h 2556319"/>
                <a:gd name="connsiteX249" fmla="*/ 385838 w 4274973"/>
                <a:gd name="connsiteY249" fmla="*/ 2191816 h 2556319"/>
                <a:gd name="connsiteX250" fmla="*/ 365835 w 4274973"/>
                <a:gd name="connsiteY250" fmla="*/ 2189884 h 2556319"/>
                <a:gd name="connsiteX251" fmla="*/ 363760 w 4274973"/>
                <a:gd name="connsiteY251" fmla="*/ 2177432 h 2556319"/>
                <a:gd name="connsiteX252" fmla="*/ 370022 w 4274973"/>
                <a:gd name="connsiteY252" fmla="*/ 2169264 h 2556319"/>
                <a:gd name="connsiteX253" fmla="*/ 353992 w 4274973"/>
                <a:gd name="connsiteY253" fmla="*/ 2146230 h 2556319"/>
                <a:gd name="connsiteX254" fmla="*/ 327987 w 4274973"/>
                <a:gd name="connsiteY254" fmla="*/ 2150184 h 2556319"/>
                <a:gd name="connsiteX255" fmla="*/ 320366 w 4274973"/>
                <a:gd name="connsiteY255" fmla="*/ 2148135 h 2556319"/>
                <a:gd name="connsiteX256" fmla="*/ 314032 w 4274973"/>
                <a:gd name="connsiteY256" fmla="*/ 2157412 h 2556319"/>
                <a:gd name="connsiteX257" fmla="*/ 304666 w 4274973"/>
                <a:gd name="connsiteY257" fmla="*/ 2155766 h 2556319"/>
                <a:gd name="connsiteX258" fmla="*/ 298503 w 4274973"/>
                <a:gd name="connsiteY258" fmla="*/ 2129493 h 2556319"/>
                <a:gd name="connsiteX259" fmla="*/ 292616 w 4274973"/>
                <a:gd name="connsiteY259" fmla="*/ 2115717 h 2556319"/>
                <a:gd name="connsiteX260" fmla="*/ 297447 w 4274973"/>
                <a:gd name="connsiteY260" fmla="*/ 2111825 h 2556319"/>
                <a:gd name="connsiteX261" fmla="*/ 317682 w 4274973"/>
                <a:gd name="connsiteY261" fmla="*/ 2113274 h 2556319"/>
                <a:gd name="connsiteX262" fmla="*/ 327441 w 4274973"/>
                <a:gd name="connsiteY262" fmla="*/ 2104132 h 2556319"/>
                <a:gd name="connsiteX263" fmla="*/ 320214 w 4274973"/>
                <a:gd name="connsiteY263" fmla="*/ 2092923 h 2556319"/>
                <a:gd name="connsiteX264" fmla="*/ 303298 w 4274973"/>
                <a:gd name="connsiteY264" fmla="*/ 2085481 h 2556319"/>
                <a:gd name="connsiteX265" fmla="*/ 304810 w 4274973"/>
                <a:gd name="connsiteY265" fmla="*/ 2077815 h 2556319"/>
                <a:gd name="connsiteX266" fmla="*/ 294603 w 4274973"/>
                <a:gd name="connsiteY266" fmla="*/ 2070032 h 2556319"/>
                <a:gd name="connsiteX267" fmla="*/ 278877 w 4274973"/>
                <a:gd name="connsiteY267" fmla="*/ 2041827 h 2556319"/>
                <a:gd name="connsiteX268" fmla="*/ 284252 w 4274973"/>
                <a:gd name="connsiteY268" fmla="*/ 2030072 h 2556319"/>
                <a:gd name="connsiteX269" fmla="*/ 281802 w 4274973"/>
                <a:gd name="connsiteY269" fmla="*/ 2009426 h 2556319"/>
                <a:gd name="connsiteX270" fmla="*/ 257282 w 4274973"/>
                <a:gd name="connsiteY270" fmla="*/ 1998844 h 2556319"/>
                <a:gd name="connsiteX271" fmla="*/ 244123 w 4274973"/>
                <a:gd name="connsiteY271" fmla="*/ 2004148 h 2556319"/>
                <a:gd name="connsiteX272" fmla="*/ 240563 w 4274973"/>
                <a:gd name="connsiteY272" fmla="*/ 1993092 h 2556319"/>
                <a:gd name="connsiteX273" fmla="*/ 214156 w 4274973"/>
                <a:gd name="connsiteY273" fmla="*/ 1981856 h 2556319"/>
                <a:gd name="connsiteX274" fmla="*/ 206096 w 4274973"/>
                <a:gd name="connsiteY274" fmla="*/ 1955118 h 2556319"/>
                <a:gd name="connsiteX275" fmla="*/ 203958 w 4274973"/>
                <a:gd name="connsiteY275" fmla="*/ 1932826 h 2556319"/>
                <a:gd name="connsiteX276" fmla="*/ 191873 w 4274973"/>
                <a:gd name="connsiteY276" fmla="*/ 1922145 h 2556319"/>
                <a:gd name="connsiteX277" fmla="*/ 202616 w 4274973"/>
                <a:gd name="connsiteY277" fmla="*/ 1907304 h 2556319"/>
                <a:gd name="connsiteX278" fmla="*/ 195173 w 4274973"/>
                <a:gd name="connsiteY278" fmla="*/ 1862917 h 2556319"/>
                <a:gd name="connsiteX279" fmla="*/ 213020 w 4274973"/>
                <a:gd name="connsiteY279" fmla="*/ 1834891 h 2556319"/>
                <a:gd name="connsiteX280" fmla="*/ 209244 w 4274973"/>
                <a:gd name="connsiteY280" fmla="*/ 1826312 h 2556319"/>
                <a:gd name="connsiteX281" fmla="*/ 237754 w 4274973"/>
                <a:gd name="connsiteY281" fmla="*/ 1798840 h 2556319"/>
                <a:gd name="connsiteX282" fmla="*/ 211472 w 4274973"/>
                <a:gd name="connsiteY282" fmla="*/ 1774831 h 2556319"/>
                <a:gd name="connsiteX283" fmla="*/ 265172 w 4274973"/>
                <a:gd name="connsiteY283" fmla="*/ 1708589 h 2556319"/>
                <a:gd name="connsiteX284" fmla="*/ 288466 w 4274973"/>
                <a:gd name="connsiteY284" fmla="*/ 1677700 h 2556319"/>
                <a:gd name="connsiteX285" fmla="*/ 297903 w 4274973"/>
                <a:gd name="connsiteY285" fmla="*/ 1649933 h 2556319"/>
                <a:gd name="connsiteX286" fmla="*/ 260780 w 4274973"/>
                <a:gd name="connsiteY286" fmla="*/ 1611861 h 2556319"/>
                <a:gd name="connsiteX287" fmla="*/ 271031 w 4274973"/>
                <a:gd name="connsiteY287" fmla="*/ 1574782 h 2556319"/>
                <a:gd name="connsiteX288" fmla="*/ 248453 w 4274973"/>
                <a:gd name="connsiteY288" fmla="*/ 1531361 h 2556319"/>
                <a:gd name="connsiteX289" fmla="*/ 265342 w 4274973"/>
                <a:gd name="connsiteY289" fmla="*/ 1479799 h 2556319"/>
                <a:gd name="connsiteX290" fmla="*/ 236170 w 4274973"/>
                <a:gd name="connsiteY290" fmla="*/ 1408620 h 2556319"/>
                <a:gd name="connsiteX291" fmla="*/ 259313 w 4274973"/>
                <a:gd name="connsiteY291" fmla="*/ 1359616 h 2556319"/>
                <a:gd name="connsiteX292" fmla="*/ 220901 w 4274973"/>
                <a:gd name="connsiteY292" fmla="*/ 1314978 h 2556319"/>
                <a:gd name="connsiteX293" fmla="*/ 224559 w 4274973"/>
                <a:gd name="connsiteY293" fmla="*/ 1266637 h 2556319"/>
                <a:gd name="connsiteX294" fmla="*/ 244821 w 4274973"/>
                <a:gd name="connsiteY294" fmla="*/ 1260160 h 2556319"/>
                <a:gd name="connsiteX295" fmla="*/ 287500 w 4274973"/>
                <a:gd name="connsiteY295" fmla="*/ 1231642 h 2556319"/>
                <a:gd name="connsiteX296" fmla="*/ 313379 w 4274973"/>
                <a:gd name="connsiteY296" fmla="*/ 1206478 h 2556319"/>
                <a:gd name="connsiteX297" fmla="*/ 354582 w 4274973"/>
                <a:gd name="connsiteY297" fmla="*/ 1249953 h 2556319"/>
                <a:gd name="connsiteX298" fmla="*/ 423266 w 4274973"/>
                <a:gd name="connsiteY298" fmla="*/ 1266735 h 2556319"/>
                <a:gd name="connsiteX299" fmla="*/ 518034 w 4274973"/>
                <a:gd name="connsiteY299" fmla="*/ 1344078 h 2556319"/>
                <a:gd name="connsiteX300" fmla="*/ 537285 w 4274973"/>
                <a:gd name="connsiteY300" fmla="*/ 1375459 h 2556319"/>
                <a:gd name="connsiteX301" fmla="*/ 538940 w 4274973"/>
                <a:gd name="connsiteY301" fmla="*/ 1418361 h 2556319"/>
                <a:gd name="connsiteX302" fmla="*/ 511093 w 4274973"/>
                <a:gd name="connsiteY302" fmla="*/ 1451415 h 2556319"/>
                <a:gd name="connsiteX303" fmla="*/ 470140 w 4274973"/>
                <a:gd name="connsiteY303" fmla="*/ 1467928 h 2556319"/>
                <a:gd name="connsiteX304" fmla="*/ 358169 w 4274973"/>
                <a:gd name="connsiteY304" fmla="*/ 1420401 h 2556319"/>
                <a:gd name="connsiteX305" fmla="*/ 339751 w 4274973"/>
                <a:gd name="connsiteY305" fmla="*/ 1428452 h 2556319"/>
                <a:gd name="connsiteX306" fmla="*/ 380640 w 4274973"/>
                <a:gd name="connsiteY306" fmla="*/ 1474047 h 2556319"/>
                <a:gd name="connsiteX307" fmla="*/ 382242 w 4274973"/>
                <a:gd name="connsiteY307" fmla="*/ 1502261 h 2556319"/>
                <a:gd name="connsiteX308" fmla="*/ 383879 w 4274973"/>
                <a:gd name="connsiteY308" fmla="*/ 1562670 h 2556319"/>
                <a:gd name="connsiteX309" fmla="*/ 416172 w 4274973"/>
                <a:gd name="connsiteY309" fmla="*/ 1580257 h 2556319"/>
                <a:gd name="connsiteX310" fmla="*/ 435772 w 4274973"/>
                <a:gd name="connsiteY310" fmla="*/ 1595080 h 2556319"/>
                <a:gd name="connsiteX311" fmla="*/ 439010 w 4274973"/>
                <a:gd name="connsiteY311" fmla="*/ 1567286 h 2556319"/>
                <a:gd name="connsiteX312" fmla="*/ 423901 w 4274973"/>
                <a:gd name="connsiteY312" fmla="*/ 1542230 h 2556319"/>
                <a:gd name="connsiteX313" fmla="*/ 439868 w 4274973"/>
                <a:gd name="connsiteY313" fmla="*/ 1519821 h 2556319"/>
                <a:gd name="connsiteX314" fmla="*/ 500501 w 4274973"/>
                <a:gd name="connsiteY314" fmla="*/ 1556489 h 2556319"/>
                <a:gd name="connsiteX315" fmla="*/ 521622 w 4274973"/>
                <a:gd name="connsiteY315" fmla="*/ 1542239 h 2556319"/>
                <a:gd name="connsiteX316" fmla="*/ 504741 w 4274973"/>
                <a:gd name="connsiteY316" fmla="*/ 1498611 h 2556319"/>
                <a:gd name="connsiteX317" fmla="*/ 563200 w 4274973"/>
                <a:gd name="connsiteY317" fmla="*/ 1438301 h 2556319"/>
                <a:gd name="connsiteX318" fmla="*/ 586351 w 4274973"/>
                <a:gd name="connsiteY318" fmla="*/ 1441915 h 2556319"/>
                <a:gd name="connsiteX319" fmla="*/ 609771 w 4274973"/>
                <a:gd name="connsiteY319" fmla="*/ 1463652 h 2556319"/>
                <a:gd name="connsiteX320" fmla="*/ 624379 w 4274973"/>
                <a:gd name="connsiteY320" fmla="*/ 1420616 h 2556319"/>
                <a:gd name="connsiteX321" fmla="*/ 603464 w 4274973"/>
                <a:gd name="connsiteY321" fmla="*/ 1382302 h 2556319"/>
                <a:gd name="connsiteX322" fmla="*/ 615746 w 4274973"/>
                <a:gd name="connsiteY322" fmla="*/ 1342888 h 2556319"/>
                <a:gd name="connsiteX323" fmla="*/ 597309 w 4274973"/>
                <a:gd name="connsiteY323" fmla="*/ 1300916 h 2556319"/>
                <a:gd name="connsiteX324" fmla="*/ 667469 w 4274973"/>
                <a:gd name="connsiteY324" fmla="*/ 1322761 h 2556319"/>
                <a:gd name="connsiteX325" fmla="*/ 681800 w 4274973"/>
                <a:gd name="connsiteY325" fmla="*/ 1360180 h 2556319"/>
                <a:gd name="connsiteX326" fmla="*/ 650043 w 4274973"/>
                <a:gd name="connsiteY326" fmla="*/ 1368302 h 2556319"/>
                <a:gd name="connsiteX327" fmla="*/ 650213 w 4274973"/>
                <a:gd name="connsiteY327" fmla="*/ 1404424 h 2556319"/>
                <a:gd name="connsiteX328" fmla="*/ 669956 w 4274973"/>
                <a:gd name="connsiteY328" fmla="*/ 1426233 h 2556319"/>
                <a:gd name="connsiteX329" fmla="*/ 708708 w 4274973"/>
                <a:gd name="connsiteY329" fmla="*/ 1412448 h 2556319"/>
                <a:gd name="connsiteX330" fmla="*/ 714844 w 4274973"/>
                <a:gd name="connsiteY330" fmla="*/ 1371201 h 2556319"/>
                <a:gd name="connsiteX331" fmla="*/ 767238 w 4274973"/>
                <a:gd name="connsiteY331" fmla="*/ 1339668 h 2556319"/>
                <a:gd name="connsiteX332" fmla="*/ 854770 w 4274973"/>
                <a:gd name="connsiteY332" fmla="*/ 1281137 h 2556319"/>
                <a:gd name="connsiteX333" fmla="*/ 873680 w 4274973"/>
                <a:gd name="connsiteY333" fmla="*/ 1284554 h 2556319"/>
                <a:gd name="connsiteX334" fmla="*/ 848955 w 4274973"/>
                <a:gd name="connsiteY334" fmla="*/ 1326062 h 2556319"/>
                <a:gd name="connsiteX335" fmla="*/ 880068 w 4274973"/>
                <a:gd name="connsiteY335" fmla="*/ 1333084 h 2556319"/>
                <a:gd name="connsiteX336" fmla="*/ 898039 w 4274973"/>
                <a:gd name="connsiteY336" fmla="*/ 1309969 h 2556319"/>
                <a:gd name="connsiteX337" fmla="*/ 945048 w 4274973"/>
                <a:gd name="connsiteY337" fmla="*/ 1308081 h 2556319"/>
                <a:gd name="connsiteX338" fmla="*/ 982297 w 4274973"/>
                <a:gd name="connsiteY338" fmla="*/ 1279518 h 2556319"/>
                <a:gd name="connsiteX339" fmla="*/ 1010878 w 4274973"/>
                <a:gd name="connsiteY339" fmla="*/ 1320855 h 2556319"/>
                <a:gd name="connsiteX340" fmla="*/ 1039378 w 4274973"/>
                <a:gd name="connsiteY340" fmla="*/ 1275350 h 2556319"/>
                <a:gd name="connsiteX341" fmla="*/ 1013096 w 4274973"/>
                <a:gd name="connsiteY341" fmla="*/ 1234406 h 2556319"/>
                <a:gd name="connsiteX342" fmla="*/ 1026139 w 4274973"/>
                <a:gd name="connsiteY342" fmla="*/ 1210584 h 2556319"/>
                <a:gd name="connsiteX343" fmla="*/ 1100225 w 4274973"/>
                <a:gd name="connsiteY343" fmla="*/ 1232438 h 2556319"/>
                <a:gd name="connsiteX344" fmla="*/ 1134943 w 4274973"/>
                <a:gd name="connsiteY344" fmla="*/ 1254694 h 2556319"/>
                <a:gd name="connsiteX345" fmla="*/ 1225838 w 4274973"/>
                <a:gd name="connsiteY345" fmla="*/ 1333406 h 2556319"/>
                <a:gd name="connsiteX346" fmla="*/ 1242611 w 4274973"/>
                <a:gd name="connsiteY346" fmla="*/ 1297848 h 2556319"/>
                <a:gd name="connsiteX347" fmla="*/ 1217116 w 4274973"/>
                <a:gd name="connsiteY347" fmla="*/ 1261073 h 2556319"/>
                <a:gd name="connsiteX348" fmla="*/ 1216383 w 4274973"/>
                <a:gd name="connsiteY348" fmla="*/ 1246071 h 2556319"/>
                <a:gd name="connsiteX349" fmla="*/ 1186156 w 4274973"/>
                <a:gd name="connsiteY349" fmla="*/ 1239076 h 2556319"/>
                <a:gd name="connsiteX350" fmla="*/ 1194430 w 4274973"/>
                <a:gd name="connsiteY350" fmla="*/ 1204841 h 2556319"/>
                <a:gd name="connsiteX351" fmla="*/ 1181012 w 4274973"/>
                <a:gd name="connsiteY351" fmla="*/ 1146776 h 2556319"/>
                <a:gd name="connsiteX352" fmla="*/ 1180252 w 4274973"/>
                <a:gd name="connsiteY352" fmla="*/ 1122292 h 2556319"/>
                <a:gd name="connsiteX353" fmla="*/ 1226545 w 4274973"/>
                <a:gd name="connsiteY353" fmla="*/ 1050818 h 2556319"/>
                <a:gd name="connsiteX354" fmla="*/ 1243004 w 4274973"/>
                <a:gd name="connsiteY354" fmla="*/ 975505 h 2556319"/>
                <a:gd name="connsiteX355" fmla="*/ 1261656 w 4274973"/>
                <a:gd name="connsiteY355" fmla="*/ 958706 h 2556319"/>
                <a:gd name="connsiteX356" fmla="*/ 1328058 w 4274973"/>
                <a:gd name="connsiteY356" fmla="*/ 981195 h 2556319"/>
                <a:gd name="connsiteX357" fmla="*/ 1333291 w 4274973"/>
                <a:gd name="connsiteY357" fmla="*/ 1027559 h 2556319"/>
                <a:gd name="connsiteX358" fmla="*/ 1309514 w 4274973"/>
                <a:gd name="connsiteY358" fmla="*/ 1092709 h 2556319"/>
                <a:gd name="connsiteX359" fmla="*/ 1325115 w 4274973"/>
                <a:gd name="connsiteY359" fmla="*/ 1117569 h 2556319"/>
                <a:gd name="connsiteX360" fmla="*/ 1333184 w 4274973"/>
                <a:gd name="connsiteY360" fmla="*/ 1170687 h 2556319"/>
                <a:gd name="connsiteX361" fmla="*/ 1327486 w 4274973"/>
                <a:gd name="connsiteY361" fmla="*/ 1269741 h 2556319"/>
                <a:gd name="connsiteX362" fmla="*/ 1355154 w 4274973"/>
                <a:gd name="connsiteY362" fmla="*/ 1312053 h 2556319"/>
                <a:gd name="connsiteX363" fmla="*/ 1344393 w 4274973"/>
                <a:gd name="connsiteY363" fmla="*/ 1356852 h 2556319"/>
                <a:gd name="connsiteX364" fmla="*/ 1295264 w 4274973"/>
                <a:gd name="connsiteY364" fmla="*/ 1448078 h 2556319"/>
                <a:gd name="connsiteX365" fmla="*/ 1323934 w 4274973"/>
                <a:gd name="connsiteY365" fmla="*/ 1457238 h 2556319"/>
                <a:gd name="connsiteX366" fmla="*/ 1333909 w 4274973"/>
                <a:gd name="connsiteY366" fmla="*/ 1434749 h 2556319"/>
                <a:gd name="connsiteX367" fmla="*/ 1361505 w 4274973"/>
                <a:gd name="connsiteY367" fmla="*/ 1418513 h 2556319"/>
                <a:gd name="connsiteX368" fmla="*/ 1368161 w 4274973"/>
                <a:gd name="connsiteY368" fmla="*/ 1386730 h 2556319"/>
                <a:gd name="connsiteX369" fmla="*/ 1389872 w 4274973"/>
                <a:gd name="connsiteY369" fmla="*/ 1355519 h 2556319"/>
                <a:gd name="connsiteX370" fmla="*/ 1375254 w 4274973"/>
                <a:gd name="connsiteY370" fmla="*/ 1317411 h 2556319"/>
                <a:gd name="connsiteX371" fmla="*/ 1386964 w 4274973"/>
                <a:gd name="connsiteY371" fmla="*/ 1271941 h 2556319"/>
                <a:gd name="connsiteX372" fmla="*/ 1359538 w 4274973"/>
                <a:gd name="connsiteY372" fmla="*/ 1266180 h 2556319"/>
                <a:gd name="connsiteX373" fmla="*/ 1353508 w 4274973"/>
                <a:gd name="connsiteY373" fmla="*/ 1226659 h 2556319"/>
                <a:gd name="connsiteX374" fmla="*/ 1373519 w 4274973"/>
                <a:gd name="connsiteY374" fmla="*/ 1152608 h 2556319"/>
                <a:gd name="connsiteX375" fmla="*/ 1340940 w 4274973"/>
                <a:gd name="connsiteY375" fmla="*/ 1089695 h 2556319"/>
                <a:gd name="connsiteX376" fmla="*/ 1385828 w 4274973"/>
                <a:gd name="connsiteY376" fmla="*/ 1035646 h 2556319"/>
                <a:gd name="connsiteX377" fmla="*/ 1380031 w 4274973"/>
                <a:gd name="connsiteY377" fmla="*/ 976436 h 2556319"/>
                <a:gd name="connsiteX378" fmla="*/ 1392537 w 4274973"/>
                <a:gd name="connsiteY378" fmla="*/ 974503 h 2556319"/>
                <a:gd name="connsiteX379" fmla="*/ 1405714 w 4274973"/>
                <a:gd name="connsiteY379" fmla="*/ 1020922 h 2556319"/>
                <a:gd name="connsiteX380" fmla="*/ 1395830 w 4274973"/>
                <a:gd name="connsiteY380" fmla="*/ 1098452 h 2556319"/>
                <a:gd name="connsiteX381" fmla="*/ 1422666 w 4274973"/>
                <a:gd name="connsiteY381" fmla="*/ 1112694 h 2556319"/>
                <a:gd name="connsiteX382" fmla="*/ 1411234 w 4274973"/>
                <a:gd name="connsiteY382" fmla="*/ 1055684 h 2556319"/>
                <a:gd name="connsiteX383" fmla="*/ 1453206 w 4274973"/>
                <a:gd name="connsiteY383" fmla="*/ 1023668 h 2556319"/>
                <a:gd name="connsiteX384" fmla="*/ 1505260 w 4274973"/>
                <a:gd name="connsiteY384" fmla="*/ 1019303 h 2556319"/>
                <a:gd name="connsiteX385" fmla="*/ 1551607 w 4274973"/>
                <a:gd name="connsiteY385" fmla="*/ 1065640 h 2556319"/>
                <a:gd name="connsiteX386" fmla="*/ 1529305 w 4274973"/>
                <a:gd name="connsiteY386" fmla="*/ 997458 h 2556319"/>
                <a:gd name="connsiteX387" fmla="*/ 1526809 w 4274973"/>
                <a:gd name="connsiteY387" fmla="*/ 905480 h 2556319"/>
                <a:gd name="connsiteX388" fmla="*/ 1570427 w 4274973"/>
                <a:gd name="connsiteY388" fmla="*/ 887401 h 2556319"/>
                <a:gd name="connsiteX389" fmla="*/ 1630756 w 4274973"/>
                <a:gd name="connsiteY389" fmla="*/ 891373 h 2556319"/>
                <a:gd name="connsiteX390" fmla="*/ 1685100 w 4274973"/>
                <a:gd name="connsiteY390" fmla="*/ 879556 h 2556319"/>
                <a:gd name="connsiteX391" fmla="*/ 1664722 w 4274973"/>
                <a:gd name="connsiteY391" fmla="*/ 831420 h 2556319"/>
                <a:gd name="connsiteX392" fmla="*/ 1693750 w 4274973"/>
                <a:gd name="connsiteY392" fmla="*/ 768659 h 2556319"/>
                <a:gd name="connsiteX393" fmla="*/ 1722564 w 4274973"/>
                <a:gd name="connsiteY393" fmla="*/ 765975 h 2556319"/>
                <a:gd name="connsiteX394" fmla="*/ 1771335 w 4274973"/>
                <a:gd name="connsiteY394" fmla="*/ 716658 h 2556319"/>
                <a:gd name="connsiteX395" fmla="*/ 1837558 w 4274973"/>
                <a:gd name="connsiteY395" fmla="*/ 703115 h 2556319"/>
                <a:gd name="connsiteX396" fmla="*/ 1845931 w 4274973"/>
                <a:gd name="connsiteY396" fmla="*/ 674910 h 2556319"/>
                <a:gd name="connsiteX397" fmla="*/ 1911788 w 4274973"/>
                <a:gd name="connsiteY397" fmla="*/ 665231 h 2556319"/>
                <a:gd name="connsiteX398" fmla="*/ 1932309 w 4274973"/>
                <a:gd name="connsiteY398" fmla="*/ 688543 h 2556319"/>
                <a:gd name="connsiteX399" fmla="*/ 1988603 w 4274973"/>
                <a:gd name="connsiteY399" fmla="*/ 632750 h 2556319"/>
                <a:gd name="connsiteX400" fmla="*/ 2034681 w 4274973"/>
                <a:gd name="connsiteY400" fmla="*/ 634530 h 2556319"/>
                <a:gd name="connsiteX401" fmla="*/ 2041587 w 4274973"/>
                <a:gd name="connsiteY401" fmla="*/ 587673 h 2556319"/>
                <a:gd name="connsiteX402" fmla="*/ 2065561 w 4274973"/>
                <a:gd name="connsiteY402" fmla="*/ 539958 h 2556319"/>
                <a:gd name="connsiteX403" fmla="*/ 2124772 w 4274973"/>
                <a:gd name="connsiteY403" fmla="*/ 492439 h 2556319"/>
                <a:gd name="connsiteX404" fmla="*/ 2167790 w 4274973"/>
                <a:gd name="connsiteY404" fmla="*/ 530082 h 2556319"/>
                <a:gd name="connsiteX405" fmla="*/ 2133636 w 4274973"/>
                <a:gd name="connsiteY405" fmla="*/ 558090 h 2556319"/>
                <a:gd name="connsiteX406" fmla="*/ 2190458 w 4274973"/>
                <a:gd name="connsiteY406" fmla="*/ 575239 h 2556319"/>
                <a:gd name="connsiteX407" fmla="*/ 2197230 w 4274973"/>
                <a:gd name="connsiteY407" fmla="*/ 629216 h 2556319"/>
                <a:gd name="connsiteX408" fmla="*/ 2220148 w 4274973"/>
                <a:gd name="connsiteY408" fmla="*/ 602890 h 2556319"/>
                <a:gd name="connsiteX409" fmla="*/ 2293474 w 4274973"/>
                <a:gd name="connsiteY409" fmla="*/ 604348 h 2556319"/>
                <a:gd name="connsiteX410" fmla="*/ 2350010 w 4274973"/>
                <a:gd name="connsiteY410" fmla="*/ 656616 h 2556319"/>
                <a:gd name="connsiteX411" fmla="*/ 2370146 w 4274973"/>
                <a:gd name="connsiteY411" fmla="*/ 695538 h 2556319"/>
                <a:gd name="connsiteX412" fmla="*/ 2363903 w 4274973"/>
                <a:gd name="connsiteY412" fmla="*/ 747905 h 2556319"/>
                <a:gd name="connsiteX413" fmla="*/ 2336153 w 4274973"/>
                <a:gd name="connsiteY413" fmla="*/ 776906 h 2556319"/>
                <a:gd name="connsiteX414" fmla="*/ 2270243 w 4274973"/>
                <a:gd name="connsiteY414" fmla="*/ 829837 h 2556319"/>
                <a:gd name="connsiteX415" fmla="*/ 2251404 w 4274973"/>
                <a:gd name="connsiteY415" fmla="*/ 857380 h 2556319"/>
                <a:gd name="connsiteX416" fmla="*/ 2282507 w 4274973"/>
                <a:gd name="connsiteY416" fmla="*/ 870199 h 2556319"/>
                <a:gd name="connsiteX417" fmla="*/ 2319613 w 4274973"/>
                <a:gd name="connsiteY417" fmla="*/ 893028 h 2556319"/>
                <a:gd name="connsiteX418" fmla="*/ 2342183 w 4274973"/>
                <a:gd name="connsiteY418" fmla="*/ 875942 h 2556319"/>
                <a:gd name="connsiteX419" fmla="*/ 2354984 w 4274973"/>
                <a:gd name="connsiteY419" fmla="*/ 933130 h 2556319"/>
                <a:gd name="connsiteX420" fmla="*/ 2365996 w 4274973"/>
                <a:gd name="connsiteY420" fmla="*/ 910239 h 2556319"/>
                <a:gd name="connsiteX421" fmla="*/ 2406098 w 4274973"/>
                <a:gd name="connsiteY421" fmla="*/ 896150 h 2556319"/>
                <a:gd name="connsiteX422" fmla="*/ 2486572 w 4274973"/>
                <a:gd name="connsiteY422" fmla="*/ 910874 h 2556319"/>
                <a:gd name="connsiteX423" fmla="*/ 2492691 w 4274973"/>
                <a:gd name="connsiteY423" fmla="*/ 951809 h 2556319"/>
                <a:gd name="connsiteX424" fmla="*/ 2597550 w 4274973"/>
                <a:gd name="connsiteY424" fmla="*/ 964601 h 2556319"/>
                <a:gd name="connsiteX425" fmla="*/ 2598981 w 4274973"/>
                <a:gd name="connsiteY425" fmla="*/ 897751 h 2556319"/>
                <a:gd name="connsiteX426" fmla="*/ 2652207 w 4274973"/>
                <a:gd name="connsiteY426" fmla="*/ 913334 h 2556319"/>
                <a:gd name="connsiteX427" fmla="*/ 2692256 w 4274973"/>
                <a:gd name="connsiteY427" fmla="*/ 912851 h 2556319"/>
                <a:gd name="connsiteX428" fmla="*/ 2732752 w 4274973"/>
                <a:gd name="connsiteY428" fmla="*/ 958813 h 2556319"/>
                <a:gd name="connsiteX429" fmla="*/ 2744301 w 4274973"/>
                <a:gd name="connsiteY429" fmla="*/ 1012826 h 2556319"/>
                <a:gd name="connsiteX430" fmla="*/ 2729460 w 4274973"/>
                <a:gd name="connsiteY430" fmla="*/ 1047141 h 2556319"/>
                <a:gd name="connsiteX431" fmla="*/ 2760957 w 4274973"/>
                <a:gd name="connsiteY431" fmla="*/ 1109598 h 2556319"/>
                <a:gd name="connsiteX432" fmla="*/ 2800407 w 4274973"/>
                <a:gd name="connsiteY432" fmla="*/ 1140845 h 2556319"/>
                <a:gd name="connsiteX433" fmla="*/ 2824604 w 4274973"/>
                <a:gd name="connsiteY433" fmla="*/ 1058743 h 2556319"/>
                <a:gd name="connsiteX434" fmla="*/ 2864841 w 4274973"/>
                <a:gd name="connsiteY434" fmla="*/ 1094490 h 2556319"/>
                <a:gd name="connsiteX435" fmla="*/ 2907583 w 4274973"/>
                <a:gd name="connsiteY435" fmla="*/ 1073235 h 2556319"/>
                <a:gd name="connsiteX436" fmla="*/ 2956130 w 4274973"/>
                <a:gd name="connsiteY436" fmla="*/ 1097531 h 2556319"/>
                <a:gd name="connsiteX437" fmla="*/ 2974603 w 4274973"/>
                <a:gd name="connsiteY437" fmla="*/ 1075391 h 2556319"/>
                <a:gd name="connsiteX438" fmla="*/ 3015635 w 4274973"/>
                <a:gd name="connsiteY438" fmla="*/ 1086501 h 2556319"/>
                <a:gd name="connsiteX439" fmla="*/ 2997530 w 4274973"/>
                <a:gd name="connsiteY439" fmla="*/ 1011377 h 2556319"/>
                <a:gd name="connsiteX440" fmla="*/ 3030646 w 4274973"/>
                <a:gd name="connsiteY440" fmla="*/ 974996 h 2556319"/>
                <a:gd name="connsiteX441" fmla="*/ 3257173 w 4274973"/>
                <a:gd name="connsiteY441" fmla="*/ 1029214 h 2556319"/>
                <a:gd name="connsiteX442" fmla="*/ 3278526 w 4274973"/>
                <a:gd name="connsiteY442" fmla="*/ 1077117 h 2556319"/>
                <a:gd name="connsiteX443" fmla="*/ 3344186 w 4274973"/>
                <a:gd name="connsiteY443" fmla="*/ 1136632 h 2556319"/>
                <a:gd name="connsiteX444" fmla="*/ 3445467 w 4274973"/>
                <a:gd name="connsiteY444" fmla="*/ 1122113 h 2556319"/>
                <a:gd name="connsiteX445" fmla="*/ 3495401 w 4274973"/>
                <a:gd name="connsiteY445" fmla="*/ 1134762 h 2556319"/>
                <a:gd name="connsiteX446" fmla="*/ 3516279 w 4274973"/>
                <a:gd name="connsiteY446" fmla="*/ 1166054 h 2556319"/>
                <a:gd name="connsiteX447" fmla="*/ 3513229 w 4274973"/>
                <a:gd name="connsiteY447" fmla="*/ 1219870 h 2556319"/>
                <a:gd name="connsiteX448" fmla="*/ 3544127 w 4274973"/>
                <a:gd name="connsiteY448" fmla="*/ 1240319 h 2556319"/>
                <a:gd name="connsiteX449" fmla="*/ 3577699 w 4274973"/>
                <a:gd name="connsiteY449" fmla="*/ 1225639 h 2556319"/>
                <a:gd name="connsiteX450" fmla="*/ 3622185 w 4274973"/>
                <a:gd name="connsiteY450" fmla="*/ 1223752 h 2556319"/>
                <a:gd name="connsiteX451" fmla="*/ 3669534 w 4274973"/>
                <a:gd name="connsiteY451" fmla="*/ 1237841 h 2556319"/>
                <a:gd name="connsiteX452" fmla="*/ 3717070 w 4274973"/>
                <a:gd name="connsiteY452" fmla="*/ 1229906 h 2556319"/>
                <a:gd name="connsiteX453" fmla="*/ 3760760 w 4274973"/>
                <a:gd name="connsiteY453" fmla="*/ 1292471 h 2556319"/>
                <a:gd name="connsiteX454" fmla="*/ 3791845 w 4274973"/>
                <a:gd name="connsiteY454" fmla="*/ 1270260 h 2556319"/>
                <a:gd name="connsiteX455" fmla="*/ 3771557 w 4274973"/>
                <a:gd name="connsiteY455" fmla="*/ 1224870 h 2556319"/>
                <a:gd name="connsiteX456" fmla="*/ 3782730 w 4274973"/>
                <a:gd name="connsiteY456" fmla="*/ 1192505 h 2556319"/>
                <a:gd name="connsiteX457" fmla="*/ 3862748 w 4274973"/>
                <a:gd name="connsiteY457" fmla="*/ 1212955 h 2556319"/>
                <a:gd name="connsiteX458" fmla="*/ 3914917 w 4274973"/>
                <a:gd name="connsiteY458" fmla="*/ 1208607 h 2556319"/>
                <a:gd name="connsiteX459" fmla="*/ 3987054 w 4274973"/>
                <a:gd name="connsiteY459" fmla="*/ 1242985 h 2556319"/>
                <a:gd name="connsiteX460" fmla="*/ 4022165 w 4274973"/>
                <a:gd name="connsiteY460" fmla="*/ 1273757 h 2556319"/>
                <a:gd name="connsiteX461" fmla="*/ 4083612 w 4274973"/>
                <a:gd name="connsiteY461" fmla="*/ 1326160 h 2556319"/>
                <a:gd name="connsiteX462" fmla="*/ 4149379 w 4274973"/>
                <a:gd name="connsiteY462" fmla="*/ 1391829 h 2556319"/>
                <a:gd name="connsiteX463" fmla="*/ 4147224 w 4274973"/>
                <a:gd name="connsiteY463" fmla="*/ 1431520 h 2556319"/>
                <a:gd name="connsiteX464" fmla="*/ 4164139 w 4274973"/>
                <a:gd name="connsiteY464" fmla="*/ 1447130 h 2556319"/>
                <a:gd name="connsiteX465" fmla="*/ 4158325 w 4274973"/>
                <a:gd name="connsiteY465" fmla="*/ 1401096 h 2556319"/>
                <a:gd name="connsiteX466" fmla="*/ 4226427 w 4274973"/>
                <a:gd name="connsiteY466" fmla="*/ 1410650 h 2556319"/>
                <a:gd name="connsiteX467" fmla="*/ 4275538 w 4274973"/>
                <a:gd name="connsiteY467" fmla="*/ 1469288 h 2556319"/>
                <a:gd name="connsiteX468" fmla="*/ 3135630 w 4274973"/>
                <a:gd name="connsiteY468" fmla="*/ 2278829 h 2556319"/>
                <a:gd name="connsiteX469" fmla="*/ 3110395 w 4274973"/>
                <a:gd name="connsiteY469" fmla="*/ 2210092 h 2556319"/>
                <a:gd name="connsiteX470" fmla="*/ 3100045 w 4274973"/>
                <a:gd name="connsiteY470" fmla="*/ 2169757 h 2556319"/>
                <a:gd name="connsiteX471" fmla="*/ 3100689 w 4274973"/>
                <a:gd name="connsiteY471" fmla="*/ 2129538 h 2556319"/>
                <a:gd name="connsiteX472" fmla="*/ 3092004 w 4274973"/>
                <a:gd name="connsiteY472" fmla="*/ 2089256 h 2556319"/>
                <a:gd name="connsiteX473" fmla="*/ 3085482 w 4274973"/>
                <a:gd name="connsiteY473" fmla="*/ 2061077 h 2556319"/>
                <a:gd name="connsiteX474" fmla="*/ 3074318 w 4274973"/>
                <a:gd name="connsiteY474" fmla="*/ 2067098 h 2556319"/>
                <a:gd name="connsiteX475" fmla="*/ 3084275 w 4274973"/>
                <a:gd name="connsiteY475" fmla="*/ 2086823 h 2556319"/>
                <a:gd name="connsiteX476" fmla="*/ 3061087 w 4274973"/>
                <a:gd name="connsiteY476" fmla="*/ 2106199 h 2556319"/>
                <a:gd name="connsiteX477" fmla="*/ 3058869 w 4274973"/>
                <a:gd name="connsiteY477" fmla="*/ 2162519 h 2556319"/>
                <a:gd name="connsiteX478" fmla="*/ 3073567 w 4274973"/>
                <a:gd name="connsiteY478" fmla="*/ 2201978 h 2556319"/>
                <a:gd name="connsiteX479" fmla="*/ 3072466 w 4274973"/>
                <a:gd name="connsiteY479" fmla="*/ 2254327 h 2556319"/>
                <a:gd name="connsiteX480" fmla="*/ 3066661 w 4274973"/>
                <a:gd name="connsiteY480" fmla="*/ 2283284 h 2556319"/>
                <a:gd name="connsiteX481" fmla="*/ 3069524 w 4274973"/>
                <a:gd name="connsiteY481" fmla="*/ 2323870 h 2556319"/>
                <a:gd name="connsiteX482" fmla="*/ 3066723 w 4274973"/>
                <a:gd name="connsiteY482" fmla="*/ 2359786 h 2556319"/>
                <a:gd name="connsiteX483" fmla="*/ 3071375 w 4274973"/>
                <a:gd name="connsiteY483" fmla="*/ 2390200 h 2556319"/>
                <a:gd name="connsiteX484" fmla="*/ 3087817 w 4274973"/>
                <a:gd name="connsiteY484" fmla="*/ 2362165 h 2556319"/>
                <a:gd name="connsiteX485" fmla="*/ 3106826 w 4274973"/>
                <a:gd name="connsiteY485" fmla="*/ 2384037 h 2556319"/>
                <a:gd name="connsiteX486" fmla="*/ 3107524 w 4274973"/>
                <a:gd name="connsiteY486" fmla="*/ 2358667 h 2556319"/>
                <a:gd name="connsiteX487" fmla="*/ 3083085 w 4274973"/>
                <a:gd name="connsiteY487" fmla="*/ 2320837 h 2556319"/>
                <a:gd name="connsiteX488" fmla="*/ 3098516 w 4274973"/>
                <a:gd name="connsiteY488" fmla="*/ 2266207 h 2556319"/>
                <a:gd name="connsiteX489" fmla="*/ 3135630 w 4274973"/>
                <a:gd name="connsiteY489" fmla="*/ 2278829 h 2556319"/>
                <a:gd name="connsiteX490" fmla="*/ 67154 w 4274973"/>
                <a:gd name="connsiteY490" fmla="*/ 2032962 h 2556319"/>
                <a:gd name="connsiteX491" fmla="*/ 40891 w 4274973"/>
                <a:gd name="connsiteY491" fmla="*/ 2025304 h 2556319"/>
                <a:gd name="connsiteX492" fmla="*/ 6280 w 4274973"/>
                <a:gd name="connsiteY492" fmla="*/ 2039465 h 2556319"/>
                <a:gd name="connsiteX493" fmla="*/ 564 w 4274973"/>
                <a:gd name="connsiteY493" fmla="*/ 2058492 h 2556319"/>
                <a:gd name="connsiteX494" fmla="*/ 31453 w 4274973"/>
                <a:gd name="connsiteY494" fmla="*/ 2063368 h 2556319"/>
                <a:gd name="connsiteX495" fmla="*/ 77576 w 4274973"/>
                <a:gd name="connsiteY495" fmla="*/ 2062723 h 2556319"/>
                <a:gd name="connsiteX496" fmla="*/ 75563 w 4274973"/>
                <a:gd name="connsiteY496" fmla="*/ 2051738 h 2556319"/>
                <a:gd name="connsiteX497" fmla="*/ 78238 w 4274973"/>
                <a:gd name="connsiteY497" fmla="*/ 2039868 h 2556319"/>
                <a:gd name="connsiteX498" fmla="*/ 67154 w 4274973"/>
                <a:gd name="connsiteY498" fmla="*/ 2032962 h 2556319"/>
                <a:gd name="connsiteX499" fmla="*/ 4022165 w 4274973"/>
                <a:gd name="connsiteY499" fmla="*/ 1137356 h 2556319"/>
                <a:gd name="connsiteX500" fmla="*/ 4054923 w 4274973"/>
                <a:gd name="connsiteY500" fmla="*/ 1132705 h 2556319"/>
                <a:gd name="connsiteX501" fmla="*/ 4080767 w 4274973"/>
                <a:gd name="connsiteY501" fmla="*/ 1114232 h 2556319"/>
                <a:gd name="connsiteX502" fmla="*/ 4082914 w 4274973"/>
                <a:gd name="connsiteY502" fmla="*/ 1103605 h 2556319"/>
                <a:gd name="connsiteX503" fmla="*/ 4046631 w 4274973"/>
                <a:gd name="connsiteY503" fmla="*/ 1081107 h 2556319"/>
                <a:gd name="connsiteX504" fmla="*/ 4025377 w 4274973"/>
                <a:gd name="connsiteY504" fmla="*/ 1080937 h 2556319"/>
                <a:gd name="connsiteX505" fmla="*/ 4022165 w 4274973"/>
                <a:gd name="connsiteY505" fmla="*/ 1084256 h 2556319"/>
                <a:gd name="connsiteX506" fmla="*/ 3990194 w 4274973"/>
                <a:gd name="connsiteY506" fmla="*/ 1116862 h 2556319"/>
                <a:gd name="connsiteX507" fmla="*/ 3994667 w 4274973"/>
                <a:gd name="connsiteY507" fmla="*/ 1141248 h 2556319"/>
                <a:gd name="connsiteX508" fmla="*/ 4022165 w 4274973"/>
                <a:gd name="connsiteY508" fmla="*/ 1137356 h 2556319"/>
                <a:gd name="connsiteX509" fmla="*/ 3039252 w 4274973"/>
                <a:gd name="connsiteY509" fmla="*/ 895032 h 2556319"/>
                <a:gd name="connsiteX510" fmla="*/ 3015457 w 4274973"/>
                <a:gd name="connsiteY510" fmla="*/ 930053 h 2556319"/>
                <a:gd name="connsiteX511" fmla="*/ 3019849 w 4274973"/>
                <a:gd name="connsiteY511" fmla="*/ 934687 h 2556319"/>
                <a:gd name="connsiteX512" fmla="*/ 3071250 w 4274973"/>
                <a:gd name="connsiteY512" fmla="*/ 944384 h 2556319"/>
                <a:gd name="connsiteX513" fmla="*/ 3109277 w 4274973"/>
                <a:gd name="connsiteY513" fmla="*/ 943776 h 2556319"/>
                <a:gd name="connsiteX514" fmla="*/ 3106245 w 4274973"/>
                <a:gd name="connsiteY514" fmla="*/ 920795 h 2556319"/>
                <a:gd name="connsiteX515" fmla="*/ 3070614 w 4274973"/>
                <a:gd name="connsiteY515" fmla="*/ 886712 h 2556319"/>
                <a:gd name="connsiteX516" fmla="*/ 3039252 w 4274973"/>
                <a:gd name="connsiteY516" fmla="*/ 895032 h 2556319"/>
                <a:gd name="connsiteX517" fmla="*/ 3259079 w 4274973"/>
                <a:gd name="connsiteY517" fmla="*/ 809799 h 2556319"/>
                <a:gd name="connsiteX518" fmla="*/ 3288071 w 4274973"/>
                <a:gd name="connsiteY518" fmla="*/ 771799 h 2556319"/>
                <a:gd name="connsiteX519" fmla="*/ 3225130 w 4274973"/>
                <a:gd name="connsiteY519" fmla="*/ 746080 h 2556319"/>
                <a:gd name="connsiteX520" fmla="*/ 3178372 w 4274973"/>
                <a:gd name="connsiteY520" fmla="*/ 731043 h 2556319"/>
                <a:gd name="connsiteX521" fmla="*/ 3172369 w 4274973"/>
                <a:gd name="connsiteY521" fmla="*/ 763112 h 2556319"/>
                <a:gd name="connsiteX522" fmla="*/ 3218984 w 4274973"/>
                <a:gd name="connsiteY522" fmla="*/ 801283 h 2556319"/>
                <a:gd name="connsiteX523" fmla="*/ 3259079 w 4274973"/>
                <a:gd name="connsiteY523" fmla="*/ 809799 h 2556319"/>
                <a:gd name="connsiteX524" fmla="*/ 3034296 w 4274973"/>
                <a:gd name="connsiteY524" fmla="*/ 794645 h 2556319"/>
                <a:gd name="connsiteX525" fmla="*/ 3126748 w 4274973"/>
                <a:gd name="connsiteY525" fmla="*/ 797293 h 2556319"/>
                <a:gd name="connsiteX526" fmla="*/ 3146473 w 4274973"/>
                <a:gd name="connsiteY526" fmla="*/ 724432 h 2556319"/>
                <a:gd name="connsiteX527" fmla="*/ 3055810 w 4274973"/>
                <a:gd name="connsiteY527" fmla="*/ 670124 h 2556319"/>
                <a:gd name="connsiteX528" fmla="*/ 2989578 w 4274973"/>
                <a:gd name="connsiteY528" fmla="*/ 665544 h 2556319"/>
                <a:gd name="connsiteX529" fmla="*/ 2956488 w 4274973"/>
                <a:gd name="connsiteY529" fmla="*/ 685045 h 2556319"/>
                <a:gd name="connsiteX530" fmla="*/ 2943007 w 4274973"/>
                <a:gd name="connsiteY530" fmla="*/ 754391 h 2556319"/>
                <a:gd name="connsiteX531" fmla="*/ 2992699 w 4274973"/>
                <a:gd name="connsiteY531" fmla="*/ 817125 h 2556319"/>
                <a:gd name="connsiteX532" fmla="*/ 3034296 w 4274973"/>
                <a:gd name="connsiteY532" fmla="*/ 794645 h 2556319"/>
                <a:gd name="connsiteX533" fmla="*/ 823693 w 4274973"/>
                <a:gd name="connsiteY533" fmla="*/ 1026754 h 2556319"/>
                <a:gd name="connsiteX534" fmla="*/ 798046 w 4274973"/>
                <a:gd name="connsiteY534" fmla="*/ 1044269 h 2556319"/>
                <a:gd name="connsiteX535" fmla="*/ 801714 w 4274973"/>
                <a:gd name="connsiteY535" fmla="*/ 1087494 h 2556319"/>
                <a:gd name="connsiteX536" fmla="*/ 847112 w 4274973"/>
                <a:gd name="connsiteY536" fmla="*/ 1108498 h 2556319"/>
                <a:gd name="connsiteX537" fmla="*/ 853768 w 4274973"/>
                <a:gd name="connsiteY537" fmla="*/ 1142652 h 2556319"/>
                <a:gd name="connsiteX538" fmla="*/ 935718 w 4274973"/>
                <a:gd name="connsiteY538" fmla="*/ 1152510 h 2556319"/>
                <a:gd name="connsiteX539" fmla="*/ 950531 w 4274973"/>
                <a:gd name="connsiteY539" fmla="*/ 1145863 h 2556319"/>
                <a:gd name="connsiteX540" fmla="*/ 902557 w 4274973"/>
                <a:gd name="connsiteY540" fmla="*/ 1082297 h 2556319"/>
                <a:gd name="connsiteX541" fmla="*/ 897458 w 4274973"/>
                <a:gd name="connsiteY541" fmla="*/ 1015062 h 2556319"/>
                <a:gd name="connsiteX542" fmla="*/ 936773 w 4274973"/>
                <a:gd name="connsiteY542" fmla="*/ 933274 h 2556319"/>
                <a:gd name="connsiteX543" fmla="*/ 974157 w 4274973"/>
                <a:gd name="connsiteY543" fmla="*/ 845438 h 2556319"/>
                <a:gd name="connsiteX544" fmla="*/ 1052072 w 4274973"/>
                <a:gd name="connsiteY544" fmla="*/ 754480 h 2556319"/>
                <a:gd name="connsiteX545" fmla="*/ 1128672 w 4274973"/>
                <a:gd name="connsiteY545" fmla="*/ 706729 h 2556319"/>
                <a:gd name="connsiteX546" fmla="*/ 1217545 w 4274973"/>
                <a:gd name="connsiteY546" fmla="*/ 655382 h 2556319"/>
                <a:gd name="connsiteX547" fmla="*/ 1234399 w 4274973"/>
                <a:gd name="connsiteY547" fmla="*/ 622230 h 2556319"/>
                <a:gd name="connsiteX548" fmla="*/ 1216964 w 4274973"/>
                <a:gd name="connsiteY548" fmla="*/ 579050 h 2556319"/>
                <a:gd name="connsiteX549" fmla="*/ 1168149 w 4274973"/>
                <a:gd name="connsiteY549" fmla="*/ 593398 h 2556319"/>
                <a:gd name="connsiteX550" fmla="*/ 1125192 w 4274973"/>
                <a:gd name="connsiteY550" fmla="*/ 633582 h 2556319"/>
                <a:gd name="connsiteX551" fmla="*/ 1041713 w 4274973"/>
                <a:gd name="connsiteY551" fmla="*/ 653458 h 2556319"/>
                <a:gd name="connsiteX552" fmla="*/ 958904 w 4274973"/>
                <a:gd name="connsiteY552" fmla="*/ 719736 h 2556319"/>
                <a:gd name="connsiteX553" fmla="*/ 902807 w 4274973"/>
                <a:gd name="connsiteY553" fmla="*/ 772058 h 2556319"/>
                <a:gd name="connsiteX554" fmla="*/ 909597 w 4274973"/>
                <a:gd name="connsiteY554" fmla="*/ 815623 h 2556319"/>
                <a:gd name="connsiteX555" fmla="*/ 849545 w 4274973"/>
                <a:gd name="connsiteY555" fmla="*/ 896391 h 2556319"/>
                <a:gd name="connsiteX556" fmla="*/ 872607 w 4274973"/>
                <a:gd name="connsiteY556" fmla="*/ 907305 h 2556319"/>
                <a:gd name="connsiteX557" fmla="*/ 822852 w 4274973"/>
                <a:gd name="connsiteY557" fmla="*/ 981293 h 2556319"/>
                <a:gd name="connsiteX558" fmla="*/ 823693 w 4274973"/>
                <a:gd name="connsiteY558" fmla="*/ 1026754 h 2556319"/>
                <a:gd name="connsiteX559" fmla="*/ 2142922 w 4274973"/>
                <a:gd name="connsiteY559" fmla="*/ 418943 h 2556319"/>
                <a:gd name="connsiteX560" fmla="*/ 2150374 w 4274973"/>
                <a:gd name="connsiteY560" fmla="*/ 367775 h 2556319"/>
                <a:gd name="connsiteX561" fmla="*/ 2086797 w 4274973"/>
                <a:gd name="connsiteY561" fmla="*/ 293143 h 2556319"/>
                <a:gd name="connsiteX562" fmla="*/ 2067958 w 4274973"/>
                <a:gd name="connsiteY562" fmla="*/ 284331 h 2556319"/>
                <a:gd name="connsiteX563" fmla="*/ 2047348 w 4274973"/>
                <a:gd name="connsiteY563" fmla="*/ 299503 h 2556319"/>
                <a:gd name="connsiteX564" fmla="*/ 2001529 w 4274973"/>
                <a:gd name="connsiteY564" fmla="*/ 465925 h 2556319"/>
                <a:gd name="connsiteX565" fmla="*/ 2142922 w 4274973"/>
                <a:gd name="connsiteY565" fmla="*/ 418943 h 2556319"/>
                <a:gd name="connsiteX566" fmla="*/ 673811 w 4274973"/>
                <a:gd name="connsiteY566" fmla="*/ 156724 h 2556319"/>
                <a:gd name="connsiteX567" fmla="*/ 700979 w 4274973"/>
                <a:gd name="connsiteY567" fmla="*/ 191397 h 2556319"/>
                <a:gd name="connsiteX568" fmla="*/ 730293 w 4274973"/>
                <a:gd name="connsiteY568" fmla="*/ 167306 h 2556319"/>
                <a:gd name="connsiteX569" fmla="*/ 733791 w 4274973"/>
                <a:gd name="connsiteY569" fmla="*/ 142984 h 2556319"/>
                <a:gd name="connsiteX570" fmla="*/ 756343 w 4274973"/>
                <a:gd name="connsiteY570" fmla="*/ 131605 h 2556319"/>
                <a:gd name="connsiteX571" fmla="*/ 790013 w 4274973"/>
                <a:gd name="connsiteY571" fmla="*/ 111612 h 2556319"/>
                <a:gd name="connsiteX572" fmla="*/ 799719 w 4274973"/>
                <a:gd name="connsiteY572" fmla="*/ 88139 h 2556319"/>
                <a:gd name="connsiteX573" fmla="*/ 762515 w 4274973"/>
                <a:gd name="connsiteY573" fmla="*/ 53725 h 2556319"/>
                <a:gd name="connsiteX574" fmla="*/ 738872 w 4274973"/>
                <a:gd name="connsiteY574" fmla="*/ 79694 h 2556319"/>
                <a:gd name="connsiteX575" fmla="*/ 724469 w 4274973"/>
                <a:gd name="connsiteY575" fmla="*/ 116594 h 2556319"/>
                <a:gd name="connsiteX576" fmla="*/ 719344 w 4274973"/>
                <a:gd name="connsiteY576" fmla="*/ 75007 h 2556319"/>
                <a:gd name="connsiteX577" fmla="*/ 681236 w 4274973"/>
                <a:gd name="connsiteY577" fmla="*/ 76894 h 2556319"/>
                <a:gd name="connsiteX578" fmla="*/ 632268 w 4274973"/>
                <a:gd name="connsiteY578" fmla="*/ 105090 h 2556319"/>
                <a:gd name="connsiteX579" fmla="*/ 688088 w 4274973"/>
                <a:gd name="connsiteY579" fmla="*/ 109751 h 2556319"/>
                <a:gd name="connsiteX580" fmla="*/ 673811 w 4274973"/>
                <a:gd name="connsiteY580" fmla="*/ 156724 h 2556319"/>
                <a:gd name="connsiteX581" fmla="*/ 1847899 w 4274973"/>
                <a:gd name="connsiteY581" fmla="*/ 273427 h 2556319"/>
                <a:gd name="connsiteX582" fmla="*/ 1889522 w 4274973"/>
                <a:gd name="connsiteY582" fmla="*/ 324685 h 2556319"/>
                <a:gd name="connsiteX583" fmla="*/ 1959387 w 4274973"/>
                <a:gd name="connsiteY583" fmla="*/ 362274 h 2556319"/>
                <a:gd name="connsiteX584" fmla="*/ 2014115 w 4274973"/>
                <a:gd name="connsiteY584" fmla="*/ 346145 h 2556319"/>
                <a:gd name="connsiteX585" fmla="*/ 2020297 w 4274973"/>
                <a:gd name="connsiteY585" fmla="*/ 224280 h 2556319"/>
                <a:gd name="connsiteX586" fmla="*/ 1962545 w 4274973"/>
                <a:gd name="connsiteY586" fmla="*/ 80794 h 2556319"/>
                <a:gd name="connsiteX587" fmla="*/ 1913810 w 4274973"/>
                <a:gd name="connsiteY587" fmla="*/ 79 h 2556319"/>
                <a:gd name="connsiteX588" fmla="*/ 1859555 w 4274973"/>
                <a:gd name="connsiteY588" fmla="*/ 36836 h 2556319"/>
                <a:gd name="connsiteX589" fmla="*/ 1794432 w 4274973"/>
                <a:gd name="connsiteY589" fmla="*/ 142697 h 2556319"/>
                <a:gd name="connsiteX590" fmla="*/ 1828648 w 4274973"/>
                <a:gd name="connsiteY590" fmla="*/ 171949 h 2556319"/>
                <a:gd name="connsiteX591" fmla="*/ 1847899 w 4274973"/>
                <a:gd name="connsiteY591" fmla="*/ 273427 h 255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4274973" h="2556319">
                  <a:moveTo>
                    <a:pt x="4275538" y="1469288"/>
                  </a:moveTo>
                  <a:lnTo>
                    <a:pt x="4250669" y="1495883"/>
                  </a:lnTo>
                  <a:lnTo>
                    <a:pt x="4209520" y="1502127"/>
                  </a:lnTo>
                  <a:lnTo>
                    <a:pt x="4208894" y="1559942"/>
                  </a:lnTo>
                  <a:lnTo>
                    <a:pt x="4198866" y="1571991"/>
                  </a:lnTo>
                  <a:lnTo>
                    <a:pt x="4175384" y="1570265"/>
                  </a:lnTo>
                  <a:lnTo>
                    <a:pt x="4156258" y="1550012"/>
                  </a:lnTo>
                  <a:lnTo>
                    <a:pt x="4122910" y="1532864"/>
                  </a:lnTo>
                  <a:lnTo>
                    <a:pt x="4117301" y="1507011"/>
                  </a:lnTo>
                  <a:lnTo>
                    <a:pt x="4091824" y="1497153"/>
                  </a:lnTo>
                  <a:lnTo>
                    <a:pt x="4063305" y="1504981"/>
                  </a:lnTo>
                  <a:lnTo>
                    <a:pt x="4049681" y="1483789"/>
                  </a:lnTo>
                  <a:lnTo>
                    <a:pt x="4055129" y="1460960"/>
                  </a:lnTo>
                  <a:lnTo>
                    <a:pt x="4025091" y="1475586"/>
                  </a:lnTo>
                  <a:lnTo>
                    <a:pt x="4036407" y="1504158"/>
                  </a:lnTo>
                  <a:lnTo>
                    <a:pt x="4022174" y="1529500"/>
                  </a:lnTo>
                  <a:lnTo>
                    <a:pt x="4021987" y="1529822"/>
                  </a:lnTo>
                  <a:lnTo>
                    <a:pt x="3989747" y="1555630"/>
                  </a:lnTo>
                  <a:lnTo>
                    <a:pt x="3957239" y="1551354"/>
                  </a:lnTo>
                  <a:lnTo>
                    <a:pt x="3979862" y="1582144"/>
                  </a:lnTo>
                  <a:lnTo>
                    <a:pt x="3994792" y="1628670"/>
                  </a:lnTo>
                  <a:lnTo>
                    <a:pt x="4006377" y="1643591"/>
                  </a:lnTo>
                  <a:lnTo>
                    <a:pt x="4009284" y="1666241"/>
                  </a:lnTo>
                  <a:lnTo>
                    <a:pt x="4002807" y="1680572"/>
                  </a:lnTo>
                  <a:lnTo>
                    <a:pt x="3956058" y="1668791"/>
                  </a:lnTo>
                  <a:lnTo>
                    <a:pt x="3885952" y="1709144"/>
                  </a:lnTo>
                  <a:lnTo>
                    <a:pt x="3863651" y="1715298"/>
                  </a:lnTo>
                  <a:lnTo>
                    <a:pt x="3825275" y="1751939"/>
                  </a:lnTo>
                  <a:lnTo>
                    <a:pt x="3788867" y="1783293"/>
                  </a:lnTo>
                  <a:lnTo>
                    <a:pt x="3779653" y="1806131"/>
                  </a:lnTo>
                  <a:lnTo>
                    <a:pt x="3743773" y="1771243"/>
                  </a:lnTo>
                  <a:lnTo>
                    <a:pt x="3678416" y="1810773"/>
                  </a:lnTo>
                  <a:lnTo>
                    <a:pt x="3667011" y="1792185"/>
                  </a:lnTo>
                  <a:lnTo>
                    <a:pt x="3642850" y="1813600"/>
                  </a:lnTo>
                  <a:lnTo>
                    <a:pt x="3609304" y="1806775"/>
                  </a:lnTo>
                  <a:lnTo>
                    <a:pt x="3601226" y="1839256"/>
                  </a:lnTo>
                  <a:lnTo>
                    <a:pt x="3571133" y="1885933"/>
                  </a:lnTo>
                  <a:lnTo>
                    <a:pt x="3572037" y="1905050"/>
                  </a:lnTo>
                  <a:lnTo>
                    <a:pt x="3600600" y="1915552"/>
                  </a:lnTo>
                  <a:lnTo>
                    <a:pt x="3597236" y="1982268"/>
                  </a:lnTo>
                  <a:lnTo>
                    <a:pt x="3573951" y="1983932"/>
                  </a:lnTo>
                  <a:lnTo>
                    <a:pt x="3563208" y="2021091"/>
                  </a:lnTo>
                  <a:lnTo>
                    <a:pt x="3573647" y="2039912"/>
                  </a:lnTo>
                  <a:lnTo>
                    <a:pt x="3529787" y="2061981"/>
                  </a:lnTo>
                  <a:lnTo>
                    <a:pt x="3521083" y="2110332"/>
                  </a:lnTo>
                  <a:lnTo>
                    <a:pt x="3483682" y="2120485"/>
                  </a:lnTo>
                  <a:lnTo>
                    <a:pt x="3476168" y="2162198"/>
                  </a:lnTo>
                  <a:lnTo>
                    <a:pt x="3440010" y="2199616"/>
                  </a:lnTo>
                  <a:lnTo>
                    <a:pt x="3430742" y="2172020"/>
                  </a:lnTo>
                  <a:lnTo>
                    <a:pt x="3419999" y="2112148"/>
                  </a:lnTo>
                  <a:lnTo>
                    <a:pt x="3406008" y="2016905"/>
                  </a:lnTo>
                  <a:lnTo>
                    <a:pt x="3418067" y="1954698"/>
                  </a:lnTo>
                  <a:lnTo>
                    <a:pt x="3439223" y="1927226"/>
                  </a:lnTo>
                  <a:lnTo>
                    <a:pt x="3440529" y="1905390"/>
                  </a:lnTo>
                  <a:lnTo>
                    <a:pt x="3479505" y="1894834"/>
                  </a:lnTo>
                  <a:lnTo>
                    <a:pt x="3524312" y="1834175"/>
                  </a:lnTo>
                  <a:lnTo>
                    <a:pt x="3567483" y="1782944"/>
                  </a:lnTo>
                  <a:lnTo>
                    <a:pt x="3612569" y="1742063"/>
                  </a:lnTo>
                  <a:lnTo>
                    <a:pt x="3632732" y="1667225"/>
                  </a:lnTo>
                  <a:lnTo>
                    <a:pt x="3602263" y="1671796"/>
                  </a:lnTo>
                  <a:lnTo>
                    <a:pt x="3587190" y="1715826"/>
                  </a:lnTo>
                  <a:lnTo>
                    <a:pt x="3523579" y="1772728"/>
                  </a:lnTo>
                  <a:lnTo>
                    <a:pt x="3503031" y="1708875"/>
                  </a:lnTo>
                  <a:lnTo>
                    <a:pt x="3438284" y="1726757"/>
                  </a:lnTo>
                  <a:lnTo>
                    <a:pt x="3375504" y="1812276"/>
                  </a:lnTo>
                  <a:lnTo>
                    <a:pt x="3396213" y="1842485"/>
                  </a:lnTo>
                  <a:lnTo>
                    <a:pt x="3340232" y="1855179"/>
                  </a:lnTo>
                  <a:lnTo>
                    <a:pt x="3301454" y="1860162"/>
                  </a:lnTo>
                  <a:lnTo>
                    <a:pt x="3303269" y="1824863"/>
                  </a:lnTo>
                  <a:lnTo>
                    <a:pt x="3264285" y="1817357"/>
                  </a:lnTo>
                  <a:lnTo>
                    <a:pt x="3233208" y="1841528"/>
                  </a:lnTo>
                  <a:lnTo>
                    <a:pt x="3156518" y="1833110"/>
                  </a:lnTo>
                  <a:lnTo>
                    <a:pt x="3074014" y="1847602"/>
                  </a:lnTo>
                  <a:lnTo>
                    <a:pt x="2992762" y="1940009"/>
                  </a:lnTo>
                  <a:lnTo>
                    <a:pt x="2896642" y="2045360"/>
                  </a:lnTo>
                  <a:lnTo>
                    <a:pt x="2936155" y="2050817"/>
                  </a:lnTo>
                  <a:lnTo>
                    <a:pt x="2948491" y="2077662"/>
                  </a:lnTo>
                  <a:lnTo>
                    <a:pt x="2972858" y="2087100"/>
                  </a:lnTo>
                  <a:lnTo>
                    <a:pt x="2988907" y="2065828"/>
                  </a:lnTo>
                  <a:lnTo>
                    <a:pt x="3016423" y="2068610"/>
                  </a:lnTo>
                  <a:lnTo>
                    <a:pt x="3052634" y="2115046"/>
                  </a:lnTo>
                  <a:lnTo>
                    <a:pt x="3053484" y="2150148"/>
                  </a:lnTo>
                  <a:lnTo>
                    <a:pt x="3033885" y="2190510"/>
                  </a:lnTo>
                  <a:lnTo>
                    <a:pt x="3031765" y="2237617"/>
                  </a:lnTo>
                  <a:lnTo>
                    <a:pt x="3020448" y="2298876"/>
                  </a:lnTo>
                  <a:lnTo>
                    <a:pt x="2982645" y="2352665"/>
                  </a:lnTo>
                  <a:lnTo>
                    <a:pt x="2974245" y="2377864"/>
                  </a:lnTo>
                  <a:lnTo>
                    <a:pt x="2940198" y="2419569"/>
                  </a:lnTo>
                  <a:lnTo>
                    <a:pt x="2906411" y="2460074"/>
                  </a:lnTo>
                  <a:lnTo>
                    <a:pt x="2890211" y="2480496"/>
                  </a:lnTo>
                  <a:lnTo>
                    <a:pt x="2856791" y="2500579"/>
                  </a:lnTo>
                  <a:lnTo>
                    <a:pt x="2840966" y="2501017"/>
                  </a:lnTo>
                  <a:lnTo>
                    <a:pt x="2825213" y="2484396"/>
                  </a:lnTo>
                  <a:lnTo>
                    <a:pt x="2791542" y="2509372"/>
                  </a:lnTo>
                  <a:lnTo>
                    <a:pt x="2787624" y="2520626"/>
                  </a:lnTo>
                  <a:lnTo>
                    <a:pt x="2784108" y="2514713"/>
                  </a:lnTo>
                  <a:lnTo>
                    <a:pt x="2783956" y="2497457"/>
                  </a:lnTo>
                  <a:lnTo>
                    <a:pt x="2796766" y="2496536"/>
                  </a:lnTo>
                  <a:lnTo>
                    <a:pt x="2800380" y="2455807"/>
                  </a:lnTo>
                  <a:lnTo>
                    <a:pt x="2793769" y="2425768"/>
                  </a:lnTo>
                  <a:lnTo>
                    <a:pt x="2815301" y="2413253"/>
                  </a:lnTo>
                  <a:lnTo>
                    <a:pt x="2845734" y="2419541"/>
                  </a:lnTo>
                  <a:lnTo>
                    <a:pt x="2862605" y="2384761"/>
                  </a:lnTo>
                  <a:lnTo>
                    <a:pt x="2871201" y="2344847"/>
                  </a:lnTo>
                  <a:lnTo>
                    <a:pt x="2880943" y="2331330"/>
                  </a:lnTo>
                  <a:lnTo>
                    <a:pt x="2894129" y="2297686"/>
                  </a:lnTo>
                  <a:lnTo>
                    <a:pt x="2852675" y="2308769"/>
                  </a:lnTo>
                  <a:lnTo>
                    <a:pt x="2830929" y="2323503"/>
                  </a:lnTo>
                  <a:lnTo>
                    <a:pt x="2792812" y="2323458"/>
                  </a:lnTo>
                  <a:lnTo>
                    <a:pt x="2782659" y="2288168"/>
                  </a:lnTo>
                  <a:lnTo>
                    <a:pt x="2752951" y="2261019"/>
                  </a:lnTo>
                  <a:lnTo>
                    <a:pt x="2709297" y="2248683"/>
                  </a:lnTo>
                  <a:lnTo>
                    <a:pt x="2700021" y="2210360"/>
                  </a:lnTo>
                  <a:lnTo>
                    <a:pt x="2691281" y="2185930"/>
                  </a:lnTo>
                  <a:lnTo>
                    <a:pt x="2681879" y="2168602"/>
                  </a:lnTo>
                  <a:lnTo>
                    <a:pt x="2666377" y="2127355"/>
                  </a:lnTo>
                  <a:lnTo>
                    <a:pt x="2644352" y="2112049"/>
                  </a:lnTo>
                  <a:lnTo>
                    <a:pt x="2606817" y="2099579"/>
                  </a:lnTo>
                  <a:lnTo>
                    <a:pt x="2573558" y="2100715"/>
                  </a:lnTo>
                  <a:lnTo>
                    <a:pt x="2542392" y="2108274"/>
                  </a:lnTo>
                  <a:lnTo>
                    <a:pt x="2521683" y="2128965"/>
                  </a:lnTo>
                  <a:lnTo>
                    <a:pt x="2535441" y="2138760"/>
                  </a:lnTo>
                  <a:lnTo>
                    <a:pt x="2535755" y="2161321"/>
                  </a:lnTo>
                  <a:lnTo>
                    <a:pt x="2521800" y="2174292"/>
                  </a:lnTo>
                  <a:lnTo>
                    <a:pt x="2499158" y="2216559"/>
                  </a:lnTo>
                  <a:lnTo>
                    <a:pt x="2499391" y="2233815"/>
                  </a:lnTo>
                  <a:lnTo>
                    <a:pt x="2464038" y="2258317"/>
                  </a:lnTo>
                  <a:lnTo>
                    <a:pt x="2433937" y="2243718"/>
                  </a:lnTo>
                  <a:lnTo>
                    <a:pt x="2404005" y="2246947"/>
                  </a:lnTo>
                  <a:lnTo>
                    <a:pt x="2390873" y="2233914"/>
                  </a:lnTo>
                  <a:lnTo>
                    <a:pt x="2375827" y="2229691"/>
                  </a:lnTo>
                  <a:lnTo>
                    <a:pt x="2339097" y="2257055"/>
                  </a:lnTo>
                  <a:lnTo>
                    <a:pt x="2306078" y="2263425"/>
                  </a:lnTo>
                  <a:lnTo>
                    <a:pt x="2283026" y="2272925"/>
                  </a:lnTo>
                  <a:lnTo>
                    <a:pt x="2251431" y="2266690"/>
                  </a:lnTo>
                  <a:lnTo>
                    <a:pt x="2228172" y="2267092"/>
                  </a:lnTo>
                  <a:lnTo>
                    <a:pt x="2212947" y="2247385"/>
                  </a:lnTo>
                  <a:lnTo>
                    <a:pt x="2188383" y="2228672"/>
                  </a:lnTo>
                  <a:lnTo>
                    <a:pt x="2163246" y="2223510"/>
                  </a:lnTo>
                  <a:lnTo>
                    <a:pt x="2131516" y="2228636"/>
                  </a:lnTo>
                  <a:lnTo>
                    <a:pt x="2107810" y="2235873"/>
                  </a:lnTo>
                  <a:lnTo>
                    <a:pt x="2072181" y="2219404"/>
                  </a:lnTo>
                  <a:lnTo>
                    <a:pt x="2067404" y="2189687"/>
                  </a:lnTo>
                  <a:lnTo>
                    <a:pt x="2037910" y="2179391"/>
                  </a:lnTo>
                  <a:lnTo>
                    <a:pt x="2015144" y="2174676"/>
                  </a:lnTo>
                  <a:lnTo>
                    <a:pt x="1987046" y="2157939"/>
                  </a:lnTo>
                  <a:lnTo>
                    <a:pt x="1961068" y="2199616"/>
                  </a:lnTo>
                  <a:lnTo>
                    <a:pt x="1971258" y="2222875"/>
                  </a:lnTo>
                  <a:lnTo>
                    <a:pt x="1946872" y="2250015"/>
                  </a:lnTo>
                  <a:lnTo>
                    <a:pt x="1910607" y="2240265"/>
                  </a:lnTo>
                  <a:lnTo>
                    <a:pt x="1885568" y="2238869"/>
                  </a:lnTo>
                  <a:lnTo>
                    <a:pt x="1868805" y="2220603"/>
                  </a:lnTo>
                  <a:lnTo>
                    <a:pt x="1842639" y="2220021"/>
                  </a:lnTo>
                  <a:lnTo>
                    <a:pt x="1820830" y="2207909"/>
                  </a:lnTo>
                  <a:lnTo>
                    <a:pt x="1782678" y="2226435"/>
                  </a:lnTo>
                  <a:lnTo>
                    <a:pt x="1734819" y="2259882"/>
                  </a:lnTo>
                  <a:lnTo>
                    <a:pt x="1708376" y="2266538"/>
                  </a:lnTo>
                  <a:lnTo>
                    <a:pt x="1698554" y="2269687"/>
                  </a:lnTo>
                  <a:lnTo>
                    <a:pt x="1685252" y="2246124"/>
                  </a:lnTo>
                  <a:lnTo>
                    <a:pt x="1652941" y="2251304"/>
                  </a:lnTo>
                  <a:lnTo>
                    <a:pt x="1642269" y="2234817"/>
                  </a:lnTo>
                  <a:lnTo>
                    <a:pt x="1624736" y="2227231"/>
                  </a:lnTo>
                  <a:lnTo>
                    <a:pt x="1612659" y="2204465"/>
                  </a:lnTo>
                  <a:lnTo>
                    <a:pt x="1598812" y="2197318"/>
                  </a:lnTo>
                  <a:lnTo>
                    <a:pt x="1562770" y="2207515"/>
                  </a:lnTo>
                  <a:lnTo>
                    <a:pt x="1528223" y="2184570"/>
                  </a:lnTo>
                  <a:lnTo>
                    <a:pt x="1514858" y="2205440"/>
                  </a:lnTo>
                  <a:lnTo>
                    <a:pt x="1458806" y="2101887"/>
                  </a:lnTo>
                  <a:lnTo>
                    <a:pt x="1426807" y="2069155"/>
                  </a:lnTo>
                  <a:lnTo>
                    <a:pt x="1435977" y="2055701"/>
                  </a:lnTo>
                  <a:lnTo>
                    <a:pt x="1373126" y="2095902"/>
                  </a:lnTo>
                  <a:lnTo>
                    <a:pt x="1349071" y="2098300"/>
                  </a:lnTo>
                  <a:lnTo>
                    <a:pt x="1351146" y="2075193"/>
                  </a:lnTo>
                  <a:lnTo>
                    <a:pt x="1318925" y="2060603"/>
                  </a:lnTo>
                  <a:lnTo>
                    <a:pt x="1292741" y="2071034"/>
                  </a:lnTo>
                  <a:lnTo>
                    <a:pt x="1284842" y="2026199"/>
                  </a:lnTo>
                  <a:lnTo>
                    <a:pt x="1239766" y="2016726"/>
                  </a:lnTo>
                  <a:lnTo>
                    <a:pt x="1217214" y="2034912"/>
                  </a:lnTo>
                  <a:lnTo>
                    <a:pt x="1154453" y="2050933"/>
                  </a:lnTo>
                  <a:lnTo>
                    <a:pt x="1142206" y="2061569"/>
                  </a:lnTo>
                  <a:lnTo>
                    <a:pt x="1048350" y="2076446"/>
                  </a:lnTo>
                  <a:lnTo>
                    <a:pt x="1036855" y="2090920"/>
                  </a:lnTo>
                  <a:lnTo>
                    <a:pt x="1054961" y="2119617"/>
                  </a:lnTo>
                  <a:lnTo>
                    <a:pt x="1030880" y="2130387"/>
                  </a:lnTo>
                  <a:lnTo>
                    <a:pt x="1035576" y="2141605"/>
                  </a:lnTo>
                  <a:lnTo>
                    <a:pt x="1011504" y="2161491"/>
                  </a:lnTo>
                  <a:lnTo>
                    <a:pt x="1052152" y="2189204"/>
                  </a:lnTo>
                  <a:lnTo>
                    <a:pt x="1045872" y="2208043"/>
                  </a:lnTo>
                  <a:lnTo>
                    <a:pt x="1010645" y="2206335"/>
                  </a:lnTo>
                  <a:lnTo>
                    <a:pt x="1003363" y="2218053"/>
                  </a:lnTo>
                  <a:lnTo>
                    <a:pt x="971285" y="2197541"/>
                  </a:lnTo>
                  <a:lnTo>
                    <a:pt x="931522" y="2198337"/>
                  </a:lnTo>
                  <a:lnTo>
                    <a:pt x="904901" y="2215048"/>
                  </a:lnTo>
                  <a:lnTo>
                    <a:pt x="875210" y="2199026"/>
                  </a:lnTo>
                  <a:lnTo>
                    <a:pt x="819918" y="2171277"/>
                  </a:lnTo>
                  <a:lnTo>
                    <a:pt x="780737" y="2172324"/>
                  </a:lnTo>
                  <a:lnTo>
                    <a:pt x="728960" y="2215701"/>
                  </a:lnTo>
                  <a:lnTo>
                    <a:pt x="725838" y="2244263"/>
                  </a:lnTo>
                  <a:lnTo>
                    <a:pt x="700048" y="2221614"/>
                  </a:lnTo>
                  <a:lnTo>
                    <a:pt x="680037" y="2264284"/>
                  </a:lnTo>
                  <a:lnTo>
                    <a:pt x="687364" y="2272102"/>
                  </a:lnTo>
                  <a:lnTo>
                    <a:pt x="672890" y="2300862"/>
                  </a:lnTo>
                  <a:lnTo>
                    <a:pt x="694180" y="2326240"/>
                  </a:lnTo>
                  <a:lnTo>
                    <a:pt x="712796" y="2325202"/>
                  </a:lnTo>
                  <a:lnTo>
                    <a:pt x="728781" y="2349892"/>
                  </a:lnTo>
                  <a:lnTo>
                    <a:pt x="726241" y="2368695"/>
                  </a:lnTo>
                  <a:lnTo>
                    <a:pt x="738979" y="2374564"/>
                  </a:lnTo>
                  <a:lnTo>
                    <a:pt x="727547" y="2395952"/>
                  </a:lnTo>
                  <a:lnTo>
                    <a:pt x="703233" y="2401856"/>
                  </a:lnTo>
                  <a:lnTo>
                    <a:pt x="678302" y="2438426"/>
                  </a:lnTo>
                  <a:lnTo>
                    <a:pt x="701095" y="2471479"/>
                  </a:lnTo>
                  <a:lnTo>
                    <a:pt x="698626" y="2494612"/>
                  </a:lnTo>
                  <a:lnTo>
                    <a:pt x="726017" y="2534473"/>
                  </a:lnTo>
                  <a:lnTo>
                    <a:pt x="711042" y="2547945"/>
                  </a:lnTo>
                  <a:lnTo>
                    <a:pt x="706739" y="2556399"/>
                  </a:lnTo>
                  <a:lnTo>
                    <a:pt x="695638" y="2554136"/>
                  </a:lnTo>
                  <a:lnTo>
                    <a:pt x="678400" y="2533865"/>
                  </a:lnTo>
                  <a:lnTo>
                    <a:pt x="671351" y="2532738"/>
                  </a:lnTo>
                  <a:lnTo>
                    <a:pt x="655580" y="2524946"/>
                  </a:lnTo>
                  <a:lnTo>
                    <a:pt x="647905" y="2511081"/>
                  </a:lnTo>
                  <a:lnTo>
                    <a:pt x="624513" y="2503978"/>
                  </a:lnTo>
                  <a:lnTo>
                    <a:pt x="609305" y="2509319"/>
                  </a:lnTo>
                  <a:lnTo>
                    <a:pt x="604913" y="2503003"/>
                  </a:lnTo>
                  <a:lnTo>
                    <a:pt x="570759" y="2486624"/>
                  </a:lnTo>
                  <a:lnTo>
                    <a:pt x="533832" y="2481060"/>
                  </a:lnTo>
                  <a:lnTo>
                    <a:pt x="512631" y="2475174"/>
                  </a:lnTo>
                  <a:lnTo>
                    <a:pt x="509572" y="2479244"/>
                  </a:lnTo>
                  <a:lnTo>
                    <a:pt x="477592" y="2449956"/>
                  </a:lnTo>
                  <a:lnTo>
                    <a:pt x="448975" y="2436744"/>
                  </a:lnTo>
                  <a:lnTo>
                    <a:pt x="427309" y="2415999"/>
                  </a:lnTo>
                  <a:lnTo>
                    <a:pt x="445567" y="2410310"/>
                  </a:lnTo>
                  <a:lnTo>
                    <a:pt x="466383" y="2380307"/>
                  </a:lnTo>
                  <a:lnTo>
                    <a:pt x="452356" y="2365949"/>
                  </a:lnTo>
                  <a:lnTo>
                    <a:pt x="489319" y="2351037"/>
                  </a:lnTo>
                  <a:lnTo>
                    <a:pt x="488657" y="2342995"/>
                  </a:lnTo>
                  <a:lnTo>
                    <a:pt x="466141" y="2348926"/>
                  </a:lnTo>
                  <a:lnTo>
                    <a:pt x="466929" y="2332538"/>
                  </a:lnTo>
                  <a:lnTo>
                    <a:pt x="479855" y="2322170"/>
                  </a:lnTo>
                  <a:lnTo>
                    <a:pt x="504124" y="2319433"/>
                  </a:lnTo>
                  <a:lnTo>
                    <a:pt x="508069" y="2306953"/>
                  </a:lnTo>
                  <a:lnTo>
                    <a:pt x="502523" y="2286137"/>
                  </a:lnTo>
                  <a:lnTo>
                    <a:pt x="512712" y="2266162"/>
                  </a:lnTo>
                  <a:lnTo>
                    <a:pt x="512417" y="2254864"/>
                  </a:lnTo>
                  <a:lnTo>
                    <a:pt x="475445" y="2242260"/>
                  </a:lnTo>
                  <a:lnTo>
                    <a:pt x="460783" y="2242680"/>
                  </a:lnTo>
                  <a:lnTo>
                    <a:pt x="445307" y="2224404"/>
                  </a:lnTo>
                  <a:lnTo>
                    <a:pt x="426066" y="2230604"/>
                  </a:lnTo>
                  <a:lnTo>
                    <a:pt x="394210" y="2216810"/>
                  </a:lnTo>
                  <a:lnTo>
                    <a:pt x="394756" y="2209045"/>
                  </a:lnTo>
                  <a:lnTo>
                    <a:pt x="385838" y="2191816"/>
                  </a:lnTo>
                  <a:lnTo>
                    <a:pt x="365835" y="2189884"/>
                  </a:lnTo>
                  <a:lnTo>
                    <a:pt x="363760" y="2177432"/>
                  </a:lnTo>
                  <a:lnTo>
                    <a:pt x="370022" y="2169264"/>
                  </a:lnTo>
                  <a:lnTo>
                    <a:pt x="353992" y="2146230"/>
                  </a:lnTo>
                  <a:lnTo>
                    <a:pt x="327987" y="2150184"/>
                  </a:lnTo>
                  <a:lnTo>
                    <a:pt x="320366" y="2148135"/>
                  </a:lnTo>
                  <a:lnTo>
                    <a:pt x="314032" y="2157412"/>
                  </a:lnTo>
                  <a:lnTo>
                    <a:pt x="304666" y="2155766"/>
                  </a:lnTo>
                  <a:lnTo>
                    <a:pt x="298503" y="2129493"/>
                  </a:lnTo>
                  <a:lnTo>
                    <a:pt x="292616" y="2115717"/>
                  </a:lnTo>
                  <a:lnTo>
                    <a:pt x="297447" y="2111825"/>
                  </a:lnTo>
                  <a:lnTo>
                    <a:pt x="317682" y="2113274"/>
                  </a:lnTo>
                  <a:lnTo>
                    <a:pt x="327441" y="2104132"/>
                  </a:lnTo>
                  <a:lnTo>
                    <a:pt x="320214" y="2092923"/>
                  </a:lnTo>
                  <a:lnTo>
                    <a:pt x="303298" y="2085481"/>
                  </a:lnTo>
                  <a:lnTo>
                    <a:pt x="304810" y="2077815"/>
                  </a:lnTo>
                  <a:lnTo>
                    <a:pt x="294603" y="2070032"/>
                  </a:lnTo>
                  <a:lnTo>
                    <a:pt x="278877" y="2041827"/>
                  </a:lnTo>
                  <a:lnTo>
                    <a:pt x="284252" y="2030072"/>
                  </a:lnTo>
                  <a:lnTo>
                    <a:pt x="281802" y="2009426"/>
                  </a:lnTo>
                  <a:lnTo>
                    <a:pt x="257282" y="1998844"/>
                  </a:lnTo>
                  <a:lnTo>
                    <a:pt x="244123" y="2004148"/>
                  </a:lnTo>
                  <a:lnTo>
                    <a:pt x="240563" y="1993092"/>
                  </a:lnTo>
                  <a:lnTo>
                    <a:pt x="214156" y="1981856"/>
                  </a:lnTo>
                  <a:lnTo>
                    <a:pt x="206096" y="1955118"/>
                  </a:lnTo>
                  <a:lnTo>
                    <a:pt x="203958" y="1932826"/>
                  </a:lnTo>
                  <a:lnTo>
                    <a:pt x="191873" y="1922145"/>
                  </a:lnTo>
                  <a:lnTo>
                    <a:pt x="202616" y="1907304"/>
                  </a:lnTo>
                  <a:lnTo>
                    <a:pt x="195173" y="1862917"/>
                  </a:lnTo>
                  <a:lnTo>
                    <a:pt x="213020" y="1834891"/>
                  </a:lnTo>
                  <a:lnTo>
                    <a:pt x="209244" y="1826312"/>
                  </a:lnTo>
                  <a:lnTo>
                    <a:pt x="237754" y="1798840"/>
                  </a:lnTo>
                  <a:lnTo>
                    <a:pt x="211472" y="1774831"/>
                  </a:lnTo>
                  <a:lnTo>
                    <a:pt x="265172" y="1708589"/>
                  </a:lnTo>
                  <a:lnTo>
                    <a:pt x="288466" y="1677700"/>
                  </a:lnTo>
                  <a:lnTo>
                    <a:pt x="297903" y="1649933"/>
                  </a:lnTo>
                  <a:lnTo>
                    <a:pt x="260780" y="1611861"/>
                  </a:lnTo>
                  <a:lnTo>
                    <a:pt x="271031" y="1574782"/>
                  </a:lnTo>
                  <a:lnTo>
                    <a:pt x="248453" y="1531361"/>
                  </a:lnTo>
                  <a:lnTo>
                    <a:pt x="265342" y="1479799"/>
                  </a:lnTo>
                  <a:lnTo>
                    <a:pt x="236170" y="1408620"/>
                  </a:lnTo>
                  <a:lnTo>
                    <a:pt x="259313" y="1359616"/>
                  </a:lnTo>
                  <a:lnTo>
                    <a:pt x="220901" y="1314978"/>
                  </a:lnTo>
                  <a:lnTo>
                    <a:pt x="224559" y="1266637"/>
                  </a:lnTo>
                  <a:lnTo>
                    <a:pt x="244821" y="1260160"/>
                  </a:lnTo>
                  <a:lnTo>
                    <a:pt x="287500" y="1231642"/>
                  </a:lnTo>
                  <a:lnTo>
                    <a:pt x="313379" y="1206478"/>
                  </a:lnTo>
                  <a:lnTo>
                    <a:pt x="354582" y="1249953"/>
                  </a:lnTo>
                  <a:lnTo>
                    <a:pt x="423266" y="1266735"/>
                  </a:lnTo>
                  <a:lnTo>
                    <a:pt x="518034" y="1344078"/>
                  </a:lnTo>
                  <a:lnTo>
                    <a:pt x="537285" y="1375459"/>
                  </a:lnTo>
                  <a:lnTo>
                    <a:pt x="538940" y="1418361"/>
                  </a:lnTo>
                  <a:lnTo>
                    <a:pt x="511093" y="1451415"/>
                  </a:lnTo>
                  <a:lnTo>
                    <a:pt x="470140" y="1467928"/>
                  </a:lnTo>
                  <a:lnTo>
                    <a:pt x="358169" y="1420401"/>
                  </a:lnTo>
                  <a:lnTo>
                    <a:pt x="339751" y="1428452"/>
                  </a:lnTo>
                  <a:lnTo>
                    <a:pt x="380640" y="1474047"/>
                  </a:lnTo>
                  <a:lnTo>
                    <a:pt x="382242" y="1502261"/>
                  </a:lnTo>
                  <a:lnTo>
                    <a:pt x="383879" y="1562670"/>
                  </a:lnTo>
                  <a:lnTo>
                    <a:pt x="416172" y="1580257"/>
                  </a:lnTo>
                  <a:lnTo>
                    <a:pt x="435772" y="1595080"/>
                  </a:lnTo>
                  <a:lnTo>
                    <a:pt x="439010" y="1567286"/>
                  </a:lnTo>
                  <a:lnTo>
                    <a:pt x="423901" y="1542230"/>
                  </a:lnTo>
                  <a:lnTo>
                    <a:pt x="439868" y="1519821"/>
                  </a:lnTo>
                  <a:lnTo>
                    <a:pt x="500501" y="1556489"/>
                  </a:lnTo>
                  <a:lnTo>
                    <a:pt x="521622" y="1542239"/>
                  </a:lnTo>
                  <a:lnTo>
                    <a:pt x="504741" y="1498611"/>
                  </a:lnTo>
                  <a:lnTo>
                    <a:pt x="563200" y="1438301"/>
                  </a:lnTo>
                  <a:lnTo>
                    <a:pt x="586351" y="1441915"/>
                  </a:lnTo>
                  <a:lnTo>
                    <a:pt x="609771" y="1463652"/>
                  </a:lnTo>
                  <a:lnTo>
                    <a:pt x="624379" y="1420616"/>
                  </a:lnTo>
                  <a:lnTo>
                    <a:pt x="603464" y="1382302"/>
                  </a:lnTo>
                  <a:lnTo>
                    <a:pt x="615746" y="1342888"/>
                  </a:lnTo>
                  <a:lnTo>
                    <a:pt x="597309" y="1300916"/>
                  </a:lnTo>
                  <a:lnTo>
                    <a:pt x="667469" y="1322761"/>
                  </a:lnTo>
                  <a:lnTo>
                    <a:pt x="681800" y="1360180"/>
                  </a:lnTo>
                  <a:lnTo>
                    <a:pt x="650043" y="1368302"/>
                  </a:lnTo>
                  <a:lnTo>
                    <a:pt x="650213" y="1404424"/>
                  </a:lnTo>
                  <a:lnTo>
                    <a:pt x="669956" y="1426233"/>
                  </a:lnTo>
                  <a:lnTo>
                    <a:pt x="708708" y="1412448"/>
                  </a:lnTo>
                  <a:lnTo>
                    <a:pt x="714844" y="1371201"/>
                  </a:lnTo>
                  <a:lnTo>
                    <a:pt x="767238" y="1339668"/>
                  </a:lnTo>
                  <a:lnTo>
                    <a:pt x="854770" y="1281137"/>
                  </a:lnTo>
                  <a:lnTo>
                    <a:pt x="873680" y="1284554"/>
                  </a:lnTo>
                  <a:lnTo>
                    <a:pt x="848955" y="1326062"/>
                  </a:lnTo>
                  <a:lnTo>
                    <a:pt x="880068" y="1333084"/>
                  </a:lnTo>
                  <a:lnTo>
                    <a:pt x="898039" y="1309969"/>
                  </a:lnTo>
                  <a:lnTo>
                    <a:pt x="945048" y="1308081"/>
                  </a:lnTo>
                  <a:lnTo>
                    <a:pt x="982297" y="1279518"/>
                  </a:lnTo>
                  <a:lnTo>
                    <a:pt x="1010878" y="1320855"/>
                  </a:lnTo>
                  <a:lnTo>
                    <a:pt x="1039378" y="1275350"/>
                  </a:lnTo>
                  <a:lnTo>
                    <a:pt x="1013096" y="1234406"/>
                  </a:lnTo>
                  <a:lnTo>
                    <a:pt x="1026139" y="1210584"/>
                  </a:lnTo>
                  <a:lnTo>
                    <a:pt x="1100225" y="1232438"/>
                  </a:lnTo>
                  <a:lnTo>
                    <a:pt x="1134943" y="1254694"/>
                  </a:lnTo>
                  <a:lnTo>
                    <a:pt x="1225838" y="1333406"/>
                  </a:lnTo>
                  <a:lnTo>
                    <a:pt x="1242611" y="1297848"/>
                  </a:lnTo>
                  <a:lnTo>
                    <a:pt x="1217116" y="1261073"/>
                  </a:lnTo>
                  <a:lnTo>
                    <a:pt x="1216383" y="1246071"/>
                  </a:lnTo>
                  <a:lnTo>
                    <a:pt x="1186156" y="1239076"/>
                  </a:lnTo>
                  <a:lnTo>
                    <a:pt x="1194430" y="1204841"/>
                  </a:lnTo>
                  <a:lnTo>
                    <a:pt x="1181012" y="1146776"/>
                  </a:lnTo>
                  <a:lnTo>
                    <a:pt x="1180252" y="1122292"/>
                  </a:lnTo>
                  <a:lnTo>
                    <a:pt x="1226545" y="1050818"/>
                  </a:lnTo>
                  <a:lnTo>
                    <a:pt x="1243004" y="975505"/>
                  </a:lnTo>
                  <a:lnTo>
                    <a:pt x="1261656" y="958706"/>
                  </a:lnTo>
                  <a:lnTo>
                    <a:pt x="1328058" y="981195"/>
                  </a:lnTo>
                  <a:lnTo>
                    <a:pt x="1333291" y="1027559"/>
                  </a:lnTo>
                  <a:lnTo>
                    <a:pt x="1309514" y="1092709"/>
                  </a:lnTo>
                  <a:lnTo>
                    <a:pt x="1325115" y="1117569"/>
                  </a:lnTo>
                  <a:lnTo>
                    <a:pt x="1333184" y="1170687"/>
                  </a:lnTo>
                  <a:lnTo>
                    <a:pt x="1327486" y="1269741"/>
                  </a:lnTo>
                  <a:lnTo>
                    <a:pt x="1355154" y="1312053"/>
                  </a:lnTo>
                  <a:lnTo>
                    <a:pt x="1344393" y="1356852"/>
                  </a:lnTo>
                  <a:lnTo>
                    <a:pt x="1295264" y="1448078"/>
                  </a:lnTo>
                  <a:lnTo>
                    <a:pt x="1323934" y="1457238"/>
                  </a:lnTo>
                  <a:lnTo>
                    <a:pt x="1333909" y="1434749"/>
                  </a:lnTo>
                  <a:lnTo>
                    <a:pt x="1361505" y="1418513"/>
                  </a:lnTo>
                  <a:lnTo>
                    <a:pt x="1368161" y="1386730"/>
                  </a:lnTo>
                  <a:lnTo>
                    <a:pt x="1389872" y="1355519"/>
                  </a:lnTo>
                  <a:lnTo>
                    <a:pt x="1375254" y="1317411"/>
                  </a:lnTo>
                  <a:lnTo>
                    <a:pt x="1386964" y="1271941"/>
                  </a:lnTo>
                  <a:lnTo>
                    <a:pt x="1359538" y="1266180"/>
                  </a:lnTo>
                  <a:lnTo>
                    <a:pt x="1353508" y="1226659"/>
                  </a:lnTo>
                  <a:lnTo>
                    <a:pt x="1373519" y="1152608"/>
                  </a:lnTo>
                  <a:lnTo>
                    <a:pt x="1340940" y="1089695"/>
                  </a:lnTo>
                  <a:lnTo>
                    <a:pt x="1385828" y="1035646"/>
                  </a:lnTo>
                  <a:lnTo>
                    <a:pt x="1380031" y="976436"/>
                  </a:lnTo>
                  <a:lnTo>
                    <a:pt x="1392537" y="974503"/>
                  </a:lnTo>
                  <a:lnTo>
                    <a:pt x="1405714" y="1020922"/>
                  </a:lnTo>
                  <a:lnTo>
                    <a:pt x="1395830" y="1098452"/>
                  </a:lnTo>
                  <a:lnTo>
                    <a:pt x="1422666" y="1112694"/>
                  </a:lnTo>
                  <a:lnTo>
                    <a:pt x="1411234" y="1055684"/>
                  </a:lnTo>
                  <a:lnTo>
                    <a:pt x="1453206" y="1023668"/>
                  </a:lnTo>
                  <a:lnTo>
                    <a:pt x="1505260" y="1019303"/>
                  </a:lnTo>
                  <a:lnTo>
                    <a:pt x="1551607" y="1065640"/>
                  </a:lnTo>
                  <a:lnTo>
                    <a:pt x="1529305" y="997458"/>
                  </a:lnTo>
                  <a:lnTo>
                    <a:pt x="1526809" y="905480"/>
                  </a:lnTo>
                  <a:lnTo>
                    <a:pt x="1570427" y="887401"/>
                  </a:lnTo>
                  <a:lnTo>
                    <a:pt x="1630756" y="891373"/>
                  </a:lnTo>
                  <a:lnTo>
                    <a:pt x="1685100" y="879556"/>
                  </a:lnTo>
                  <a:lnTo>
                    <a:pt x="1664722" y="831420"/>
                  </a:lnTo>
                  <a:lnTo>
                    <a:pt x="1693750" y="768659"/>
                  </a:lnTo>
                  <a:lnTo>
                    <a:pt x="1722564" y="765975"/>
                  </a:lnTo>
                  <a:lnTo>
                    <a:pt x="1771335" y="716658"/>
                  </a:lnTo>
                  <a:lnTo>
                    <a:pt x="1837558" y="703115"/>
                  </a:lnTo>
                  <a:lnTo>
                    <a:pt x="1845931" y="674910"/>
                  </a:lnTo>
                  <a:lnTo>
                    <a:pt x="1911788" y="665231"/>
                  </a:lnTo>
                  <a:lnTo>
                    <a:pt x="1932309" y="688543"/>
                  </a:lnTo>
                  <a:lnTo>
                    <a:pt x="1988603" y="632750"/>
                  </a:lnTo>
                  <a:lnTo>
                    <a:pt x="2034681" y="634530"/>
                  </a:lnTo>
                  <a:lnTo>
                    <a:pt x="2041587" y="587673"/>
                  </a:lnTo>
                  <a:lnTo>
                    <a:pt x="2065561" y="539958"/>
                  </a:lnTo>
                  <a:lnTo>
                    <a:pt x="2124772" y="492439"/>
                  </a:lnTo>
                  <a:lnTo>
                    <a:pt x="2167790" y="530082"/>
                  </a:lnTo>
                  <a:lnTo>
                    <a:pt x="2133636" y="558090"/>
                  </a:lnTo>
                  <a:lnTo>
                    <a:pt x="2190458" y="575239"/>
                  </a:lnTo>
                  <a:lnTo>
                    <a:pt x="2197230" y="629216"/>
                  </a:lnTo>
                  <a:lnTo>
                    <a:pt x="2220148" y="602890"/>
                  </a:lnTo>
                  <a:lnTo>
                    <a:pt x="2293474" y="604348"/>
                  </a:lnTo>
                  <a:lnTo>
                    <a:pt x="2350010" y="656616"/>
                  </a:lnTo>
                  <a:lnTo>
                    <a:pt x="2370146" y="695538"/>
                  </a:lnTo>
                  <a:lnTo>
                    <a:pt x="2363903" y="747905"/>
                  </a:lnTo>
                  <a:lnTo>
                    <a:pt x="2336153" y="776906"/>
                  </a:lnTo>
                  <a:lnTo>
                    <a:pt x="2270243" y="829837"/>
                  </a:lnTo>
                  <a:lnTo>
                    <a:pt x="2251404" y="857380"/>
                  </a:lnTo>
                  <a:lnTo>
                    <a:pt x="2282507" y="870199"/>
                  </a:lnTo>
                  <a:lnTo>
                    <a:pt x="2319613" y="893028"/>
                  </a:lnTo>
                  <a:lnTo>
                    <a:pt x="2342183" y="875942"/>
                  </a:lnTo>
                  <a:lnTo>
                    <a:pt x="2354984" y="933130"/>
                  </a:lnTo>
                  <a:lnTo>
                    <a:pt x="2365996" y="910239"/>
                  </a:lnTo>
                  <a:lnTo>
                    <a:pt x="2406098" y="896150"/>
                  </a:lnTo>
                  <a:lnTo>
                    <a:pt x="2486572" y="910874"/>
                  </a:lnTo>
                  <a:lnTo>
                    <a:pt x="2492691" y="951809"/>
                  </a:lnTo>
                  <a:lnTo>
                    <a:pt x="2597550" y="964601"/>
                  </a:lnTo>
                  <a:lnTo>
                    <a:pt x="2598981" y="897751"/>
                  </a:lnTo>
                  <a:lnTo>
                    <a:pt x="2652207" y="913334"/>
                  </a:lnTo>
                  <a:lnTo>
                    <a:pt x="2692256" y="912851"/>
                  </a:lnTo>
                  <a:lnTo>
                    <a:pt x="2732752" y="958813"/>
                  </a:lnTo>
                  <a:lnTo>
                    <a:pt x="2744301" y="1012826"/>
                  </a:lnTo>
                  <a:lnTo>
                    <a:pt x="2729460" y="1047141"/>
                  </a:lnTo>
                  <a:lnTo>
                    <a:pt x="2760957" y="1109598"/>
                  </a:lnTo>
                  <a:lnTo>
                    <a:pt x="2800407" y="1140845"/>
                  </a:lnTo>
                  <a:lnTo>
                    <a:pt x="2824604" y="1058743"/>
                  </a:lnTo>
                  <a:lnTo>
                    <a:pt x="2864841" y="1094490"/>
                  </a:lnTo>
                  <a:lnTo>
                    <a:pt x="2907583" y="1073235"/>
                  </a:lnTo>
                  <a:lnTo>
                    <a:pt x="2956130" y="1097531"/>
                  </a:lnTo>
                  <a:lnTo>
                    <a:pt x="2974603" y="1075391"/>
                  </a:lnTo>
                  <a:lnTo>
                    <a:pt x="3015635" y="1086501"/>
                  </a:lnTo>
                  <a:lnTo>
                    <a:pt x="2997530" y="1011377"/>
                  </a:lnTo>
                  <a:lnTo>
                    <a:pt x="3030646" y="974996"/>
                  </a:lnTo>
                  <a:lnTo>
                    <a:pt x="3257173" y="1029214"/>
                  </a:lnTo>
                  <a:lnTo>
                    <a:pt x="3278526" y="1077117"/>
                  </a:lnTo>
                  <a:lnTo>
                    <a:pt x="3344186" y="1136632"/>
                  </a:lnTo>
                  <a:lnTo>
                    <a:pt x="3445467" y="1122113"/>
                  </a:lnTo>
                  <a:lnTo>
                    <a:pt x="3495401" y="1134762"/>
                  </a:lnTo>
                  <a:lnTo>
                    <a:pt x="3516279" y="1166054"/>
                  </a:lnTo>
                  <a:lnTo>
                    <a:pt x="3513229" y="1219870"/>
                  </a:lnTo>
                  <a:lnTo>
                    <a:pt x="3544127" y="1240319"/>
                  </a:lnTo>
                  <a:lnTo>
                    <a:pt x="3577699" y="1225639"/>
                  </a:lnTo>
                  <a:lnTo>
                    <a:pt x="3622185" y="1223752"/>
                  </a:lnTo>
                  <a:lnTo>
                    <a:pt x="3669534" y="1237841"/>
                  </a:lnTo>
                  <a:lnTo>
                    <a:pt x="3717070" y="1229906"/>
                  </a:lnTo>
                  <a:lnTo>
                    <a:pt x="3760760" y="1292471"/>
                  </a:lnTo>
                  <a:lnTo>
                    <a:pt x="3791845" y="1270260"/>
                  </a:lnTo>
                  <a:lnTo>
                    <a:pt x="3771557" y="1224870"/>
                  </a:lnTo>
                  <a:lnTo>
                    <a:pt x="3782730" y="1192505"/>
                  </a:lnTo>
                  <a:lnTo>
                    <a:pt x="3862748" y="1212955"/>
                  </a:lnTo>
                  <a:lnTo>
                    <a:pt x="3914917" y="1208607"/>
                  </a:lnTo>
                  <a:lnTo>
                    <a:pt x="3987054" y="1242985"/>
                  </a:lnTo>
                  <a:lnTo>
                    <a:pt x="4022165" y="1273757"/>
                  </a:lnTo>
                  <a:lnTo>
                    <a:pt x="4083612" y="1326160"/>
                  </a:lnTo>
                  <a:lnTo>
                    <a:pt x="4149379" y="1391829"/>
                  </a:lnTo>
                  <a:lnTo>
                    <a:pt x="4147224" y="1431520"/>
                  </a:lnTo>
                  <a:lnTo>
                    <a:pt x="4164139" y="1447130"/>
                  </a:lnTo>
                  <a:lnTo>
                    <a:pt x="4158325" y="1401096"/>
                  </a:lnTo>
                  <a:lnTo>
                    <a:pt x="4226427" y="1410650"/>
                  </a:lnTo>
                  <a:lnTo>
                    <a:pt x="4275538" y="1469288"/>
                  </a:lnTo>
                  <a:close/>
                  <a:moveTo>
                    <a:pt x="3135630" y="2278829"/>
                  </a:moveTo>
                  <a:lnTo>
                    <a:pt x="3110395" y="2210092"/>
                  </a:lnTo>
                  <a:lnTo>
                    <a:pt x="3100045" y="2169757"/>
                  </a:lnTo>
                  <a:lnTo>
                    <a:pt x="3100689" y="2129538"/>
                  </a:lnTo>
                  <a:lnTo>
                    <a:pt x="3092004" y="2089256"/>
                  </a:lnTo>
                  <a:lnTo>
                    <a:pt x="3085482" y="2061077"/>
                  </a:lnTo>
                  <a:lnTo>
                    <a:pt x="3074318" y="2067098"/>
                  </a:lnTo>
                  <a:lnTo>
                    <a:pt x="3084275" y="2086823"/>
                  </a:lnTo>
                  <a:lnTo>
                    <a:pt x="3061087" y="2106199"/>
                  </a:lnTo>
                  <a:lnTo>
                    <a:pt x="3058869" y="2162519"/>
                  </a:lnTo>
                  <a:lnTo>
                    <a:pt x="3073567" y="2201978"/>
                  </a:lnTo>
                  <a:lnTo>
                    <a:pt x="3072466" y="2254327"/>
                  </a:lnTo>
                  <a:lnTo>
                    <a:pt x="3066661" y="2283284"/>
                  </a:lnTo>
                  <a:lnTo>
                    <a:pt x="3069524" y="2323870"/>
                  </a:lnTo>
                  <a:lnTo>
                    <a:pt x="3066723" y="2359786"/>
                  </a:lnTo>
                  <a:lnTo>
                    <a:pt x="3071375" y="2390200"/>
                  </a:lnTo>
                  <a:lnTo>
                    <a:pt x="3087817" y="2362165"/>
                  </a:lnTo>
                  <a:lnTo>
                    <a:pt x="3106826" y="2384037"/>
                  </a:lnTo>
                  <a:lnTo>
                    <a:pt x="3107524" y="2358667"/>
                  </a:lnTo>
                  <a:lnTo>
                    <a:pt x="3083085" y="2320837"/>
                  </a:lnTo>
                  <a:lnTo>
                    <a:pt x="3098516" y="2266207"/>
                  </a:lnTo>
                  <a:lnTo>
                    <a:pt x="3135630" y="2278829"/>
                  </a:lnTo>
                  <a:close/>
                  <a:moveTo>
                    <a:pt x="67154" y="2032962"/>
                  </a:moveTo>
                  <a:lnTo>
                    <a:pt x="40891" y="2025304"/>
                  </a:lnTo>
                  <a:lnTo>
                    <a:pt x="6280" y="2039465"/>
                  </a:lnTo>
                  <a:lnTo>
                    <a:pt x="564" y="2058492"/>
                  </a:lnTo>
                  <a:lnTo>
                    <a:pt x="31453" y="2063368"/>
                  </a:lnTo>
                  <a:lnTo>
                    <a:pt x="77576" y="2062723"/>
                  </a:lnTo>
                  <a:lnTo>
                    <a:pt x="75563" y="2051738"/>
                  </a:lnTo>
                  <a:lnTo>
                    <a:pt x="78238" y="2039868"/>
                  </a:lnTo>
                  <a:lnTo>
                    <a:pt x="67154" y="2032962"/>
                  </a:lnTo>
                  <a:close/>
                  <a:moveTo>
                    <a:pt x="4022165" y="1137356"/>
                  </a:moveTo>
                  <a:lnTo>
                    <a:pt x="4054923" y="1132705"/>
                  </a:lnTo>
                  <a:lnTo>
                    <a:pt x="4080767" y="1114232"/>
                  </a:lnTo>
                  <a:lnTo>
                    <a:pt x="4082914" y="1103605"/>
                  </a:lnTo>
                  <a:lnTo>
                    <a:pt x="4046631" y="1081107"/>
                  </a:lnTo>
                  <a:lnTo>
                    <a:pt x="4025377" y="1080937"/>
                  </a:lnTo>
                  <a:lnTo>
                    <a:pt x="4022165" y="1084256"/>
                  </a:lnTo>
                  <a:lnTo>
                    <a:pt x="3990194" y="1116862"/>
                  </a:lnTo>
                  <a:lnTo>
                    <a:pt x="3994667" y="1141248"/>
                  </a:lnTo>
                  <a:lnTo>
                    <a:pt x="4022165" y="1137356"/>
                  </a:lnTo>
                  <a:close/>
                  <a:moveTo>
                    <a:pt x="3039252" y="895032"/>
                  </a:moveTo>
                  <a:lnTo>
                    <a:pt x="3015457" y="930053"/>
                  </a:lnTo>
                  <a:lnTo>
                    <a:pt x="3019849" y="934687"/>
                  </a:lnTo>
                  <a:lnTo>
                    <a:pt x="3071250" y="944384"/>
                  </a:lnTo>
                  <a:lnTo>
                    <a:pt x="3109277" y="943776"/>
                  </a:lnTo>
                  <a:lnTo>
                    <a:pt x="3106245" y="920795"/>
                  </a:lnTo>
                  <a:lnTo>
                    <a:pt x="3070614" y="886712"/>
                  </a:lnTo>
                  <a:lnTo>
                    <a:pt x="3039252" y="895032"/>
                  </a:lnTo>
                  <a:close/>
                  <a:moveTo>
                    <a:pt x="3259079" y="809799"/>
                  </a:moveTo>
                  <a:lnTo>
                    <a:pt x="3288071" y="771799"/>
                  </a:lnTo>
                  <a:lnTo>
                    <a:pt x="3225130" y="746080"/>
                  </a:lnTo>
                  <a:lnTo>
                    <a:pt x="3178372" y="731043"/>
                  </a:lnTo>
                  <a:lnTo>
                    <a:pt x="3172369" y="763112"/>
                  </a:lnTo>
                  <a:lnTo>
                    <a:pt x="3218984" y="801283"/>
                  </a:lnTo>
                  <a:lnTo>
                    <a:pt x="3259079" y="809799"/>
                  </a:lnTo>
                  <a:close/>
                  <a:moveTo>
                    <a:pt x="3034296" y="794645"/>
                  </a:moveTo>
                  <a:lnTo>
                    <a:pt x="3126748" y="797293"/>
                  </a:lnTo>
                  <a:lnTo>
                    <a:pt x="3146473" y="724432"/>
                  </a:lnTo>
                  <a:lnTo>
                    <a:pt x="3055810" y="670124"/>
                  </a:lnTo>
                  <a:lnTo>
                    <a:pt x="2989578" y="665544"/>
                  </a:lnTo>
                  <a:lnTo>
                    <a:pt x="2956488" y="685045"/>
                  </a:lnTo>
                  <a:lnTo>
                    <a:pt x="2943007" y="754391"/>
                  </a:lnTo>
                  <a:lnTo>
                    <a:pt x="2992699" y="817125"/>
                  </a:lnTo>
                  <a:lnTo>
                    <a:pt x="3034296" y="794645"/>
                  </a:lnTo>
                  <a:close/>
                  <a:moveTo>
                    <a:pt x="823693" y="1026754"/>
                  </a:moveTo>
                  <a:lnTo>
                    <a:pt x="798046" y="1044269"/>
                  </a:lnTo>
                  <a:lnTo>
                    <a:pt x="801714" y="1087494"/>
                  </a:lnTo>
                  <a:lnTo>
                    <a:pt x="847112" y="1108498"/>
                  </a:lnTo>
                  <a:lnTo>
                    <a:pt x="853768" y="1142652"/>
                  </a:lnTo>
                  <a:lnTo>
                    <a:pt x="935718" y="1152510"/>
                  </a:lnTo>
                  <a:lnTo>
                    <a:pt x="950531" y="1145863"/>
                  </a:lnTo>
                  <a:lnTo>
                    <a:pt x="902557" y="1082297"/>
                  </a:lnTo>
                  <a:lnTo>
                    <a:pt x="897458" y="1015062"/>
                  </a:lnTo>
                  <a:lnTo>
                    <a:pt x="936773" y="933274"/>
                  </a:lnTo>
                  <a:lnTo>
                    <a:pt x="974157" y="845438"/>
                  </a:lnTo>
                  <a:lnTo>
                    <a:pt x="1052072" y="754480"/>
                  </a:lnTo>
                  <a:lnTo>
                    <a:pt x="1128672" y="706729"/>
                  </a:lnTo>
                  <a:lnTo>
                    <a:pt x="1217545" y="655382"/>
                  </a:lnTo>
                  <a:lnTo>
                    <a:pt x="1234399" y="622230"/>
                  </a:lnTo>
                  <a:lnTo>
                    <a:pt x="1216964" y="579050"/>
                  </a:lnTo>
                  <a:lnTo>
                    <a:pt x="1168149" y="593398"/>
                  </a:lnTo>
                  <a:lnTo>
                    <a:pt x="1125192" y="633582"/>
                  </a:lnTo>
                  <a:lnTo>
                    <a:pt x="1041713" y="653458"/>
                  </a:lnTo>
                  <a:lnTo>
                    <a:pt x="958904" y="719736"/>
                  </a:lnTo>
                  <a:lnTo>
                    <a:pt x="902807" y="772058"/>
                  </a:lnTo>
                  <a:lnTo>
                    <a:pt x="909597" y="815623"/>
                  </a:lnTo>
                  <a:lnTo>
                    <a:pt x="849545" y="896391"/>
                  </a:lnTo>
                  <a:lnTo>
                    <a:pt x="872607" y="907305"/>
                  </a:lnTo>
                  <a:lnTo>
                    <a:pt x="822852" y="981293"/>
                  </a:lnTo>
                  <a:lnTo>
                    <a:pt x="823693" y="1026754"/>
                  </a:lnTo>
                  <a:close/>
                  <a:moveTo>
                    <a:pt x="2142922" y="418943"/>
                  </a:moveTo>
                  <a:lnTo>
                    <a:pt x="2150374" y="367775"/>
                  </a:lnTo>
                  <a:lnTo>
                    <a:pt x="2086797" y="293143"/>
                  </a:lnTo>
                  <a:lnTo>
                    <a:pt x="2067958" y="284331"/>
                  </a:lnTo>
                  <a:lnTo>
                    <a:pt x="2047348" y="299503"/>
                  </a:lnTo>
                  <a:lnTo>
                    <a:pt x="2001529" y="465925"/>
                  </a:lnTo>
                  <a:lnTo>
                    <a:pt x="2142922" y="418943"/>
                  </a:lnTo>
                  <a:close/>
                  <a:moveTo>
                    <a:pt x="673811" y="156724"/>
                  </a:moveTo>
                  <a:lnTo>
                    <a:pt x="700979" y="191397"/>
                  </a:lnTo>
                  <a:lnTo>
                    <a:pt x="730293" y="167306"/>
                  </a:lnTo>
                  <a:lnTo>
                    <a:pt x="733791" y="142984"/>
                  </a:lnTo>
                  <a:lnTo>
                    <a:pt x="756343" y="131605"/>
                  </a:lnTo>
                  <a:lnTo>
                    <a:pt x="790013" y="111612"/>
                  </a:lnTo>
                  <a:lnTo>
                    <a:pt x="799719" y="88139"/>
                  </a:lnTo>
                  <a:lnTo>
                    <a:pt x="762515" y="53725"/>
                  </a:lnTo>
                  <a:lnTo>
                    <a:pt x="738872" y="79694"/>
                  </a:lnTo>
                  <a:lnTo>
                    <a:pt x="724469" y="116594"/>
                  </a:lnTo>
                  <a:lnTo>
                    <a:pt x="719344" y="75007"/>
                  </a:lnTo>
                  <a:lnTo>
                    <a:pt x="681236" y="76894"/>
                  </a:lnTo>
                  <a:lnTo>
                    <a:pt x="632268" y="105090"/>
                  </a:lnTo>
                  <a:lnTo>
                    <a:pt x="688088" y="109751"/>
                  </a:lnTo>
                  <a:lnTo>
                    <a:pt x="673811" y="156724"/>
                  </a:lnTo>
                  <a:close/>
                  <a:moveTo>
                    <a:pt x="1847899" y="273427"/>
                  </a:moveTo>
                  <a:lnTo>
                    <a:pt x="1889522" y="324685"/>
                  </a:lnTo>
                  <a:lnTo>
                    <a:pt x="1959387" y="362274"/>
                  </a:lnTo>
                  <a:lnTo>
                    <a:pt x="2014115" y="346145"/>
                  </a:lnTo>
                  <a:lnTo>
                    <a:pt x="2020297" y="224280"/>
                  </a:lnTo>
                  <a:lnTo>
                    <a:pt x="1962545" y="80794"/>
                  </a:lnTo>
                  <a:lnTo>
                    <a:pt x="1913810" y="79"/>
                  </a:lnTo>
                  <a:lnTo>
                    <a:pt x="1859555" y="36836"/>
                  </a:lnTo>
                  <a:lnTo>
                    <a:pt x="1794432" y="142697"/>
                  </a:lnTo>
                  <a:lnTo>
                    <a:pt x="1828648" y="171949"/>
                  </a:lnTo>
                  <a:lnTo>
                    <a:pt x="1847899" y="27342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/>
            <p:cNvSpPr/>
            <p:nvPr/>
          </p:nvSpPr>
          <p:spPr>
            <a:xfrm>
              <a:off x="6565690" y="4689376"/>
              <a:ext cx="44924" cy="44459"/>
            </a:xfrm>
            <a:custGeom>
              <a:avLst/>
              <a:gdLst>
                <a:gd name="connsiteX0" fmla="*/ 35438 w 44924"/>
                <a:gd name="connsiteY0" fmla="*/ 191 h 44459"/>
                <a:gd name="connsiteX1" fmla="*/ 45402 w 44924"/>
                <a:gd name="connsiteY1" fmla="*/ 14263 h 44459"/>
                <a:gd name="connsiteX2" fmla="*/ 43953 w 44924"/>
                <a:gd name="connsiteY2" fmla="*/ 28924 h 44459"/>
                <a:gd name="connsiteX3" fmla="*/ 36716 w 44924"/>
                <a:gd name="connsiteY3" fmla="*/ 32082 h 44459"/>
                <a:gd name="connsiteX4" fmla="*/ 23388 w 44924"/>
                <a:gd name="connsiteY4" fmla="*/ 30454 h 44459"/>
                <a:gd name="connsiteX5" fmla="*/ 15703 w 44924"/>
                <a:gd name="connsiteY5" fmla="*/ 44651 h 44459"/>
                <a:gd name="connsiteX6" fmla="*/ 478 w 44924"/>
                <a:gd name="connsiteY6" fmla="*/ 42691 h 44459"/>
                <a:gd name="connsiteX7" fmla="*/ 2795 w 44924"/>
                <a:gd name="connsiteY7" fmla="*/ 29049 h 44459"/>
                <a:gd name="connsiteX8" fmla="*/ 6239 w 44924"/>
                <a:gd name="connsiteY8" fmla="*/ 27126 h 44459"/>
                <a:gd name="connsiteX9" fmla="*/ 7169 w 44924"/>
                <a:gd name="connsiteY9" fmla="*/ 12295 h 44459"/>
                <a:gd name="connsiteX10" fmla="*/ 14380 w 44924"/>
                <a:gd name="connsiteY10" fmla="*/ 5344 h 44459"/>
                <a:gd name="connsiteX11" fmla="*/ 20453 w 44924"/>
                <a:gd name="connsiteY11" fmla="*/ 7884 h 4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24" h="44459">
                  <a:moveTo>
                    <a:pt x="35438" y="191"/>
                  </a:moveTo>
                  <a:lnTo>
                    <a:pt x="45402" y="14263"/>
                  </a:lnTo>
                  <a:lnTo>
                    <a:pt x="43953" y="28924"/>
                  </a:lnTo>
                  <a:lnTo>
                    <a:pt x="36716" y="32082"/>
                  </a:lnTo>
                  <a:lnTo>
                    <a:pt x="23388" y="30454"/>
                  </a:lnTo>
                  <a:lnTo>
                    <a:pt x="15703" y="44651"/>
                  </a:lnTo>
                  <a:lnTo>
                    <a:pt x="478" y="42691"/>
                  </a:lnTo>
                  <a:lnTo>
                    <a:pt x="2795" y="29049"/>
                  </a:lnTo>
                  <a:lnTo>
                    <a:pt x="6239" y="27126"/>
                  </a:lnTo>
                  <a:lnTo>
                    <a:pt x="7169" y="12295"/>
                  </a:lnTo>
                  <a:lnTo>
                    <a:pt x="14380" y="5344"/>
                  </a:lnTo>
                  <a:lnTo>
                    <a:pt x="20453" y="788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/>
            <p:cNvSpPr/>
            <p:nvPr/>
          </p:nvSpPr>
          <p:spPr>
            <a:xfrm>
              <a:off x="6706331" y="3813539"/>
              <a:ext cx="527578" cy="434563"/>
            </a:xfrm>
            <a:custGeom>
              <a:avLst/>
              <a:gdLst>
                <a:gd name="connsiteX0" fmla="*/ 204838 w 527578"/>
                <a:gd name="connsiteY0" fmla="*/ 434724 h 434563"/>
                <a:gd name="connsiteX1" fmla="*/ 201582 w 527578"/>
                <a:gd name="connsiteY1" fmla="*/ 423632 h 434563"/>
                <a:gd name="connsiteX2" fmla="*/ 194014 w 527578"/>
                <a:gd name="connsiteY2" fmla="*/ 415777 h 434563"/>
                <a:gd name="connsiteX3" fmla="*/ 192082 w 527578"/>
                <a:gd name="connsiteY3" fmla="*/ 405365 h 434563"/>
                <a:gd name="connsiteX4" fmla="*/ 179128 w 527578"/>
                <a:gd name="connsiteY4" fmla="*/ 395990 h 434563"/>
                <a:gd name="connsiteX5" fmla="*/ 165764 w 527578"/>
                <a:gd name="connsiteY5" fmla="*/ 373975 h 434563"/>
                <a:gd name="connsiteX6" fmla="*/ 158688 w 527578"/>
                <a:gd name="connsiteY6" fmla="*/ 352479 h 434563"/>
                <a:gd name="connsiteX7" fmla="*/ 141343 w 527578"/>
                <a:gd name="connsiteY7" fmla="*/ 334239 h 434563"/>
                <a:gd name="connsiteX8" fmla="*/ 130152 w 527578"/>
                <a:gd name="connsiteY8" fmla="*/ 329874 h 434563"/>
                <a:gd name="connsiteX9" fmla="*/ 113540 w 527578"/>
                <a:gd name="connsiteY9" fmla="*/ 304451 h 434563"/>
                <a:gd name="connsiteX10" fmla="*/ 110642 w 527578"/>
                <a:gd name="connsiteY10" fmla="*/ 285808 h 434563"/>
                <a:gd name="connsiteX11" fmla="*/ 111706 w 527578"/>
                <a:gd name="connsiteY11" fmla="*/ 269831 h 434563"/>
                <a:gd name="connsiteX12" fmla="*/ 97322 w 527578"/>
                <a:gd name="connsiteY12" fmla="*/ 239757 h 434563"/>
                <a:gd name="connsiteX13" fmla="*/ 85559 w 527578"/>
                <a:gd name="connsiteY13" fmla="*/ 229111 h 434563"/>
                <a:gd name="connsiteX14" fmla="*/ 72015 w 527578"/>
                <a:gd name="connsiteY14" fmla="*/ 223458 h 434563"/>
                <a:gd name="connsiteX15" fmla="*/ 63767 w 527578"/>
                <a:gd name="connsiteY15" fmla="*/ 207741 h 434563"/>
                <a:gd name="connsiteX16" fmla="*/ 65136 w 527578"/>
                <a:gd name="connsiteY16" fmla="*/ 201524 h 434563"/>
                <a:gd name="connsiteX17" fmla="*/ 58168 w 527578"/>
                <a:gd name="connsiteY17" fmla="*/ 187211 h 434563"/>
                <a:gd name="connsiteX18" fmla="*/ 50841 w 527578"/>
                <a:gd name="connsiteY18" fmla="*/ 181029 h 434563"/>
                <a:gd name="connsiteX19" fmla="*/ 41046 w 527578"/>
                <a:gd name="connsiteY19" fmla="*/ 160348 h 434563"/>
                <a:gd name="connsiteX20" fmla="*/ 25776 w 527578"/>
                <a:gd name="connsiteY20" fmla="*/ 137778 h 434563"/>
                <a:gd name="connsiteX21" fmla="*/ 12984 w 527578"/>
                <a:gd name="connsiteY21" fmla="*/ 118420 h 434563"/>
                <a:gd name="connsiteX22" fmla="*/ 496 w 527578"/>
                <a:gd name="connsiteY22" fmla="*/ 118554 h 434563"/>
                <a:gd name="connsiteX23" fmla="*/ 4396 w 527578"/>
                <a:gd name="connsiteY23" fmla="*/ 102998 h 434563"/>
                <a:gd name="connsiteX24" fmla="*/ 5505 w 527578"/>
                <a:gd name="connsiteY24" fmla="*/ 93033 h 434563"/>
                <a:gd name="connsiteX25" fmla="*/ 8619 w 527578"/>
                <a:gd name="connsiteY25" fmla="*/ 81627 h 434563"/>
                <a:gd name="connsiteX26" fmla="*/ 36528 w 527578"/>
                <a:gd name="connsiteY26" fmla="*/ 86172 h 434563"/>
                <a:gd name="connsiteX27" fmla="*/ 47370 w 527578"/>
                <a:gd name="connsiteY27" fmla="*/ 77369 h 434563"/>
                <a:gd name="connsiteX28" fmla="*/ 53373 w 527578"/>
                <a:gd name="connsiteY28" fmla="*/ 67019 h 434563"/>
                <a:gd name="connsiteX29" fmla="*/ 72507 w 527578"/>
                <a:gd name="connsiteY29" fmla="*/ 63038 h 434563"/>
                <a:gd name="connsiteX30" fmla="*/ 76640 w 527578"/>
                <a:gd name="connsiteY30" fmla="*/ 53368 h 434563"/>
                <a:gd name="connsiteX31" fmla="*/ 84933 w 527578"/>
                <a:gd name="connsiteY31" fmla="*/ 48457 h 434563"/>
                <a:gd name="connsiteX32" fmla="*/ 59930 w 527578"/>
                <a:gd name="connsiteY32" fmla="*/ 19331 h 434563"/>
                <a:gd name="connsiteX33" fmla="*/ 110168 w 527578"/>
                <a:gd name="connsiteY33" fmla="*/ 4606 h 434563"/>
                <a:gd name="connsiteX34" fmla="*/ 114945 w 527578"/>
                <a:gd name="connsiteY34" fmla="*/ 160 h 434563"/>
                <a:gd name="connsiteX35" fmla="*/ 145154 w 527578"/>
                <a:gd name="connsiteY35" fmla="*/ 8140 h 434563"/>
                <a:gd name="connsiteX36" fmla="*/ 182528 w 527578"/>
                <a:gd name="connsiteY36" fmla="*/ 28643 h 434563"/>
                <a:gd name="connsiteX37" fmla="*/ 253251 w 527578"/>
                <a:gd name="connsiteY37" fmla="*/ 86708 h 434563"/>
                <a:gd name="connsiteX38" fmla="*/ 299884 w 527578"/>
                <a:gd name="connsiteY38" fmla="*/ 88989 h 434563"/>
                <a:gd name="connsiteX39" fmla="*/ 322230 w 527578"/>
                <a:gd name="connsiteY39" fmla="*/ 91744 h 434563"/>
                <a:gd name="connsiteX40" fmla="*/ 328474 w 527578"/>
                <a:gd name="connsiteY40" fmla="*/ 105306 h 434563"/>
                <a:gd name="connsiteX41" fmla="*/ 346213 w 527578"/>
                <a:gd name="connsiteY41" fmla="*/ 104572 h 434563"/>
                <a:gd name="connsiteX42" fmla="*/ 356035 w 527578"/>
                <a:gd name="connsiteY42" fmla="*/ 128967 h 434563"/>
                <a:gd name="connsiteX43" fmla="*/ 368371 w 527578"/>
                <a:gd name="connsiteY43" fmla="*/ 135399 h 434563"/>
                <a:gd name="connsiteX44" fmla="*/ 372673 w 527578"/>
                <a:gd name="connsiteY44" fmla="*/ 145256 h 434563"/>
                <a:gd name="connsiteX45" fmla="*/ 389768 w 527578"/>
                <a:gd name="connsiteY45" fmla="*/ 157011 h 434563"/>
                <a:gd name="connsiteX46" fmla="*/ 391289 w 527578"/>
                <a:gd name="connsiteY46" fmla="*/ 168515 h 434563"/>
                <a:gd name="connsiteX47" fmla="*/ 388793 w 527578"/>
                <a:gd name="connsiteY47" fmla="*/ 177764 h 434563"/>
                <a:gd name="connsiteX48" fmla="*/ 391960 w 527578"/>
                <a:gd name="connsiteY48" fmla="*/ 187077 h 434563"/>
                <a:gd name="connsiteX49" fmla="*/ 399170 w 527578"/>
                <a:gd name="connsiteY49" fmla="*/ 194815 h 434563"/>
                <a:gd name="connsiteX50" fmla="*/ 402515 w 527578"/>
                <a:gd name="connsiteY50" fmla="*/ 203858 h 434563"/>
                <a:gd name="connsiteX51" fmla="*/ 406264 w 527578"/>
                <a:gd name="connsiteY51" fmla="*/ 210594 h 434563"/>
                <a:gd name="connsiteX52" fmla="*/ 413841 w 527578"/>
                <a:gd name="connsiteY52" fmla="*/ 216042 h 434563"/>
                <a:gd name="connsiteX53" fmla="*/ 420800 w 527578"/>
                <a:gd name="connsiteY53" fmla="*/ 214092 h 434563"/>
                <a:gd name="connsiteX54" fmla="*/ 425559 w 527578"/>
                <a:gd name="connsiteY54" fmla="*/ 224558 h 434563"/>
                <a:gd name="connsiteX55" fmla="*/ 426516 w 527578"/>
                <a:gd name="connsiteY55" fmla="*/ 230874 h 434563"/>
                <a:gd name="connsiteX56" fmla="*/ 436133 w 527578"/>
                <a:gd name="connsiteY56" fmla="*/ 258426 h 434563"/>
                <a:gd name="connsiteX57" fmla="*/ 511525 w 527578"/>
                <a:gd name="connsiteY57" fmla="*/ 272059 h 434563"/>
                <a:gd name="connsiteX58" fmla="*/ 516580 w 527578"/>
                <a:gd name="connsiteY58" fmla="*/ 266352 h 434563"/>
                <a:gd name="connsiteX59" fmla="*/ 528074 w 527578"/>
                <a:gd name="connsiteY59" fmla="*/ 285450 h 434563"/>
                <a:gd name="connsiteX60" fmla="*/ 511356 w 527578"/>
                <a:gd name="connsiteY60" fmla="*/ 338873 h 434563"/>
                <a:gd name="connsiteX61" fmla="*/ 436115 w 527578"/>
                <a:gd name="connsiteY61" fmla="*/ 365325 h 434563"/>
                <a:gd name="connsiteX62" fmla="*/ 363790 w 527578"/>
                <a:gd name="connsiteY62" fmla="*/ 375424 h 434563"/>
                <a:gd name="connsiteX63" fmla="*/ 340380 w 527578"/>
                <a:gd name="connsiteY63" fmla="*/ 387241 h 434563"/>
                <a:gd name="connsiteX64" fmla="*/ 322409 w 527578"/>
                <a:gd name="connsiteY64" fmla="*/ 414713 h 434563"/>
                <a:gd name="connsiteX65" fmla="*/ 310699 w 527578"/>
                <a:gd name="connsiteY65" fmla="*/ 419060 h 434563"/>
                <a:gd name="connsiteX66" fmla="*/ 304428 w 527578"/>
                <a:gd name="connsiteY66" fmla="*/ 410365 h 434563"/>
                <a:gd name="connsiteX67" fmla="*/ 294812 w 527578"/>
                <a:gd name="connsiteY67" fmla="*/ 411671 h 434563"/>
                <a:gd name="connsiteX68" fmla="*/ 270569 w 527578"/>
                <a:gd name="connsiteY68" fmla="*/ 409059 h 434563"/>
                <a:gd name="connsiteX69" fmla="*/ 265971 w 527578"/>
                <a:gd name="connsiteY69" fmla="*/ 406447 h 434563"/>
                <a:gd name="connsiteX70" fmla="*/ 237024 w 527578"/>
                <a:gd name="connsiteY70" fmla="*/ 407047 h 434563"/>
                <a:gd name="connsiteX71" fmla="*/ 230225 w 527578"/>
                <a:gd name="connsiteY71" fmla="*/ 409408 h 434563"/>
                <a:gd name="connsiteX72" fmla="*/ 219920 w 527578"/>
                <a:gd name="connsiteY72" fmla="*/ 402610 h 434563"/>
                <a:gd name="connsiteX73" fmla="*/ 213282 w 527578"/>
                <a:gd name="connsiteY73" fmla="*/ 415446 h 434563"/>
                <a:gd name="connsiteX74" fmla="*/ 215850 w 527578"/>
                <a:gd name="connsiteY74" fmla="*/ 426431 h 434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27578" h="434563">
                  <a:moveTo>
                    <a:pt x="204838" y="434724"/>
                  </a:moveTo>
                  <a:lnTo>
                    <a:pt x="201582" y="423632"/>
                  </a:lnTo>
                  <a:lnTo>
                    <a:pt x="194014" y="415777"/>
                  </a:lnTo>
                  <a:lnTo>
                    <a:pt x="192082" y="405365"/>
                  </a:lnTo>
                  <a:lnTo>
                    <a:pt x="179128" y="395990"/>
                  </a:lnTo>
                  <a:lnTo>
                    <a:pt x="165764" y="373975"/>
                  </a:lnTo>
                  <a:lnTo>
                    <a:pt x="158688" y="352479"/>
                  </a:lnTo>
                  <a:lnTo>
                    <a:pt x="141343" y="334239"/>
                  </a:lnTo>
                  <a:lnTo>
                    <a:pt x="130152" y="329874"/>
                  </a:lnTo>
                  <a:lnTo>
                    <a:pt x="113540" y="304451"/>
                  </a:lnTo>
                  <a:lnTo>
                    <a:pt x="110642" y="285808"/>
                  </a:lnTo>
                  <a:lnTo>
                    <a:pt x="111706" y="269831"/>
                  </a:lnTo>
                  <a:lnTo>
                    <a:pt x="97322" y="239757"/>
                  </a:lnTo>
                  <a:lnTo>
                    <a:pt x="85559" y="229111"/>
                  </a:lnTo>
                  <a:lnTo>
                    <a:pt x="72015" y="223458"/>
                  </a:lnTo>
                  <a:lnTo>
                    <a:pt x="63767" y="207741"/>
                  </a:lnTo>
                  <a:lnTo>
                    <a:pt x="65136" y="201524"/>
                  </a:lnTo>
                  <a:lnTo>
                    <a:pt x="58168" y="187211"/>
                  </a:lnTo>
                  <a:lnTo>
                    <a:pt x="50841" y="181029"/>
                  </a:lnTo>
                  <a:lnTo>
                    <a:pt x="41046" y="160348"/>
                  </a:lnTo>
                  <a:lnTo>
                    <a:pt x="25776" y="137778"/>
                  </a:lnTo>
                  <a:lnTo>
                    <a:pt x="12984" y="118420"/>
                  </a:lnTo>
                  <a:lnTo>
                    <a:pt x="496" y="118554"/>
                  </a:lnTo>
                  <a:lnTo>
                    <a:pt x="4396" y="102998"/>
                  </a:lnTo>
                  <a:lnTo>
                    <a:pt x="5505" y="93033"/>
                  </a:lnTo>
                  <a:lnTo>
                    <a:pt x="8619" y="81627"/>
                  </a:lnTo>
                  <a:lnTo>
                    <a:pt x="36528" y="86172"/>
                  </a:lnTo>
                  <a:lnTo>
                    <a:pt x="47370" y="77369"/>
                  </a:lnTo>
                  <a:lnTo>
                    <a:pt x="53373" y="67019"/>
                  </a:lnTo>
                  <a:lnTo>
                    <a:pt x="72507" y="63038"/>
                  </a:lnTo>
                  <a:lnTo>
                    <a:pt x="76640" y="53368"/>
                  </a:lnTo>
                  <a:lnTo>
                    <a:pt x="84933" y="48457"/>
                  </a:lnTo>
                  <a:lnTo>
                    <a:pt x="59930" y="19331"/>
                  </a:lnTo>
                  <a:lnTo>
                    <a:pt x="110168" y="4606"/>
                  </a:lnTo>
                  <a:lnTo>
                    <a:pt x="114945" y="160"/>
                  </a:lnTo>
                  <a:lnTo>
                    <a:pt x="145154" y="8140"/>
                  </a:lnTo>
                  <a:lnTo>
                    <a:pt x="182528" y="28643"/>
                  </a:lnTo>
                  <a:lnTo>
                    <a:pt x="253251" y="86708"/>
                  </a:lnTo>
                  <a:lnTo>
                    <a:pt x="299884" y="88989"/>
                  </a:lnTo>
                  <a:lnTo>
                    <a:pt x="322230" y="91744"/>
                  </a:lnTo>
                  <a:lnTo>
                    <a:pt x="328474" y="105306"/>
                  </a:lnTo>
                  <a:lnTo>
                    <a:pt x="346213" y="104572"/>
                  </a:lnTo>
                  <a:lnTo>
                    <a:pt x="356035" y="128967"/>
                  </a:lnTo>
                  <a:lnTo>
                    <a:pt x="368371" y="135399"/>
                  </a:lnTo>
                  <a:lnTo>
                    <a:pt x="372673" y="145256"/>
                  </a:lnTo>
                  <a:lnTo>
                    <a:pt x="389768" y="157011"/>
                  </a:lnTo>
                  <a:lnTo>
                    <a:pt x="391289" y="168515"/>
                  </a:lnTo>
                  <a:lnTo>
                    <a:pt x="388793" y="177764"/>
                  </a:lnTo>
                  <a:lnTo>
                    <a:pt x="391960" y="187077"/>
                  </a:lnTo>
                  <a:lnTo>
                    <a:pt x="399170" y="194815"/>
                  </a:lnTo>
                  <a:lnTo>
                    <a:pt x="402515" y="203858"/>
                  </a:lnTo>
                  <a:lnTo>
                    <a:pt x="406264" y="210594"/>
                  </a:lnTo>
                  <a:lnTo>
                    <a:pt x="413841" y="216042"/>
                  </a:lnTo>
                  <a:lnTo>
                    <a:pt x="420800" y="214092"/>
                  </a:lnTo>
                  <a:lnTo>
                    <a:pt x="425559" y="224558"/>
                  </a:lnTo>
                  <a:lnTo>
                    <a:pt x="426516" y="230874"/>
                  </a:lnTo>
                  <a:lnTo>
                    <a:pt x="436133" y="258426"/>
                  </a:lnTo>
                  <a:lnTo>
                    <a:pt x="511525" y="272059"/>
                  </a:lnTo>
                  <a:lnTo>
                    <a:pt x="516580" y="266352"/>
                  </a:lnTo>
                  <a:lnTo>
                    <a:pt x="528074" y="285450"/>
                  </a:lnTo>
                  <a:lnTo>
                    <a:pt x="511356" y="338873"/>
                  </a:lnTo>
                  <a:lnTo>
                    <a:pt x="436115" y="365325"/>
                  </a:lnTo>
                  <a:lnTo>
                    <a:pt x="363790" y="375424"/>
                  </a:lnTo>
                  <a:lnTo>
                    <a:pt x="340380" y="387241"/>
                  </a:lnTo>
                  <a:lnTo>
                    <a:pt x="322409" y="414713"/>
                  </a:lnTo>
                  <a:lnTo>
                    <a:pt x="310699" y="419060"/>
                  </a:lnTo>
                  <a:lnTo>
                    <a:pt x="304428" y="410365"/>
                  </a:lnTo>
                  <a:lnTo>
                    <a:pt x="294812" y="411671"/>
                  </a:lnTo>
                  <a:lnTo>
                    <a:pt x="270569" y="409059"/>
                  </a:lnTo>
                  <a:lnTo>
                    <a:pt x="265971" y="406447"/>
                  </a:lnTo>
                  <a:lnTo>
                    <a:pt x="237024" y="407047"/>
                  </a:lnTo>
                  <a:lnTo>
                    <a:pt x="230225" y="409408"/>
                  </a:lnTo>
                  <a:lnTo>
                    <a:pt x="219920" y="402610"/>
                  </a:lnTo>
                  <a:lnTo>
                    <a:pt x="213282" y="415446"/>
                  </a:lnTo>
                  <a:lnTo>
                    <a:pt x="215850" y="42643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/>
            <p:cNvSpPr/>
            <p:nvPr/>
          </p:nvSpPr>
          <p:spPr>
            <a:xfrm>
              <a:off x="9762775" y="4825902"/>
              <a:ext cx="148172" cy="106576"/>
            </a:xfrm>
            <a:custGeom>
              <a:avLst/>
              <a:gdLst>
                <a:gd name="connsiteX0" fmla="*/ 141786 w 148172"/>
                <a:gd name="connsiteY0" fmla="*/ 98063 h 106576"/>
                <a:gd name="connsiteX1" fmla="*/ 148800 w 148172"/>
                <a:gd name="connsiteY1" fmla="*/ 106776 h 106576"/>
                <a:gd name="connsiteX2" fmla="*/ 131276 w 148172"/>
                <a:gd name="connsiteY2" fmla="*/ 106615 h 106576"/>
                <a:gd name="connsiteX3" fmla="*/ 121749 w 148172"/>
                <a:gd name="connsiteY3" fmla="*/ 91023 h 106576"/>
                <a:gd name="connsiteX4" fmla="*/ 136732 w 148172"/>
                <a:gd name="connsiteY4" fmla="*/ 97150 h 106576"/>
                <a:gd name="connsiteX5" fmla="*/ 141786 w 148172"/>
                <a:gd name="connsiteY5" fmla="*/ 98063 h 106576"/>
                <a:gd name="connsiteX6" fmla="*/ 110012 w 148172"/>
                <a:gd name="connsiteY6" fmla="*/ 82623 h 106576"/>
                <a:gd name="connsiteX7" fmla="*/ 100235 w 148172"/>
                <a:gd name="connsiteY7" fmla="*/ 83187 h 106576"/>
                <a:gd name="connsiteX8" fmla="*/ 84858 w 148172"/>
                <a:gd name="connsiteY8" fmla="*/ 80628 h 106576"/>
                <a:gd name="connsiteX9" fmla="*/ 79606 w 148172"/>
                <a:gd name="connsiteY9" fmla="*/ 76728 h 106576"/>
                <a:gd name="connsiteX10" fmla="*/ 81181 w 148172"/>
                <a:gd name="connsiteY10" fmla="*/ 66700 h 106576"/>
                <a:gd name="connsiteX11" fmla="*/ 97739 w 148172"/>
                <a:gd name="connsiteY11" fmla="*/ 70672 h 106576"/>
                <a:gd name="connsiteX12" fmla="*/ 105906 w 148172"/>
                <a:gd name="connsiteY12" fmla="*/ 75977 h 106576"/>
                <a:gd name="connsiteX13" fmla="*/ 110012 w 148172"/>
                <a:gd name="connsiteY13" fmla="*/ 82623 h 106576"/>
                <a:gd name="connsiteX14" fmla="*/ 130775 w 148172"/>
                <a:gd name="connsiteY14" fmla="*/ 75726 h 106576"/>
                <a:gd name="connsiteX15" fmla="*/ 126991 w 148172"/>
                <a:gd name="connsiteY15" fmla="*/ 80386 h 106576"/>
                <a:gd name="connsiteX16" fmla="*/ 108402 w 148172"/>
                <a:gd name="connsiteY16" fmla="*/ 58497 h 106576"/>
                <a:gd name="connsiteX17" fmla="*/ 103187 w 148172"/>
                <a:gd name="connsiteY17" fmla="*/ 43442 h 106576"/>
                <a:gd name="connsiteX18" fmla="*/ 111712 w 148172"/>
                <a:gd name="connsiteY18" fmla="*/ 43442 h 106576"/>
                <a:gd name="connsiteX19" fmla="*/ 120738 w 148172"/>
                <a:gd name="connsiteY19" fmla="*/ 63605 h 106576"/>
                <a:gd name="connsiteX20" fmla="*/ 130775 w 148172"/>
                <a:gd name="connsiteY20" fmla="*/ 75726 h 106576"/>
                <a:gd name="connsiteX21" fmla="*/ 85501 w 148172"/>
                <a:gd name="connsiteY21" fmla="*/ 43871 h 106576"/>
                <a:gd name="connsiteX22" fmla="*/ 86566 w 148172"/>
                <a:gd name="connsiteY22" fmla="*/ 48934 h 106576"/>
                <a:gd name="connsiteX23" fmla="*/ 66913 w 148172"/>
                <a:gd name="connsiteY23" fmla="*/ 38253 h 106576"/>
                <a:gd name="connsiteX24" fmla="*/ 53182 w 148172"/>
                <a:gd name="connsiteY24" fmla="*/ 29218 h 106576"/>
                <a:gd name="connsiteX25" fmla="*/ 43771 w 148172"/>
                <a:gd name="connsiteY25" fmla="*/ 20845 h 106576"/>
                <a:gd name="connsiteX26" fmla="*/ 47510 w 148172"/>
                <a:gd name="connsiteY26" fmla="*/ 18287 h 106576"/>
                <a:gd name="connsiteX27" fmla="*/ 59041 w 148172"/>
                <a:gd name="connsiteY27" fmla="*/ 24316 h 106576"/>
                <a:gd name="connsiteX28" fmla="*/ 79616 w 148172"/>
                <a:gd name="connsiteY28" fmla="*/ 35883 h 106576"/>
                <a:gd name="connsiteX29" fmla="*/ 85501 w 148172"/>
                <a:gd name="connsiteY29" fmla="*/ 43871 h 106576"/>
                <a:gd name="connsiteX30" fmla="*/ 26900 w 148172"/>
                <a:gd name="connsiteY30" fmla="*/ 18985 h 106576"/>
                <a:gd name="connsiteX31" fmla="*/ 21899 w 148172"/>
                <a:gd name="connsiteY31" fmla="*/ 20416 h 106576"/>
                <a:gd name="connsiteX32" fmla="*/ 10932 w 148172"/>
                <a:gd name="connsiteY32" fmla="*/ 14691 h 106576"/>
                <a:gd name="connsiteX33" fmla="*/ 627 w 148172"/>
                <a:gd name="connsiteY33" fmla="*/ 4376 h 106576"/>
                <a:gd name="connsiteX34" fmla="*/ 1924 w 148172"/>
                <a:gd name="connsiteY34" fmla="*/ 199 h 106576"/>
                <a:gd name="connsiteX35" fmla="*/ 16908 w 148172"/>
                <a:gd name="connsiteY35" fmla="*/ 10800 h 106576"/>
                <a:gd name="connsiteX36" fmla="*/ 26900 w 148172"/>
                <a:gd name="connsiteY36" fmla="*/ 18985 h 10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8172" h="106576">
                  <a:moveTo>
                    <a:pt x="141786" y="98063"/>
                  </a:moveTo>
                  <a:lnTo>
                    <a:pt x="148800" y="106776"/>
                  </a:lnTo>
                  <a:lnTo>
                    <a:pt x="131276" y="106615"/>
                  </a:lnTo>
                  <a:lnTo>
                    <a:pt x="121749" y="91023"/>
                  </a:lnTo>
                  <a:lnTo>
                    <a:pt x="136732" y="97150"/>
                  </a:lnTo>
                  <a:lnTo>
                    <a:pt x="141786" y="98063"/>
                  </a:lnTo>
                  <a:close/>
                  <a:moveTo>
                    <a:pt x="110012" y="82623"/>
                  </a:moveTo>
                  <a:lnTo>
                    <a:pt x="100235" y="83187"/>
                  </a:lnTo>
                  <a:lnTo>
                    <a:pt x="84858" y="80628"/>
                  </a:lnTo>
                  <a:lnTo>
                    <a:pt x="79606" y="76728"/>
                  </a:lnTo>
                  <a:lnTo>
                    <a:pt x="81181" y="66700"/>
                  </a:lnTo>
                  <a:lnTo>
                    <a:pt x="97739" y="70672"/>
                  </a:lnTo>
                  <a:lnTo>
                    <a:pt x="105906" y="75977"/>
                  </a:lnTo>
                  <a:lnTo>
                    <a:pt x="110012" y="82623"/>
                  </a:lnTo>
                  <a:close/>
                  <a:moveTo>
                    <a:pt x="130775" y="75726"/>
                  </a:moveTo>
                  <a:lnTo>
                    <a:pt x="126991" y="80386"/>
                  </a:lnTo>
                  <a:lnTo>
                    <a:pt x="108402" y="58497"/>
                  </a:lnTo>
                  <a:lnTo>
                    <a:pt x="103187" y="43442"/>
                  </a:lnTo>
                  <a:lnTo>
                    <a:pt x="111712" y="43442"/>
                  </a:lnTo>
                  <a:lnTo>
                    <a:pt x="120738" y="63605"/>
                  </a:lnTo>
                  <a:lnTo>
                    <a:pt x="130775" y="75726"/>
                  </a:lnTo>
                  <a:close/>
                  <a:moveTo>
                    <a:pt x="85501" y="43871"/>
                  </a:moveTo>
                  <a:lnTo>
                    <a:pt x="86566" y="48934"/>
                  </a:lnTo>
                  <a:lnTo>
                    <a:pt x="66913" y="38253"/>
                  </a:lnTo>
                  <a:lnTo>
                    <a:pt x="53182" y="29218"/>
                  </a:lnTo>
                  <a:lnTo>
                    <a:pt x="43771" y="20845"/>
                  </a:lnTo>
                  <a:lnTo>
                    <a:pt x="47510" y="18287"/>
                  </a:lnTo>
                  <a:lnTo>
                    <a:pt x="59041" y="24316"/>
                  </a:lnTo>
                  <a:lnTo>
                    <a:pt x="79616" y="35883"/>
                  </a:lnTo>
                  <a:lnTo>
                    <a:pt x="85501" y="43871"/>
                  </a:lnTo>
                  <a:close/>
                  <a:moveTo>
                    <a:pt x="26900" y="18985"/>
                  </a:moveTo>
                  <a:lnTo>
                    <a:pt x="21899" y="20416"/>
                  </a:lnTo>
                  <a:lnTo>
                    <a:pt x="10932" y="14691"/>
                  </a:lnTo>
                  <a:lnTo>
                    <a:pt x="627" y="4376"/>
                  </a:lnTo>
                  <a:lnTo>
                    <a:pt x="1924" y="199"/>
                  </a:lnTo>
                  <a:lnTo>
                    <a:pt x="16908" y="10800"/>
                  </a:lnTo>
                  <a:lnTo>
                    <a:pt x="26900" y="1898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/>
            <p:cNvSpPr/>
            <p:nvPr/>
          </p:nvSpPr>
          <p:spPr>
            <a:xfrm>
              <a:off x="6387907" y="4098829"/>
              <a:ext cx="413174" cy="346700"/>
            </a:xfrm>
            <a:custGeom>
              <a:avLst/>
              <a:gdLst>
                <a:gd name="connsiteX0" fmla="*/ 302121 w 413174"/>
                <a:gd name="connsiteY0" fmla="*/ 325564 h 346700"/>
                <a:gd name="connsiteX1" fmla="*/ 298650 w 413174"/>
                <a:gd name="connsiteY1" fmla="*/ 325063 h 346700"/>
                <a:gd name="connsiteX2" fmla="*/ 299079 w 413174"/>
                <a:gd name="connsiteY2" fmla="*/ 312477 h 346700"/>
                <a:gd name="connsiteX3" fmla="*/ 296065 w 413174"/>
                <a:gd name="connsiteY3" fmla="*/ 303782 h 346700"/>
                <a:gd name="connsiteX4" fmla="*/ 283147 w 413174"/>
                <a:gd name="connsiteY4" fmla="*/ 293781 h 346700"/>
                <a:gd name="connsiteX5" fmla="*/ 280133 w 413174"/>
                <a:gd name="connsiteY5" fmla="*/ 275469 h 346700"/>
                <a:gd name="connsiteX6" fmla="*/ 283147 w 413174"/>
                <a:gd name="connsiteY6" fmla="*/ 256675 h 346700"/>
                <a:gd name="connsiteX7" fmla="*/ 271527 w 413174"/>
                <a:gd name="connsiteY7" fmla="*/ 254921 h 346700"/>
                <a:gd name="connsiteX8" fmla="*/ 269801 w 413174"/>
                <a:gd name="connsiteY8" fmla="*/ 260611 h 346700"/>
                <a:gd name="connsiteX9" fmla="*/ 254737 w 413174"/>
                <a:gd name="connsiteY9" fmla="*/ 261926 h 346700"/>
                <a:gd name="connsiteX10" fmla="*/ 260757 w 413174"/>
                <a:gd name="connsiteY10" fmla="*/ 269359 h 346700"/>
                <a:gd name="connsiteX11" fmla="*/ 262913 w 413174"/>
                <a:gd name="connsiteY11" fmla="*/ 284629 h 346700"/>
                <a:gd name="connsiteX12" fmla="*/ 249137 w 413174"/>
                <a:gd name="connsiteY12" fmla="*/ 298566 h 346700"/>
                <a:gd name="connsiteX13" fmla="*/ 236649 w 413174"/>
                <a:gd name="connsiteY13" fmla="*/ 316824 h 346700"/>
                <a:gd name="connsiteX14" fmla="*/ 223732 w 413174"/>
                <a:gd name="connsiteY14" fmla="*/ 319427 h 346700"/>
                <a:gd name="connsiteX15" fmla="*/ 202629 w 413174"/>
                <a:gd name="connsiteY15" fmla="*/ 304650 h 346700"/>
                <a:gd name="connsiteX16" fmla="*/ 193156 w 413174"/>
                <a:gd name="connsiteY16" fmla="*/ 309874 h 346700"/>
                <a:gd name="connsiteX17" fmla="*/ 190571 w 413174"/>
                <a:gd name="connsiteY17" fmla="*/ 317254 h 346700"/>
                <a:gd name="connsiteX18" fmla="*/ 177653 w 413174"/>
                <a:gd name="connsiteY18" fmla="*/ 322031 h 346700"/>
                <a:gd name="connsiteX19" fmla="*/ 176795 w 413174"/>
                <a:gd name="connsiteY19" fmla="*/ 327237 h 346700"/>
                <a:gd name="connsiteX20" fmla="*/ 151819 w 413174"/>
                <a:gd name="connsiteY20" fmla="*/ 327237 h 346700"/>
                <a:gd name="connsiteX21" fmla="*/ 148375 w 413174"/>
                <a:gd name="connsiteY21" fmla="*/ 322031 h 346700"/>
                <a:gd name="connsiteX22" fmla="*/ 130287 w 413174"/>
                <a:gd name="connsiteY22" fmla="*/ 321163 h 346700"/>
                <a:gd name="connsiteX23" fmla="*/ 121252 w 413174"/>
                <a:gd name="connsiteY23" fmla="*/ 325492 h 346700"/>
                <a:gd name="connsiteX24" fmla="*/ 114355 w 413174"/>
                <a:gd name="connsiteY24" fmla="*/ 323328 h 346700"/>
                <a:gd name="connsiteX25" fmla="*/ 101438 w 413174"/>
                <a:gd name="connsiteY25" fmla="*/ 308568 h 346700"/>
                <a:gd name="connsiteX26" fmla="*/ 97135 w 413174"/>
                <a:gd name="connsiteY26" fmla="*/ 301617 h 346700"/>
                <a:gd name="connsiteX27" fmla="*/ 79047 w 413174"/>
                <a:gd name="connsiteY27" fmla="*/ 305088 h 346700"/>
                <a:gd name="connsiteX28" fmla="*/ 72159 w 413174"/>
                <a:gd name="connsiteY28" fmla="*/ 316824 h 346700"/>
                <a:gd name="connsiteX29" fmla="*/ 65700 w 413174"/>
                <a:gd name="connsiteY29" fmla="*/ 339367 h 346700"/>
                <a:gd name="connsiteX30" fmla="*/ 57086 w 413174"/>
                <a:gd name="connsiteY30" fmla="*/ 344126 h 346700"/>
                <a:gd name="connsiteX31" fmla="*/ 49393 w 413174"/>
                <a:gd name="connsiteY31" fmla="*/ 346872 h 346700"/>
                <a:gd name="connsiteX32" fmla="*/ 47353 w 413174"/>
                <a:gd name="connsiteY32" fmla="*/ 345700 h 346700"/>
                <a:gd name="connsiteX33" fmla="*/ 38649 w 413174"/>
                <a:gd name="connsiteY33" fmla="*/ 338436 h 346700"/>
                <a:gd name="connsiteX34" fmla="*/ 37048 w 413174"/>
                <a:gd name="connsiteY34" fmla="*/ 330591 h 346700"/>
                <a:gd name="connsiteX35" fmla="*/ 41118 w 413174"/>
                <a:gd name="connsiteY35" fmla="*/ 320080 h 346700"/>
                <a:gd name="connsiteX36" fmla="*/ 41047 w 413174"/>
                <a:gd name="connsiteY36" fmla="*/ 309766 h 346700"/>
                <a:gd name="connsiteX37" fmla="*/ 26582 w 413174"/>
                <a:gd name="connsiteY37" fmla="*/ 293924 h 346700"/>
                <a:gd name="connsiteX38" fmla="*/ 23737 w 413174"/>
                <a:gd name="connsiteY38" fmla="*/ 283055 h 346700"/>
                <a:gd name="connsiteX39" fmla="*/ 24041 w 413174"/>
                <a:gd name="connsiteY39" fmla="*/ 276900 h 346700"/>
                <a:gd name="connsiteX40" fmla="*/ 14819 w 413174"/>
                <a:gd name="connsiteY40" fmla="*/ 269404 h 346700"/>
                <a:gd name="connsiteX41" fmla="*/ 14541 w 413174"/>
                <a:gd name="connsiteY41" fmla="*/ 254608 h 346700"/>
                <a:gd name="connsiteX42" fmla="*/ 9281 w 413174"/>
                <a:gd name="connsiteY42" fmla="*/ 244768 h 346700"/>
                <a:gd name="connsiteX43" fmla="*/ 479 w 413174"/>
                <a:gd name="connsiteY43" fmla="*/ 246244 h 346700"/>
                <a:gd name="connsiteX44" fmla="*/ 3002 w 413174"/>
                <a:gd name="connsiteY44" fmla="*/ 236851 h 346700"/>
                <a:gd name="connsiteX45" fmla="*/ 9505 w 413174"/>
                <a:gd name="connsiteY45" fmla="*/ 226189 h 346700"/>
                <a:gd name="connsiteX46" fmla="*/ 6660 w 413174"/>
                <a:gd name="connsiteY46" fmla="*/ 215570 h 346700"/>
                <a:gd name="connsiteX47" fmla="*/ 14908 w 413174"/>
                <a:gd name="connsiteY47" fmla="*/ 207698 h 346700"/>
                <a:gd name="connsiteX48" fmla="*/ 9675 w 413174"/>
                <a:gd name="connsiteY48" fmla="*/ 201687 h 346700"/>
                <a:gd name="connsiteX49" fmla="*/ 16304 w 413174"/>
                <a:gd name="connsiteY49" fmla="*/ 185773 h 346700"/>
                <a:gd name="connsiteX50" fmla="*/ 27762 w 413174"/>
                <a:gd name="connsiteY50" fmla="*/ 166746 h 346700"/>
                <a:gd name="connsiteX51" fmla="*/ 49393 w 413174"/>
                <a:gd name="connsiteY51" fmla="*/ 168562 h 346700"/>
                <a:gd name="connsiteX52" fmla="*/ 48150 w 413174"/>
                <a:gd name="connsiteY52" fmla="*/ 64713 h 346700"/>
                <a:gd name="connsiteX53" fmla="*/ 48462 w 413174"/>
                <a:gd name="connsiteY53" fmla="*/ 53594 h 346700"/>
                <a:gd name="connsiteX54" fmla="*/ 77303 w 413174"/>
                <a:gd name="connsiteY54" fmla="*/ 53514 h 346700"/>
                <a:gd name="connsiteX55" fmla="*/ 77303 w 413174"/>
                <a:gd name="connsiteY55" fmla="*/ 171 h 346700"/>
                <a:gd name="connsiteX56" fmla="*/ 178136 w 413174"/>
                <a:gd name="connsiteY56" fmla="*/ 171 h 346700"/>
                <a:gd name="connsiteX57" fmla="*/ 275454 w 413174"/>
                <a:gd name="connsiteY57" fmla="*/ 171 h 346700"/>
                <a:gd name="connsiteX58" fmla="*/ 374937 w 413174"/>
                <a:gd name="connsiteY58" fmla="*/ 171 h 346700"/>
                <a:gd name="connsiteX59" fmla="*/ 383015 w 413174"/>
                <a:gd name="connsiteY59" fmla="*/ 26471 h 346700"/>
                <a:gd name="connsiteX60" fmla="*/ 377522 w 413174"/>
                <a:gd name="connsiteY60" fmla="*/ 31320 h 346700"/>
                <a:gd name="connsiteX61" fmla="*/ 381164 w 413174"/>
                <a:gd name="connsiteY61" fmla="*/ 58684 h 346700"/>
                <a:gd name="connsiteX62" fmla="*/ 390368 w 413174"/>
                <a:gd name="connsiteY62" fmla="*/ 90208 h 346700"/>
                <a:gd name="connsiteX63" fmla="*/ 399931 w 413174"/>
                <a:gd name="connsiteY63" fmla="*/ 96684 h 346700"/>
                <a:gd name="connsiteX64" fmla="*/ 413653 w 413174"/>
                <a:gd name="connsiteY64" fmla="*/ 106381 h 346700"/>
                <a:gd name="connsiteX65" fmla="*/ 400960 w 413174"/>
                <a:gd name="connsiteY65" fmla="*/ 121320 h 346700"/>
                <a:gd name="connsiteX66" fmla="*/ 382488 w 413174"/>
                <a:gd name="connsiteY66" fmla="*/ 125614 h 346700"/>
                <a:gd name="connsiteX67" fmla="*/ 374588 w 413174"/>
                <a:gd name="connsiteY67" fmla="*/ 133612 h 346700"/>
                <a:gd name="connsiteX68" fmla="*/ 372120 w 413174"/>
                <a:gd name="connsiteY68" fmla="*/ 150903 h 346700"/>
                <a:gd name="connsiteX69" fmla="*/ 361314 w 413174"/>
                <a:gd name="connsiteY69" fmla="*/ 188921 h 346700"/>
                <a:gd name="connsiteX70" fmla="*/ 363979 w 413174"/>
                <a:gd name="connsiteY70" fmla="*/ 199236 h 346700"/>
                <a:gd name="connsiteX71" fmla="*/ 359980 w 413174"/>
                <a:gd name="connsiteY71" fmla="*/ 221295 h 346700"/>
                <a:gd name="connsiteX72" fmla="*/ 349783 w 413174"/>
                <a:gd name="connsiteY72" fmla="*/ 246495 h 346700"/>
                <a:gd name="connsiteX73" fmla="*/ 334656 w 413174"/>
                <a:gd name="connsiteY73" fmla="*/ 259135 h 346700"/>
                <a:gd name="connsiteX74" fmla="*/ 323903 w 413174"/>
                <a:gd name="connsiteY74" fmla="*/ 278573 h 346700"/>
                <a:gd name="connsiteX75" fmla="*/ 321380 w 413174"/>
                <a:gd name="connsiteY75" fmla="*/ 288959 h 346700"/>
                <a:gd name="connsiteX76" fmla="*/ 309501 w 413174"/>
                <a:gd name="connsiteY76" fmla="*/ 296062 h 346700"/>
                <a:gd name="connsiteX77" fmla="*/ 302085 w 413174"/>
                <a:gd name="connsiteY77" fmla="*/ 322549 h 34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13174" h="346700">
                  <a:moveTo>
                    <a:pt x="302121" y="325564"/>
                  </a:moveTo>
                  <a:lnTo>
                    <a:pt x="298650" y="325063"/>
                  </a:lnTo>
                  <a:lnTo>
                    <a:pt x="299079" y="312477"/>
                  </a:lnTo>
                  <a:lnTo>
                    <a:pt x="296065" y="303782"/>
                  </a:lnTo>
                  <a:lnTo>
                    <a:pt x="283147" y="293781"/>
                  </a:lnTo>
                  <a:lnTo>
                    <a:pt x="280133" y="275469"/>
                  </a:lnTo>
                  <a:lnTo>
                    <a:pt x="283147" y="256675"/>
                  </a:lnTo>
                  <a:lnTo>
                    <a:pt x="271527" y="254921"/>
                  </a:lnTo>
                  <a:lnTo>
                    <a:pt x="269801" y="260611"/>
                  </a:lnTo>
                  <a:lnTo>
                    <a:pt x="254737" y="261926"/>
                  </a:lnTo>
                  <a:lnTo>
                    <a:pt x="260757" y="269359"/>
                  </a:lnTo>
                  <a:lnTo>
                    <a:pt x="262913" y="284629"/>
                  </a:lnTo>
                  <a:lnTo>
                    <a:pt x="249137" y="298566"/>
                  </a:lnTo>
                  <a:lnTo>
                    <a:pt x="236649" y="316824"/>
                  </a:lnTo>
                  <a:lnTo>
                    <a:pt x="223732" y="319427"/>
                  </a:lnTo>
                  <a:lnTo>
                    <a:pt x="202629" y="304650"/>
                  </a:lnTo>
                  <a:lnTo>
                    <a:pt x="193156" y="309874"/>
                  </a:lnTo>
                  <a:lnTo>
                    <a:pt x="190571" y="317254"/>
                  </a:lnTo>
                  <a:lnTo>
                    <a:pt x="177653" y="322031"/>
                  </a:lnTo>
                  <a:lnTo>
                    <a:pt x="176795" y="327237"/>
                  </a:lnTo>
                  <a:lnTo>
                    <a:pt x="151819" y="327237"/>
                  </a:lnTo>
                  <a:lnTo>
                    <a:pt x="148375" y="322031"/>
                  </a:lnTo>
                  <a:lnTo>
                    <a:pt x="130287" y="321163"/>
                  </a:lnTo>
                  <a:lnTo>
                    <a:pt x="121252" y="325492"/>
                  </a:lnTo>
                  <a:lnTo>
                    <a:pt x="114355" y="323328"/>
                  </a:lnTo>
                  <a:lnTo>
                    <a:pt x="101438" y="308568"/>
                  </a:lnTo>
                  <a:lnTo>
                    <a:pt x="97135" y="301617"/>
                  </a:lnTo>
                  <a:lnTo>
                    <a:pt x="79047" y="305088"/>
                  </a:lnTo>
                  <a:lnTo>
                    <a:pt x="72159" y="316824"/>
                  </a:lnTo>
                  <a:lnTo>
                    <a:pt x="65700" y="339367"/>
                  </a:lnTo>
                  <a:lnTo>
                    <a:pt x="57086" y="344126"/>
                  </a:lnTo>
                  <a:lnTo>
                    <a:pt x="49393" y="346872"/>
                  </a:lnTo>
                  <a:lnTo>
                    <a:pt x="47353" y="345700"/>
                  </a:lnTo>
                  <a:lnTo>
                    <a:pt x="38649" y="338436"/>
                  </a:lnTo>
                  <a:lnTo>
                    <a:pt x="37048" y="330591"/>
                  </a:lnTo>
                  <a:lnTo>
                    <a:pt x="41118" y="320080"/>
                  </a:lnTo>
                  <a:lnTo>
                    <a:pt x="41047" y="309766"/>
                  </a:lnTo>
                  <a:lnTo>
                    <a:pt x="26582" y="293924"/>
                  </a:lnTo>
                  <a:lnTo>
                    <a:pt x="23737" y="283055"/>
                  </a:lnTo>
                  <a:lnTo>
                    <a:pt x="24041" y="276900"/>
                  </a:lnTo>
                  <a:lnTo>
                    <a:pt x="14819" y="269404"/>
                  </a:lnTo>
                  <a:lnTo>
                    <a:pt x="14541" y="254608"/>
                  </a:lnTo>
                  <a:lnTo>
                    <a:pt x="9281" y="244768"/>
                  </a:lnTo>
                  <a:lnTo>
                    <a:pt x="479" y="246244"/>
                  </a:lnTo>
                  <a:lnTo>
                    <a:pt x="3002" y="236851"/>
                  </a:lnTo>
                  <a:lnTo>
                    <a:pt x="9505" y="226189"/>
                  </a:lnTo>
                  <a:lnTo>
                    <a:pt x="6660" y="215570"/>
                  </a:lnTo>
                  <a:lnTo>
                    <a:pt x="14908" y="207698"/>
                  </a:lnTo>
                  <a:lnTo>
                    <a:pt x="9675" y="201687"/>
                  </a:lnTo>
                  <a:lnTo>
                    <a:pt x="16304" y="185773"/>
                  </a:lnTo>
                  <a:lnTo>
                    <a:pt x="27762" y="166746"/>
                  </a:lnTo>
                  <a:lnTo>
                    <a:pt x="49393" y="168562"/>
                  </a:lnTo>
                  <a:lnTo>
                    <a:pt x="48150" y="64713"/>
                  </a:lnTo>
                  <a:lnTo>
                    <a:pt x="48462" y="53594"/>
                  </a:lnTo>
                  <a:lnTo>
                    <a:pt x="77303" y="53514"/>
                  </a:lnTo>
                  <a:lnTo>
                    <a:pt x="77303" y="171"/>
                  </a:lnTo>
                  <a:lnTo>
                    <a:pt x="178136" y="171"/>
                  </a:lnTo>
                  <a:lnTo>
                    <a:pt x="275454" y="171"/>
                  </a:lnTo>
                  <a:lnTo>
                    <a:pt x="374937" y="171"/>
                  </a:lnTo>
                  <a:lnTo>
                    <a:pt x="383015" y="26471"/>
                  </a:lnTo>
                  <a:lnTo>
                    <a:pt x="377522" y="31320"/>
                  </a:lnTo>
                  <a:lnTo>
                    <a:pt x="381164" y="58684"/>
                  </a:lnTo>
                  <a:lnTo>
                    <a:pt x="390368" y="90208"/>
                  </a:lnTo>
                  <a:lnTo>
                    <a:pt x="399931" y="96684"/>
                  </a:lnTo>
                  <a:lnTo>
                    <a:pt x="413653" y="106381"/>
                  </a:lnTo>
                  <a:lnTo>
                    <a:pt x="400960" y="121320"/>
                  </a:lnTo>
                  <a:lnTo>
                    <a:pt x="382488" y="125614"/>
                  </a:lnTo>
                  <a:lnTo>
                    <a:pt x="374588" y="133612"/>
                  </a:lnTo>
                  <a:lnTo>
                    <a:pt x="372120" y="150903"/>
                  </a:lnTo>
                  <a:lnTo>
                    <a:pt x="361314" y="188921"/>
                  </a:lnTo>
                  <a:lnTo>
                    <a:pt x="363979" y="199236"/>
                  </a:lnTo>
                  <a:lnTo>
                    <a:pt x="359980" y="221295"/>
                  </a:lnTo>
                  <a:lnTo>
                    <a:pt x="349783" y="246495"/>
                  </a:lnTo>
                  <a:lnTo>
                    <a:pt x="334656" y="259135"/>
                  </a:lnTo>
                  <a:lnTo>
                    <a:pt x="323903" y="278573"/>
                  </a:lnTo>
                  <a:lnTo>
                    <a:pt x="321380" y="288959"/>
                  </a:lnTo>
                  <a:lnTo>
                    <a:pt x="309501" y="296062"/>
                  </a:lnTo>
                  <a:lnTo>
                    <a:pt x="302085" y="32254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/>
            <p:cNvSpPr/>
            <p:nvPr/>
          </p:nvSpPr>
          <p:spPr>
            <a:xfrm>
              <a:off x="6114273" y="2240357"/>
              <a:ext cx="322950" cy="754051"/>
            </a:xfrm>
            <a:custGeom>
              <a:avLst/>
              <a:gdLst>
                <a:gd name="connsiteX0" fmla="*/ 280270 w 322950"/>
                <a:gd name="connsiteY0" fmla="*/ 221184 h 754051"/>
                <a:gd name="connsiteX1" fmla="*/ 255948 w 322950"/>
                <a:gd name="connsiteY1" fmla="*/ 263138 h 754051"/>
                <a:gd name="connsiteX2" fmla="*/ 259866 w 322950"/>
                <a:gd name="connsiteY2" fmla="*/ 299063 h 754051"/>
                <a:gd name="connsiteX3" fmla="*/ 219969 w 322950"/>
                <a:gd name="connsiteY3" fmla="*/ 345034 h 754051"/>
                <a:gd name="connsiteX4" fmla="*/ 171529 w 322950"/>
                <a:gd name="connsiteY4" fmla="*/ 392785 h 754051"/>
                <a:gd name="connsiteX5" fmla="*/ 153271 w 322950"/>
                <a:gd name="connsiteY5" fmla="*/ 468035 h 754051"/>
                <a:gd name="connsiteX6" fmla="*/ 171126 w 322950"/>
                <a:gd name="connsiteY6" fmla="*/ 504416 h 754051"/>
                <a:gd name="connsiteX7" fmla="*/ 195110 w 322950"/>
                <a:gd name="connsiteY7" fmla="*/ 532505 h 754051"/>
                <a:gd name="connsiteX8" fmla="*/ 172065 w 322950"/>
                <a:gd name="connsiteY8" fmla="*/ 588200 h 754051"/>
                <a:gd name="connsiteX9" fmla="*/ 145981 w 322950"/>
                <a:gd name="connsiteY9" fmla="*/ 599516 h 754051"/>
                <a:gd name="connsiteX10" fmla="*/ 136418 w 322950"/>
                <a:gd name="connsiteY10" fmla="*/ 678576 h 754051"/>
                <a:gd name="connsiteX11" fmla="*/ 122167 w 322950"/>
                <a:gd name="connsiteY11" fmla="*/ 721139 h 754051"/>
                <a:gd name="connsiteX12" fmla="*/ 91744 w 322950"/>
                <a:gd name="connsiteY12" fmla="*/ 716800 h 754051"/>
                <a:gd name="connsiteX13" fmla="*/ 77547 w 322950"/>
                <a:gd name="connsiteY13" fmla="*/ 752126 h 754051"/>
                <a:gd name="connsiteX14" fmla="*/ 48510 w 322950"/>
                <a:gd name="connsiteY14" fmla="*/ 754148 h 754051"/>
                <a:gd name="connsiteX15" fmla="*/ 40540 w 322950"/>
                <a:gd name="connsiteY15" fmla="*/ 712014 h 754051"/>
                <a:gd name="connsiteX16" fmla="*/ 19545 w 322950"/>
                <a:gd name="connsiteY16" fmla="*/ 660032 h 754051"/>
                <a:gd name="connsiteX17" fmla="*/ 464 w 322950"/>
                <a:gd name="connsiteY17" fmla="*/ 592932 h 754051"/>
                <a:gd name="connsiteX18" fmla="*/ 11521 w 322950"/>
                <a:gd name="connsiteY18" fmla="*/ 564798 h 754051"/>
                <a:gd name="connsiteX19" fmla="*/ 32391 w 322950"/>
                <a:gd name="connsiteY19" fmla="*/ 530698 h 754051"/>
                <a:gd name="connsiteX20" fmla="*/ 40692 w 322950"/>
                <a:gd name="connsiteY20" fmla="*/ 470522 h 754051"/>
                <a:gd name="connsiteX21" fmla="*/ 24662 w 322950"/>
                <a:gd name="connsiteY21" fmla="*/ 443882 h 754051"/>
                <a:gd name="connsiteX22" fmla="*/ 23123 w 322950"/>
                <a:gd name="connsiteY22" fmla="*/ 371924 h 754051"/>
                <a:gd name="connsiteX23" fmla="*/ 39404 w 322950"/>
                <a:gd name="connsiteY23" fmla="*/ 319092 h 754051"/>
                <a:gd name="connsiteX24" fmla="*/ 64290 w 322950"/>
                <a:gd name="connsiteY24" fmla="*/ 320067 h 754051"/>
                <a:gd name="connsiteX25" fmla="*/ 73012 w 322950"/>
                <a:gd name="connsiteY25" fmla="*/ 297220 h 754051"/>
                <a:gd name="connsiteX26" fmla="*/ 63879 w 322950"/>
                <a:gd name="connsiteY26" fmla="*/ 277254 h 754051"/>
                <a:gd name="connsiteX27" fmla="*/ 102827 w 322950"/>
                <a:gd name="connsiteY27" fmla="*/ 192272 h 754051"/>
                <a:gd name="connsiteX28" fmla="*/ 127911 w 322950"/>
                <a:gd name="connsiteY28" fmla="*/ 121898 h 754051"/>
                <a:gd name="connsiteX29" fmla="*/ 144478 w 322950"/>
                <a:gd name="connsiteY29" fmla="*/ 74996 h 754051"/>
                <a:gd name="connsiteX30" fmla="*/ 168559 w 322950"/>
                <a:gd name="connsiteY30" fmla="*/ 75220 h 754051"/>
                <a:gd name="connsiteX31" fmla="*/ 175197 w 322950"/>
                <a:gd name="connsiteY31" fmla="*/ 37497 h 754051"/>
                <a:gd name="connsiteX32" fmla="*/ 222465 w 322950"/>
                <a:gd name="connsiteY32" fmla="*/ 48446 h 754051"/>
                <a:gd name="connsiteX33" fmla="*/ 226150 w 322950"/>
                <a:gd name="connsiteY33" fmla="*/ 2985 h 754051"/>
                <a:gd name="connsiteX34" fmla="*/ 241706 w 322950"/>
                <a:gd name="connsiteY34" fmla="*/ 96 h 754051"/>
                <a:gd name="connsiteX35" fmla="*/ 275136 w 322950"/>
                <a:gd name="connsiteY35" fmla="*/ 34107 h 754051"/>
                <a:gd name="connsiteX36" fmla="*/ 314290 w 322950"/>
                <a:gd name="connsiteY36" fmla="*/ 80203 h 754051"/>
                <a:gd name="connsiteX37" fmla="*/ 314952 w 322950"/>
                <a:gd name="connsiteY37" fmla="*/ 179677 h 754051"/>
                <a:gd name="connsiteX38" fmla="*/ 323414 w 322950"/>
                <a:gd name="connsiteY38" fmla="*/ 203829 h 75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22950" h="754051">
                  <a:moveTo>
                    <a:pt x="280270" y="221184"/>
                  </a:moveTo>
                  <a:lnTo>
                    <a:pt x="255948" y="263138"/>
                  </a:lnTo>
                  <a:lnTo>
                    <a:pt x="259866" y="299063"/>
                  </a:lnTo>
                  <a:lnTo>
                    <a:pt x="219969" y="345034"/>
                  </a:lnTo>
                  <a:lnTo>
                    <a:pt x="171529" y="392785"/>
                  </a:lnTo>
                  <a:lnTo>
                    <a:pt x="153271" y="468035"/>
                  </a:lnTo>
                  <a:lnTo>
                    <a:pt x="171126" y="504416"/>
                  </a:lnTo>
                  <a:lnTo>
                    <a:pt x="195110" y="532505"/>
                  </a:lnTo>
                  <a:lnTo>
                    <a:pt x="172065" y="588200"/>
                  </a:lnTo>
                  <a:lnTo>
                    <a:pt x="145981" y="599516"/>
                  </a:lnTo>
                  <a:lnTo>
                    <a:pt x="136418" y="678576"/>
                  </a:lnTo>
                  <a:lnTo>
                    <a:pt x="122167" y="721139"/>
                  </a:lnTo>
                  <a:lnTo>
                    <a:pt x="91744" y="716800"/>
                  </a:lnTo>
                  <a:lnTo>
                    <a:pt x="77547" y="752126"/>
                  </a:lnTo>
                  <a:lnTo>
                    <a:pt x="48510" y="754148"/>
                  </a:lnTo>
                  <a:lnTo>
                    <a:pt x="40540" y="712014"/>
                  </a:lnTo>
                  <a:lnTo>
                    <a:pt x="19545" y="660032"/>
                  </a:lnTo>
                  <a:lnTo>
                    <a:pt x="464" y="592932"/>
                  </a:lnTo>
                  <a:lnTo>
                    <a:pt x="11521" y="564798"/>
                  </a:lnTo>
                  <a:lnTo>
                    <a:pt x="32391" y="530698"/>
                  </a:lnTo>
                  <a:lnTo>
                    <a:pt x="40692" y="470522"/>
                  </a:lnTo>
                  <a:lnTo>
                    <a:pt x="24662" y="443882"/>
                  </a:lnTo>
                  <a:lnTo>
                    <a:pt x="23123" y="371924"/>
                  </a:lnTo>
                  <a:lnTo>
                    <a:pt x="39404" y="319092"/>
                  </a:lnTo>
                  <a:lnTo>
                    <a:pt x="64290" y="320067"/>
                  </a:lnTo>
                  <a:lnTo>
                    <a:pt x="73012" y="297220"/>
                  </a:lnTo>
                  <a:lnTo>
                    <a:pt x="63879" y="277254"/>
                  </a:lnTo>
                  <a:lnTo>
                    <a:pt x="102827" y="192272"/>
                  </a:lnTo>
                  <a:lnTo>
                    <a:pt x="127911" y="121898"/>
                  </a:lnTo>
                  <a:lnTo>
                    <a:pt x="144478" y="74996"/>
                  </a:lnTo>
                  <a:lnTo>
                    <a:pt x="168559" y="75220"/>
                  </a:lnTo>
                  <a:lnTo>
                    <a:pt x="175197" y="37497"/>
                  </a:lnTo>
                  <a:lnTo>
                    <a:pt x="222465" y="48446"/>
                  </a:lnTo>
                  <a:lnTo>
                    <a:pt x="226150" y="2985"/>
                  </a:lnTo>
                  <a:lnTo>
                    <a:pt x="241706" y="96"/>
                  </a:lnTo>
                  <a:lnTo>
                    <a:pt x="275136" y="34107"/>
                  </a:lnTo>
                  <a:lnTo>
                    <a:pt x="314290" y="80203"/>
                  </a:lnTo>
                  <a:lnTo>
                    <a:pt x="314952" y="179677"/>
                  </a:lnTo>
                  <a:lnTo>
                    <a:pt x="323414" y="20382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/>
            <p:cNvSpPr/>
            <p:nvPr/>
          </p:nvSpPr>
          <p:spPr>
            <a:xfrm>
              <a:off x="6181266" y="3334723"/>
              <a:ext cx="71894" cy="50533"/>
            </a:xfrm>
            <a:custGeom>
              <a:avLst/>
              <a:gdLst>
                <a:gd name="connsiteX0" fmla="*/ 3172 w 71894"/>
                <a:gd name="connsiteY0" fmla="*/ 12636 h 50533"/>
                <a:gd name="connsiteX1" fmla="*/ 23890 w 71894"/>
                <a:gd name="connsiteY1" fmla="*/ 15444 h 50533"/>
                <a:gd name="connsiteX2" fmla="*/ 36548 w 71894"/>
                <a:gd name="connsiteY2" fmla="*/ 7197 h 50533"/>
                <a:gd name="connsiteX3" fmla="*/ 58482 w 71894"/>
                <a:gd name="connsiteY3" fmla="*/ 6293 h 50533"/>
                <a:gd name="connsiteX4" fmla="*/ 63268 w 71894"/>
                <a:gd name="connsiteY4" fmla="*/ 130 h 50533"/>
                <a:gd name="connsiteX5" fmla="*/ 67481 w 71894"/>
                <a:gd name="connsiteY5" fmla="*/ 532 h 50533"/>
                <a:gd name="connsiteX6" fmla="*/ 72356 w 71894"/>
                <a:gd name="connsiteY6" fmla="*/ 12832 h 50533"/>
                <a:gd name="connsiteX7" fmla="*/ 52390 w 71894"/>
                <a:gd name="connsiteY7" fmla="*/ 22458 h 50533"/>
                <a:gd name="connsiteX8" fmla="*/ 49948 w 71894"/>
                <a:gd name="connsiteY8" fmla="*/ 37012 h 50533"/>
                <a:gd name="connsiteX9" fmla="*/ 41235 w 71894"/>
                <a:gd name="connsiteY9" fmla="*/ 40680 h 50533"/>
                <a:gd name="connsiteX10" fmla="*/ 41324 w 71894"/>
                <a:gd name="connsiteY10" fmla="*/ 50663 h 50533"/>
                <a:gd name="connsiteX11" fmla="*/ 31485 w 71894"/>
                <a:gd name="connsiteY11" fmla="*/ 49974 h 50533"/>
                <a:gd name="connsiteX12" fmla="*/ 22950 w 71894"/>
                <a:gd name="connsiteY12" fmla="*/ 44142 h 50533"/>
                <a:gd name="connsiteX13" fmla="*/ 18361 w 71894"/>
                <a:gd name="connsiteY13" fmla="*/ 50171 h 50533"/>
                <a:gd name="connsiteX14" fmla="*/ 882 w 71894"/>
                <a:gd name="connsiteY14" fmla="*/ 48954 h 50533"/>
                <a:gd name="connsiteX15" fmla="*/ 6463 w 71894"/>
                <a:gd name="connsiteY15" fmla="*/ 45716 h 50533"/>
                <a:gd name="connsiteX16" fmla="*/ 461 w 71894"/>
                <a:gd name="connsiteY16" fmla="*/ 30446 h 50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894" h="50533">
                  <a:moveTo>
                    <a:pt x="3172" y="12636"/>
                  </a:moveTo>
                  <a:lnTo>
                    <a:pt x="23890" y="15444"/>
                  </a:lnTo>
                  <a:lnTo>
                    <a:pt x="36548" y="7197"/>
                  </a:lnTo>
                  <a:lnTo>
                    <a:pt x="58482" y="6293"/>
                  </a:lnTo>
                  <a:lnTo>
                    <a:pt x="63268" y="130"/>
                  </a:lnTo>
                  <a:lnTo>
                    <a:pt x="67481" y="532"/>
                  </a:lnTo>
                  <a:lnTo>
                    <a:pt x="72356" y="12832"/>
                  </a:lnTo>
                  <a:lnTo>
                    <a:pt x="52390" y="22458"/>
                  </a:lnTo>
                  <a:lnTo>
                    <a:pt x="49948" y="37012"/>
                  </a:lnTo>
                  <a:lnTo>
                    <a:pt x="41235" y="40680"/>
                  </a:lnTo>
                  <a:lnTo>
                    <a:pt x="41324" y="50663"/>
                  </a:lnTo>
                  <a:lnTo>
                    <a:pt x="31485" y="49974"/>
                  </a:lnTo>
                  <a:lnTo>
                    <a:pt x="22950" y="44142"/>
                  </a:lnTo>
                  <a:lnTo>
                    <a:pt x="18361" y="50171"/>
                  </a:lnTo>
                  <a:lnTo>
                    <a:pt x="882" y="48954"/>
                  </a:lnTo>
                  <a:lnTo>
                    <a:pt x="6463" y="45716"/>
                  </a:lnTo>
                  <a:lnTo>
                    <a:pt x="461" y="3044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/>
            <p:cNvSpPr/>
            <p:nvPr/>
          </p:nvSpPr>
          <p:spPr>
            <a:xfrm>
              <a:off x="6099638" y="1071377"/>
              <a:ext cx="425474" cy="502978"/>
            </a:xfrm>
            <a:custGeom>
              <a:avLst/>
              <a:gdLst>
                <a:gd name="connsiteX0" fmla="*/ 358643 w 425474"/>
                <a:gd name="connsiteY0" fmla="*/ 379254 h 502978"/>
                <a:gd name="connsiteX1" fmla="*/ 302618 w 425474"/>
                <a:gd name="connsiteY1" fmla="*/ 427193 h 502978"/>
                <a:gd name="connsiteX2" fmla="*/ 258365 w 425474"/>
                <a:gd name="connsiteY2" fmla="*/ 400169 h 502978"/>
                <a:gd name="connsiteX3" fmla="*/ 275674 w 425474"/>
                <a:gd name="connsiteY3" fmla="*/ 369539 h 502978"/>
                <a:gd name="connsiteX4" fmla="*/ 260520 w 425474"/>
                <a:gd name="connsiteY4" fmla="*/ 330689 h 502978"/>
                <a:gd name="connsiteX5" fmla="*/ 312503 w 425474"/>
                <a:gd name="connsiteY5" fmla="*/ 305803 h 502978"/>
                <a:gd name="connsiteX6" fmla="*/ 322459 w 425474"/>
                <a:gd name="connsiteY6" fmla="*/ 352096 h 502978"/>
                <a:gd name="connsiteX7" fmla="*/ 358643 w 425474"/>
                <a:gd name="connsiteY7" fmla="*/ 379254 h 502978"/>
                <a:gd name="connsiteX8" fmla="*/ 196300 w 425474"/>
                <a:gd name="connsiteY8" fmla="*/ 140624 h 502978"/>
                <a:gd name="connsiteX9" fmla="*/ 278868 w 425474"/>
                <a:gd name="connsiteY9" fmla="*/ 241637 h 502978"/>
                <a:gd name="connsiteX10" fmla="*/ 215748 w 425474"/>
                <a:gd name="connsiteY10" fmla="*/ 292268 h 502978"/>
                <a:gd name="connsiteX11" fmla="*/ 201811 w 425474"/>
                <a:gd name="connsiteY11" fmla="*/ 382492 h 502978"/>
                <a:gd name="connsiteX12" fmla="*/ 179805 w 425474"/>
                <a:gd name="connsiteY12" fmla="*/ 404767 h 502978"/>
                <a:gd name="connsiteX13" fmla="*/ 167863 w 425474"/>
                <a:gd name="connsiteY13" fmla="*/ 498739 h 502978"/>
                <a:gd name="connsiteX14" fmla="*/ 137636 w 425474"/>
                <a:gd name="connsiteY14" fmla="*/ 503015 h 502978"/>
                <a:gd name="connsiteX15" fmla="*/ 83695 w 425474"/>
                <a:gd name="connsiteY15" fmla="*/ 434636 h 502978"/>
                <a:gd name="connsiteX16" fmla="*/ 106443 w 425474"/>
                <a:gd name="connsiteY16" fmla="*/ 393281 h 502978"/>
                <a:gd name="connsiteX17" fmla="*/ 68845 w 425474"/>
                <a:gd name="connsiteY17" fmla="*/ 358733 h 502978"/>
                <a:gd name="connsiteX18" fmla="*/ 19976 w 425474"/>
                <a:gd name="connsiteY18" fmla="*/ 252971 h 502978"/>
                <a:gd name="connsiteX19" fmla="*/ 466 w 425474"/>
                <a:gd name="connsiteY19" fmla="*/ 147539 h 502978"/>
                <a:gd name="connsiteX20" fmla="*/ 68845 w 425474"/>
                <a:gd name="connsiteY20" fmla="*/ 96675 h 502978"/>
                <a:gd name="connsiteX21" fmla="*/ 82585 w 425474"/>
                <a:gd name="connsiteY21" fmla="*/ 146421 h 502978"/>
                <a:gd name="connsiteX22" fmla="*/ 118305 w 425474"/>
                <a:gd name="connsiteY22" fmla="*/ 144480 h 502978"/>
                <a:gd name="connsiteX23" fmla="*/ 127832 w 425474"/>
                <a:gd name="connsiteY23" fmla="*/ 95861 h 502978"/>
                <a:gd name="connsiteX24" fmla="*/ 164660 w 425474"/>
                <a:gd name="connsiteY24" fmla="*/ 90825 h 502978"/>
                <a:gd name="connsiteX25" fmla="*/ 196300 w 425474"/>
                <a:gd name="connsiteY25" fmla="*/ 140624 h 502978"/>
                <a:gd name="connsiteX26" fmla="*/ 376785 w 425474"/>
                <a:gd name="connsiteY26" fmla="*/ 38127 h 502978"/>
                <a:gd name="connsiteX27" fmla="*/ 425940 w 425474"/>
                <a:gd name="connsiteY27" fmla="*/ 90001 h 502978"/>
                <a:gd name="connsiteX28" fmla="*/ 388745 w 425474"/>
                <a:gd name="connsiteY28" fmla="*/ 166190 h 502978"/>
                <a:gd name="connsiteX29" fmla="*/ 316000 w 425474"/>
                <a:gd name="connsiteY29" fmla="*/ 182346 h 502978"/>
                <a:gd name="connsiteX30" fmla="*/ 242030 w 425474"/>
                <a:gd name="connsiteY30" fmla="*/ 159428 h 502978"/>
                <a:gd name="connsiteX31" fmla="*/ 237566 w 425474"/>
                <a:gd name="connsiteY31" fmla="*/ 120765 h 502978"/>
                <a:gd name="connsiteX32" fmla="*/ 201578 w 425474"/>
                <a:gd name="connsiteY32" fmla="*/ 118269 h 502978"/>
                <a:gd name="connsiteX33" fmla="*/ 174134 w 425474"/>
                <a:gd name="connsiteY33" fmla="*/ 51375 h 502978"/>
                <a:gd name="connsiteX34" fmla="*/ 251583 w 425474"/>
                <a:gd name="connsiteY34" fmla="*/ 9125 h 502978"/>
                <a:gd name="connsiteX35" fmla="*/ 288001 w 425474"/>
                <a:gd name="connsiteY35" fmla="*/ 45578 h 502978"/>
                <a:gd name="connsiteX36" fmla="*/ 313361 w 425474"/>
                <a:gd name="connsiteY36" fmla="*/ 37 h 502978"/>
                <a:gd name="connsiteX37" fmla="*/ 376785 w 425474"/>
                <a:gd name="connsiteY37" fmla="*/ 38127 h 502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25474" h="502978">
                  <a:moveTo>
                    <a:pt x="358643" y="379254"/>
                  </a:moveTo>
                  <a:lnTo>
                    <a:pt x="302618" y="427193"/>
                  </a:lnTo>
                  <a:lnTo>
                    <a:pt x="258365" y="400169"/>
                  </a:lnTo>
                  <a:lnTo>
                    <a:pt x="275674" y="369539"/>
                  </a:lnTo>
                  <a:lnTo>
                    <a:pt x="260520" y="330689"/>
                  </a:lnTo>
                  <a:lnTo>
                    <a:pt x="312503" y="305803"/>
                  </a:lnTo>
                  <a:lnTo>
                    <a:pt x="322459" y="352096"/>
                  </a:lnTo>
                  <a:lnTo>
                    <a:pt x="358643" y="379254"/>
                  </a:lnTo>
                  <a:close/>
                  <a:moveTo>
                    <a:pt x="196300" y="140624"/>
                  </a:moveTo>
                  <a:lnTo>
                    <a:pt x="278868" y="241637"/>
                  </a:lnTo>
                  <a:lnTo>
                    <a:pt x="215748" y="292268"/>
                  </a:lnTo>
                  <a:lnTo>
                    <a:pt x="201811" y="382492"/>
                  </a:lnTo>
                  <a:lnTo>
                    <a:pt x="179805" y="404767"/>
                  </a:lnTo>
                  <a:lnTo>
                    <a:pt x="167863" y="498739"/>
                  </a:lnTo>
                  <a:lnTo>
                    <a:pt x="137636" y="503015"/>
                  </a:lnTo>
                  <a:lnTo>
                    <a:pt x="83695" y="434636"/>
                  </a:lnTo>
                  <a:lnTo>
                    <a:pt x="106443" y="393281"/>
                  </a:lnTo>
                  <a:lnTo>
                    <a:pt x="68845" y="358733"/>
                  </a:lnTo>
                  <a:lnTo>
                    <a:pt x="19976" y="252971"/>
                  </a:lnTo>
                  <a:lnTo>
                    <a:pt x="466" y="147539"/>
                  </a:lnTo>
                  <a:lnTo>
                    <a:pt x="68845" y="96675"/>
                  </a:lnTo>
                  <a:lnTo>
                    <a:pt x="82585" y="146421"/>
                  </a:lnTo>
                  <a:lnTo>
                    <a:pt x="118305" y="144480"/>
                  </a:lnTo>
                  <a:lnTo>
                    <a:pt x="127832" y="95861"/>
                  </a:lnTo>
                  <a:lnTo>
                    <a:pt x="164660" y="90825"/>
                  </a:lnTo>
                  <a:lnTo>
                    <a:pt x="196300" y="140624"/>
                  </a:lnTo>
                  <a:close/>
                  <a:moveTo>
                    <a:pt x="376785" y="38127"/>
                  </a:moveTo>
                  <a:lnTo>
                    <a:pt x="425940" y="90001"/>
                  </a:lnTo>
                  <a:lnTo>
                    <a:pt x="388745" y="166190"/>
                  </a:lnTo>
                  <a:lnTo>
                    <a:pt x="316000" y="182346"/>
                  </a:lnTo>
                  <a:lnTo>
                    <a:pt x="242030" y="159428"/>
                  </a:lnTo>
                  <a:lnTo>
                    <a:pt x="237566" y="120765"/>
                  </a:lnTo>
                  <a:lnTo>
                    <a:pt x="201578" y="118269"/>
                  </a:lnTo>
                  <a:lnTo>
                    <a:pt x="174134" y="51375"/>
                  </a:lnTo>
                  <a:lnTo>
                    <a:pt x="251583" y="9125"/>
                  </a:lnTo>
                  <a:lnTo>
                    <a:pt x="288001" y="45578"/>
                  </a:lnTo>
                  <a:lnTo>
                    <a:pt x="313361" y="37"/>
                  </a:lnTo>
                  <a:lnTo>
                    <a:pt x="376785" y="3812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/>
            <p:cNvSpPr/>
            <p:nvPr/>
          </p:nvSpPr>
          <p:spPr>
            <a:xfrm>
              <a:off x="6261069" y="3232646"/>
              <a:ext cx="142412" cy="68665"/>
            </a:xfrm>
            <a:custGeom>
              <a:avLst/>
              <a:gdLst>
                <a:gd name="connsiteX0" fmla="*/ 49954 w 142412"/>
                <a:gd name="connsiteY0" fmla="*/ 3033 h 68665"/>
                <a:gd name="connsiteX1" fmla="*/ 51367 w 142412"/>
                <a:gd name="connsiteY1" fmla="*/ 5358 h 68665"/>
                <a:gd name="connsiteX2" fmla="*/ 61681 w 142412"/>
                <a:gd name="connsiteY2" fmla="*/ 125 h 68665"/>
                <a:gd name="connsiteX3" fmla="*/ 74330 w 142412"/>
                <a:gd name="connsiteY3" fmla="*/ 13749 h 68665"/>
                <a:gd name="connsiteX4" fmla="*/ 89152 w 142412"/>
                <a:gd name="connsiteY4" fmla="*/ 5528 h 68665"/>
                <a:gd name="connsiteX5" fmla="*/ 100997 w 142412"/>
                <a:gd name="connsiteY5" fmla="*/ 9473 h 68665"/>
                <a:gd name="connsiteX6" fmla="*/ 119049 w 142412"/>
                <a:gd name="connsiteY6" fmla="*/ 4034 h 68665"/>
                <a:gd name="connsiteX7" fmla="*/ 142879 w 142412"/>
                <a:gd name="connsiteY7" fmla="*/ 18777 h 68665"/>
                <a:gd name="connsiteX8" fmla="*/ 135928 w 142412"/>
                <a:gd name="connsiteY8" fmla="*/ 28688 h 68665"/>
                <a:gd name="connsiteX9" fmla="*/ 131035 w 142412"/>
                <a:gd name="connsiteY9" fmla="*/ 43940 h 68665"/>
                <a:gd name="connsiteX10" fmla="*/ 125686 w 142412"/>
                <a:gd name="connsiteY10" fmla="*/ 47787 h 68665"/>
                <a:gd name="connsiteX11" fmla="*/ 98823 w 142412"/>
                <a:gd name="connsiteY11" fmla="*/ 36328 h 68665"/>
                <a:gd name="connsiteX12" fmla="*/ 90602 w 142412"/>
                <a:gd name="connsiteY12" fmla="*/ 38636 h 68665"/>
                <a:gd name="connsiteX13" fmla="*/ 84716 w 142412"/>
                <a:gd name="connsiteY13" fmla="*/ 47510 h 68665"/>
                <a:gd name="connsiteX14" fmla="*/ 72944 w 142412"/>
                <a:gd name="connsiteY14" fmla="*/ 52197 h 68665"/>
                <a:gd name="connsiteX15" fmla="*/ 70224 w 142412"/>
                <a:gd name="connsiteY15" fmla="*/ 49791 h 68665"/>
                <a:gd name="connsiteX16" fmla="*/ 58013 w 142412"/>
                <a:gd name="connsiteY16" fmla="*/ 55614 h 68665"/>
                <a:gd name="connsiteX17" fmla="*/ 48048 w 142412"/>
                <a:gd name="connsiteY17" fmla="*/ 56724 h 68665"/>
                <a:gd name="connsiteX18" fmla="*/ 46026 w 142412"/>
                <a:gd name="connsiteY18" fmla="*/ 64229 h 68665"/>
                <a:gd name="connsiteX19" fmla="*/ 24978 w 142412"/>
                <a:gd name="connsiteY19" fmla="*/ 68791 h 68665"/>
                <a:gd name="connsiteX20" fmla="*/ 15728 w 142412"/>
                <a:gd name="connsiteY20" fmla="*/ 64730 h 68665"/>
                <a:gd name="connsiteX21" fmla="*/ 2963 w 142412"/>
                <a:gd name="connsiteY21" fmla="*/ 55167 h 68665"/>
                <a:gd name="connsiteX22" fmla="*/ 467 w 142412"/>
                <a:gd name="connsiteY22" fmla="*/ 42133 h 68665"/>
                <a:gd name="connsiteX23" fmla="*/ 2480 w 142412"/>
                <a:gd name="connsiteY23" fmla="*/ 37347 h 68665"/>
                <a:gd name="connsiteX24" fmla="*/ 6040 w 142412"/>
                <a:gd name="connsiteY24" fmla="*/ 29010 h 68665"/>
                <a:gd name="connsiteX25" fmla="*/ 17150 w 142412"/>
                <a:gd name="connsiteY25" fmla="*/ 29645 h 68665"/>
                <a:gd name="connsiteX26" fmla="*/ 25711 w 142412"/>
                <a:gd name="connsiteY26" fmla="*/ 25718 h 68665"/>
                <a:gd name="connsiteX27" fmla="*/ 26391 w 142412"/>
                <a:gd name="connsiteY27" fmla="*/ 22176 h 68665"/>
                <a:gd name="connsiteX28" fmla="*/ 31195 w 142412"/>
                <a:gd name="connsiteY28" fmla="*/ 20369 h 68665"/>
                <a:gd name="connsiteX29" fmla="*/ 32832 w 142412"/>
                <a:gd name="connsiteY29" fmla="*/ 11665 h 68665"/>
                <a:gd name="connsiteX30" fmla="*/ 38593 w 142412"/>
                <a:gd name="connsiteY30" fmla="*/ 10001 h 68665"/>
                <a:gd name="connsiteX31" fmla="*/ 42475 w 142412"/>
                <a:gd name="connsiteY31" fmla="*/ 3077 h 6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2412" h="68665">
                  <a:moveTo>
                    <a:pt x="49954" y="3033"/>
                  </a:moveTo>
                  <a:lnTo>
                    <a:pt x="51367" y="5358"/>
                  </a:lnTo>
                  <a:lnTo>
                    <a:pt x="61681" y="125"/>
                  </a:lnTo>
                  <a:lnTo>
                    <a:pt x="74330" y="13749"/>
                  </a:lnTo>
                  <a:lnTo>
                    <a:pt x="89152" y="5528"/>
                  </a:lnTo>
                  <a:lnTo>
                    <a:pt x="100997" y="9473"/>
                  </a:lnTo>
                  <a:lnTo>
                    <a:pt x="119049" y="4034"/>
                  </a:lnTo>
                  <a:lnTo>
                    <a:pt x="142879" y="18777"/>
                  </a:lnTo>
                  <a:lnTo>
                    <a:pt x="135928" y="28688"/>
                  </a:lnTo>
                  <a:lnTo>
                    <a:pt x="131035" y="43940"/>
                  </a:lnTo>
                  <a:lnTo>
                    <a:pt x="125686" y="47787"/>
                  </a:lnTo>
                  <a:lnTo>
                    <a:pt x="98823" y="36328"/>
                  </a:lnTo>
                  <a:lnTo>
                    <a:pt x="90602" y="38636"/>
                  </a:lnTo>
                  <a:lnTo>
                    <a:pt x="84716" y="47510"/>
                  </a:lnTo>
                  <a:lnTo>
                    <a:pt x="72944" y="52197"/>
                  </a:lnTo>
                  <a:lnTo>
                    <a:pt x="70224" y="49791"/>
                  </a:lnTo>
                  <a:lnTo>
                    <a:pt x="58013" y="55614"/>
                  </a:lnTo>
                  <a:lnTo>
                    <a:pt x="48048" y="56724"/>
                  </a:lnTo>
                  <a:lnTo>
                    <a:pt x="46026" y="64229"/>
                  </a:lnTo>
                  <a:lnTo>
                    <a:pt x="24978" y="68791"/>
                  </a:lnTo>
                  <a:lnTo>
                    <a:pt x="15728" y="64730"/>
                  </a:lnTo>
                  <a:lnTo>
                    <a:pt x="2963" y="55167"/>
                  </a:lnTo>
                  <a:lnTo>
                    <a:pt x="467" y="42133"/>
                  </a:lnTo>
                  <a:lnTo>
                    <a:pt x="2480" y="37347"/>
                  </a:lnTo>
                  <a:lnTo>
                    <a:pt x="6040" y="29010"/>
                  </a:lnTo>
                  <a:lnTo>
                    <a:pt x="17150" y="29645"/>
                  </a:lnTo>
                  <a:lnTo>
                    <a:pt x="25711" y="25718"/>
                  </a:lnTo>
                  <a:lnTo>
                    <a:pt x="26391" y="22176"/>
                  </a:lnTo>
                  <a:lnTo>
                    <a:pt x="31195" y="20369"/>
                  </a:lnTo>
                  <a:lnTo>
                    <a:pt x="32832" y="11665"/>
                  </a:lnTo>
                  <a:lnTo>
                    <a:pt x="38593" y="10001"/>
                  </a:lnTo>
                  <a:lnTo>
                    <a:pt x="42475" y="307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/>
            <p:cNvSpPr/>
            <p:nvPr/>
          </p:nvSpPr>
          <p:spPr>
            <a:xfrm>
              <a:off x="5505443" y="4409489"/>
              <a:ext cx="75652" cy="82155"/>
            </a:xfrm>
            <a:custGeom>
              <a:avLst/>
              <a:gdLst>
                <a:gd name="connsiteX0" fmla="*/ 45766 w 75652"/>
                <a:gd name="connsiteY0" fmla="*/ 82335 h 82155"/>
                <a:gd name="connsiteX1" fmla="*/ 39012 w 75652"/>
                <a:gd name="connsiteY1" fmla="*/ 80474 h 82155"/>
                <a:gd name="connsiteX2" fmla="*/ 20952 w 75652"/>
                <a:gd name="connsiteY2" fmla="*/ 70357 h 82155"/>
                <a:gd name="connsiteX3" fmla="*/ 7891 w 75652"/>
                <a:gd name="connsiteY3" fmla="*/ 56894 h 82155"/>
                <a:gd name="connsiteX4" fmla="*/ 3499 w 75652"/>
                <a:gd name="connsiteY4" fmla="*/ 47698 h 82155"/>
                <a:gd name="connsiteX5" fmla="*/ 431 w 75652"/>
                <a:gd name="connsiteY5" fmla="*/ 29083 h 82155"/>
                <a:gd name="connsiteX6" fmla="*/ 13831 w 75652"/>
                <a:gd name="connsiteY6" fmla="*/ 17981 h 82155"/>
                <a:gd name="connsiteX7" fmla="*/ 16729 w 75652"/>
                <a:gd name="connsiteY7" fmla="*/ 10977 h 82155"/>
                <a:gd name="connsiteX8" fmla="*/ 21014 w 75652"/>
                <a:gd name="connsiteY8" fmla="*/ 5520 h 82155"/>
                <a:gd name="connsiteX9" fmla="*/ 27920 w 75652"/>
                <a:gd name="connsiteY9" fmla="*/ 4948 h 82155"/>
                <a:gd name="connsiteX10" fmla="*/ 33770 w 75652"/>
                <a:gd name="connsiteY10" fmla="*/ 180 h 82155"/>
                <a:gd name="connsiteX11" fmla="*/ 53826 w 75652"/>
                <a:gd name="connsiteY11" fmla="*/ 207 h 82155"/>
                <a:gd name="connsiteX12" fmla="*/ 60804 w 75652"/>
                <a:gd name="connsiteY12" fmla="*/ 9250 h 82155"/>
                <a:gd name="connsiteX13" fmla="*/ 66243 w 75652"/>
                <a:gd name="connsiteY13" fmla="*/ 19869 h 82155"/>
                <a:gd name="connsiteX14" fmla="*/ 65429 w 75652"/>
                <a:gd name="connsiteY14" fmla="*/ 27213 h 82155"/>
                <a:gd name="connsiteX15" fmla="*/ 69463 w 75652"/>
                <a:gd name="connsiteY15" fmla="*/ 33806 h 82155"/>
                <a:gd name="connsiteX16" fmla="*/ 69177 w 75652"/>
                <a:gd name="connsiteY16" fmla="*/ 43047 h 82155"/>
                <a:gd name="connsiteX17" fmla="*/ 76083 w 75652"/>
                <a:gd name="connsiteY17" fmla="*/ 41606 h 82155"/>
                <a:gd name="connsiteX18" fmla="*/ 64409 w 75652"/>
                <a:gd name="connsiteY18" fmla="*/ 53352 h 82155"/>
                <a:gd name="connsiteX19" fmla="*/ 53093 w 75652"/>
                <a:gd name="connsiteY19" fmla="*/ 67002 h 82155"/>
                <a:gd name="connsiteX20" fmla="*/ 51769 w 75652"/>
                <a:gd name="connsiteY20" fmla="*/ 74302 h 8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5652" h="82155">
                  <a:moveTo>
                    <a:pt x="45766" y="82335"/>
                  </a:moveTo>
                  <a:lnTo>
                    <a:pt x="39012" y="80474"/>
                  </a:lnTo>
                  <a:lnTo>
                    <a:pt x="20952" y="70357"/>
                  </a:lnTo>
                  <a:lnTo>
                    <a:pt x="7891" y="56894"/>
                  </a:lnTo>
                  <a:lnTo>
                    <a:pt x="3499" y="47698"/>
                  </a:lnTo>
                  <a:lnTo>
                    <a:pt x="431" y="29083"/>
                  </a:lnTo>
                  <a:lnTo>
                    <a:pt x="13831" y="17981"/>
                  </a:lnTo>
                  <a:lnTo>
                    <a:pt x="16729" y="10977"/>
                  </a:lnTo>
                  <a:lnTo>
                    <a:pt x="21014" y="5520"/>
                  </a:lnTo>
                  <a:lnTo>
                    <a:pt x="27920" y="4948"/>
                  </a:lnTo>
                  <a:lnTo>
                    <a:pt x="33770" y="180"/>
                  </a:lnTo>
                  <a:lnTo>
                    <a:pt x="53826" y="207"/>
                  </a:lnTo>
                  <a:lnTo>
                    <a:pt x="60804" y="9250"/>
                  </a:lnTo>
                  <a:lnTo>
                    <a:pt x="66243" y="19869"/>
                  </a:lnTo>
                  <a:lnTo>
                    <a:pt x="65429" y="27213"/>
                  </a:lnTo>
                  <a:lnTo>
                    <a:pt x="69463" y="33806"/>
                  </a:lnTo>
                  <a:lnTo>
                    <a:pt x="69177" y="43047"/>
                  </a:lnTo>
                  <a:lnTo>
                    <a:pt x="76083" y="41606"/>
                  </a:lnTo>
                  <a:lnTo>
                    <a:pt x="64409" y="53352"/>
                  </a:lnTo>
                  <a:lnTo>
                    <a:pt x="53093" y="67002"/>
                  </a:lnTo>
                  <a:lnTo>
                    <a:pt x="51769" y="7430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/>
            <p:cNvSpPr/>
            <p:nvPr/>
          </p:nvSpPr>
          <p:spPr>
            <a:xfrm>
              <a:off x="5395619" y="4241591"/>
              <a:ext cx="154435" cy="109850"/>
            </a:xfrm>
            <a:custGeom>
              <a:avLst/>
              <a:gdLst>
                <a:gd name="connsiteX0" fmla="*/ 23283 w 154435"/>
                <a:gd name="connsiteY0" fmla="*/ 77721 h 109850"/>
                <a:gd name="connsiteX1" fmla="*/ 12942 w 154435"/>
                <a:gd name="connsiteY1" fmla="*/ 57719 h 109850"/>
                <a:gd name="connsiteX2" fmla="*/ 427 w 154435"/>
                <a:gd name="connsiteY2" fmla="*/ 48550 h 109850"/>
                <a:gd name="connsiteX3" fmla="*/ 11457 w 154435"/>
                <a:gd name="connsiteY3" fmla="*/ 43656 h 109850"/>
                <a:gd name="connsiteX4" fmla="*/ 23614 w 154435"/>
                <a:gd name="connsiteY4" fmla="*/ 25515 h 109850"/>
                <a:gd name="connsiteX5" fmla="*/ 29572 w 154435"/>
                <a:gd name="connsiteY5" fmla="*/ 12213 h 109850"/>
                <a:gd name="connsiteX6" fmla="*/ 38160 w 154435"/>
                <a:gd name="connsiteY6" fmla="*/ 3885 h 109850"/>
                <a:gd name="connsiteX7" fmla="*/ 50621 w 154435"/>
                <a:gd name="connsiteY7" fmla="*/ 6130 h 109850"/>
                <a:gd name="connsiteX8" fmla="*/ 62858 w 154435"/>
                <a:gd name="connsiteY8" fmla="*/ 468 h 109850"/>
                <a:gd name="connsiteX9" fmla="*/ 76867 w 154435"/>
                <a:gd name="connsiteY9" fmla="*/ 172 h 109850"/>
                <a:gd name="connsiteX10" fmla="*/ 88854 w 154435"/>
                <a:gd name="connsiteY10" fmla="*/ 7821 h 109850"/>
                <a:gd name="connsiteX11" fmla="*/ 105501 w 154435"/>
                <a:gd name="connsiteY11" fmla="*/ 14691 h 109850"/>
                <a:gd name="connsiteX12" fmla="*/ 120682 w 154435"/>
                <a:gd name="connsiteY12" fmla="*/ 33736 h 109850"/>
                <a:gd name="connsiteX13" fmla="*/ 137231 w 154435"/>
                <a:gd name="connsiteY13" fmla="*/ 51457 h 109850"/>
                <a:gd name="connsiteX14" fmla="*/ 138376 w 154435"/>
                <a:gd name="connsiteY14" fmla="*/ 67461 h 109850"/>
                <a:gd name="connsiteX15" fmla="*/ 143332 w 154435"/>
                <a:gd name="connsiteY15" fmla="*/ 82149 h 109850"/>
                <a:gd name="connsiteX16" fmla="*/ 152716 w 154435"/>
                <a:gd name="connsiteY16" fmla="*/ 89341 h 109850"/>
                <a:gd name="connsiteX17" fmla="*/ 154863 w 154435"/>
                <a:gd name="connsiteY17" fmla="*/ 99235 h 109850"/>
                <a:gd name="connsiteX18" fmla="*/ 153709 w 154435"/>
                <a:gd name="connsiteY18" fmla="*/ 107187 h 109850"/>
                <a:gd name="connsiteX19" fmla="*/ 150086 w 154435"/>
                <a:gd name="connsiteY19" fmla="*/ 108628 h 109850"/>
                <a:gd name="connsiteX20" fmla="*/ 136408 w 154435"/>
                <a:gd name="connsiteY20" fmla="*/ 106606 h 109850"/>
                <a:gd name="connsiteX21" fmla="*/ 134529 w 154435"/>
                <a:gd name="connsiteY21" fmla="*/ 109451 h 109850"/>
                <a:gd name="connsiteX22" fmla="*/ 129001 w 154435"/>
                <a:gd name="connsiteY22" fmla="*/ 110023 h 109850"/>
                <a:gd name="connsiteX23" fmla="*/ 110967 w 154435"/>
                <a:gd name="connsiteY23" fmla="*/ 103797 h 109850"/>
                <a:gd name="connsiteX24" fmla="*/ 98864 w 154435"/>
                <a:gd name="connsiteY24" fmla="*/ 103529 h 109850"/>
                <a:gd name="connsiteX25" fmla="*/ 52508 w 154435"/>
                <a:gd name="connsiteY25" fmla="*/ 102464 h 109850"/>
                <a:gd name="connsiteX26" fmla="*/ 45790 w 154435"/>
                <a:gd name="connsiteY26" fmla="*/ 105336 h 109850"/>
                <a:gd name="connsiteX27" fmla="*/ 37480 w 154435"/>
                <a:gd name="connsiteY27" fmla="*/ 104513 h 109850"/>
                <a:gd name="connsiteX28" fmla="*/ 24196 w 154435"/>
                <a:gd name="connsiteY28" fmla="*/ 108672 h 109850"/>
                <a:gd name="connsiteX29" fmla="*/ 20081 w 154435"/>
                <a:gd name="connsiteY29" fmla="*/ 89082 h 109850"/>
                <a:gd name="connsiteX30" fmla="*/ 42910 w 154435"/>
                <a:gd name="connsiteY30" fmla="*/ 89627 h 109850"/>
                <a:gd name="connsiteX31" fmla="*/ 48939 w 154435"/>
                <a:gd name="connsiteY31" fmla="*/ 86040 h 109850"/>
                <a:gd name="connsiteX32" fmla="*/ 53430 w 154435"/>
                <a:gd name="connsiteY32" fmla="*/ 85825 h 109850"/>
                <a:gd name="connsiteX33" fmla="*/ 62724 w 154435"/>
                <a:gd name="connsiteY33" fmla="*/ 79913 h 109850"/>
                <a:gd name="connsiteX34" fmla="*/ 73485 w 154435"/>
                <a:gd name="connsiteY34" fmla="*/ 85325 h 109850"/>
                <a:gd name="connsiteX35" fmla="*/ 84381 w 154435"/>
                <a:gd name="connsiteY35" fmla="*/ 85781 h 109850"/>
                <a:gd name="connsiteX36" fmla="*/ 95241 w 154435"/>
                <a:gd name="connsiteY36" fmla="*/ 80029 h 109850"/>
                <a:gd name="connsiteX37" fmla="*/ 90169 w 154435"/>
                <a:gd name="connsiteY37" fmla="*/ 72613 h 109850"/>
                <a:gd name="connsiteX38" fmla="*/ 81903 w 154435"/>
                <a:gd name="connsiteY38" fmla="*/ 76934 h 109850"/>
                <a:gd name="connsiteX39" fmla="*/ 74120 w 154435"/>
                <a:gd name="connsiteY39" fmla="*/ 76817 h 109850"/>
                <a:gd name="connsiteX40" fmla="*/ 64218 w 154435"/>
                <a:gd name="connsiteY40" fmla="*/ 70502 h 109850"/>
                <a:gd name="connsiteX41" fmla="*/ 56265 w 154435"/>
                <a:gd name="connsiteY41" fmla="*/ 70913 h 109850"/>
                <a:gd name="connsiteX42" fmla="*/ 50603 w 154435"/>
                <a:gd name="connsiteY42" fmla="*/ 76988 h 10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4435" h="109850">
                  <a:moveTo>
                    <a:pt x="23283" y="77721"/>
                  </a:moveTo>
                  <a:lnTo>
                    <a:pt x="12942" y="57719"/>
                  </a:lnTo>
                  <a:lnTo>
                    <a:pt x="427" y="48550"/>
                  </a:lnTo>
                  <a:lnTo>
                    <a:pt x="11457" y="43656"/>
                  </a:lnTo>
                  <a:lnTo>
                    <a:pt x="23614" y="25515"/>
                  </a:lnTo>
                  <a:lnTo>
                    <a:pt x="29572" y="12213"/>
                  </a:lnTo>
                  <a:lnTo>
                    <a:pt x="38160" y="3885"/>
                  </a:lnTo>
                  <a:lnTo>
                    <a:pt x="50621" y="6130"/>
                  </a:lnTo>
                  <a:lnTo>
                    <a:pt x="62858" y="468"/>
                  </a:lnTo>
                  <a:lnTo>
                    <a:pt x="76867" y="172"/>
                  </a:lnTo>
                  <a:lnTo>
                    <a:pt x="88854" y="7821"/>
                  </a:lnTo>
                  <a:lnTo>
                    <a:pt x="105501" y="14691"/>
                  </a:lnTo>
                  <a:lnTo>
                    <a:pt x="120682" y="33736"/>
                  </a:lnTo>
                  <a:lnTo>
                    <a:pt x="137231" y="51457"/>
                  </a:lnTo>
                  <a:lnTo>
                    <a:pt x="138376" y="67461"/>
                  </a:lnTo>
                  <a:lnTo>
                    <a:pt x="143332" y="82149"/>
                  </a:lnTo>
                  <a:lnTo>
                    <a:pt x="152716" y="89341"/>
                  </a:lnTo>
                  <a:lnTo>
                    <a:pt x="154863" y="99235"/>
                  </a:lnTo>
                  <a:lnTo>
                    <a:pt x="153709" y="107187"/>
                  </a:lnTo>
                  <a:lnTo>
                    <a:pt x="150086" y="108628"/>
                  </a:lnTo>
                  <a:lnTo>
                    <a:pt x="136408" y="106606"/>
                  </a:lnTo>
                  <a:lnTo>
                    <a:pt x="134529" y="109451"/>
                  </a:lnTo>
                  <a:lnTo>
                    <a:pt x="129001" y="110023"/>
                  </a:lnTo>
                  <a:lnTo>
                    <a:pt x="110967" y="103797"/>
                  </a:lnTo>
                  <a:lnTo>
                    <a:pt x="98864" y="103529"/>
                  </a:lnTo>
                  <a:lnTo>
                    <a:pt x="52508" y="102464"/>
                  </a:lnTo>
                  <a:lnTo>
                    <a:pt x="45790" y="105336"/>
                  </a:lnTo>
                  <a:lnTo>
                    <a:pt x="37480" y="104513"/>
                  </a:lnTo>
                  <a:lnTo>
                    <a:pt x="24196" y="108672"/>
                  </a:lnTo>
                  <a:lnTo>
                    <a:pt x="20081" y="89082"/>
                  </a:lnTo>
                  <a:lnTo>
                    <a:pt x="42910" y="89627"/>
                  </a:lnTo>
                  <a:lnTo>
                    <a:pt x="48939" y="86040"/>
                  </a:lnTo>
                  <a:lnTo>
                    <a:pt x="53430" y="85825"/>
                  </a:lnTo>
                  <a:lnTo>
                    <a:pt x="62724" y="79913"/>
                  </a:lnTo>
                  <a:lnTo>
                    <a:pt x="73485" y="85325"/>
                  </a:lnTo>
                  <a:lnTo>
                    <a:pt x="84381" y="85781"/>
                  </a:lnTo>
                  <a:lnTo>
                    <a:pt x="95241" y="80029"/>
                  </a:lnTo>
                  <a:lnTo>
                    <a:pt x="90169" y="72613"/>
                  </a:lnTo>
                  <a:lnTo>
                    <a:pt x="81903" y="76934"/>
                  </a:lnTo>
                  <a:lnTo>
                    <a:pt x="74120" y="76817"/>
                  </a:lnTo>
                  <a:lnTo>
                    <a:pt x="64218" y="70502"/>
                  </a:lnTo>
                  <a:lnTo>
                    <a:pt x="56265" y="70913"/>
                  </a:lnTo>
                  <a:lnTo>
                    <a:pt x="50603" y="7698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/>
            <p:cNvSpPr/>
            <p:nvPr/>
          </p:nvSpPr>
          <p:spPr>
            <a:xfrm>
              <a:off x="6865570" y="4359278"/>
              <a:ext cx="254651" cy="343775"/>
            </a:xfrm>
            <a:custGeom>
              <a:avLst/>
              <a:gdLst>
                <a:gd name="connsiteX0" fmla="*/ 255148 w 254651"/>
                <a:gd name="connsiteY0" fmla="*/ 7223 h 343775"/>
                <a:gd name="connsiteX1" fmla="*/ 254585 w 254651"/>
                <a:gd name="connsiteY1" fmla="*/ 183 h 343775"/>
                <a:gd name="connsiteX2" fmla="*/ 245066 w 254651"/>
                <a:gd name="connsiteY2" fmla="*/ 246 h 343775"/>
                <a:gd name="connsiteX3" fmla="*/ 233196 w 254651"/>
                <a:gd name="connsiteY3" fmla="*/ 8968 h 343775"/>
                <a:gd name="connsiteX4" fmla="*/ 219903 w 254651"/>
                <a:gd name="connsiteY4" fmla="*/ 11526 h 343775"/>
                <a:gd name="connsiteX5" fmla="*/ 208345 w 254651"/>
                <a:gd name="connsiteY5" fmla="*/ 15301 h 343775"/>
                <a:gd name="connsiteX6" fmla="*/ 200330 w 254651"/>
                <a:gd name="connsiteY6" fmla="*/ 15811 h 343775"/>
                <a:gd name="connsiteX7" fmla="*/ 186044 w 254651"/>
                <a:gd name="connsiteY7" fmla="*/ 16696 h 343775"/>
                <a:gd name="connsiteX8" fmla="*/ 177081 w 254651"/>
                <a:gd name="connsiteY8" fmla="*/ 21339 h 343775"/>
                <a:gd name="connsiteX9" fmla="*/ 164647 w 254651"/>
                <a:gd name="connsiteY9" fmla="*/ 23012 h 343775"/>
                <a:gd name="connsiteX10" fmla="*/ 142569 w 254651"/>
                <a:gd name="connsiteY10" fmla="*/ 30893 h 343775"/>
                <a:gd name="connsiteX11" fmla="*/ 115267 w 254651"/>
                <a:gd name="connsiteY11" fmla="*/ 33899 h 343775"/>
                <a:gd name="connsiteX12" fmla="*/ 91624 w 254651"/>
                <a:gd name="connsiteY12" fmla="*/ 40384 h 343775"/>
                <a:gd name="connsiteX13" fmla="*/ 79172 w 254651"/>
                <a:gd name="connsiteY13" fmla="*/ 40304 h 343775"/>
                <a:gd name="connsiteX14" fmla="*/ 67856 w 254651"/>
                <a:gd name="connsiteY14" fmla="*/ 29685 h 343775"/>
                <a:gd name="connsiteX15" fmla="*/ 62936 w 254651"/>
                <a:gd name="connsiteY15" fmla="*/ 19192 h 343775"/>
                <a:gd name="connsiteX16" fmla="*/ 54778 w 254651"/>
                <a:gd name="connsiteY16" fmla="*/ 14505 h 343775"/>
                <a:gd name="connsiteX17" fmla="*/ 45537 w 254651"/>
                <a:gd name="connsiteY17" fmla="*/ 28093 h 343775"/>
                <a:gd name="connsiteX18" fmla="*/ 40071 w 254651"/>
                <a:gd name="connsiteY18" fmla="*/ 37083 h 343775"/>
                <a:gd name="connsiteX19" fmla="*/ 49330 w 254651"/>
                <a:gd name="connsiteY19" fmla="*/ 51029 h 343775"/>
                <a:gd name="connsiteX20" fmla="*/ 58580 w 254651"/>
                <a:gd name="connsiteY20" fmla="*/ 63204 h 343775"/>
                <a:gd name="connsiteX21" fmla="*/ 68160 w 254651"/>
                <a:gd name="connsiteY21" fmla="*/ 72212 h 343775"/>
                <a:gd name="connsiteX22" fmla="*/ 150164 w 254651"/>
                <a:gd name="connsiteY22" fmla="*/ 102126 h 343775"/>
                <a:gd name="connsiteX23" fmla="*/ 171266 w 254651"/>
                <a:gd name="connsiteY23" fmla="*/ 101965 h 343775"/>
                <a:gd name="connsiteX24" fmla="*/ 100382 w 254651"/>
                <a:gd name="connsiteY24" fmla="*/ 177250 h 343775"/>
                <a:gd name="connsiteX25" fmla="*/ 67713 w 254651"/>
                <a:gd name="connsiteY25" fmla="*/ 178351 h 343775"/>
                <a:gd name="connsiteX26" fmla="*/ 45358 w 254651"/>
                <a:gd name="connsiteY26" fmla="*/ 195964 h 343775"/>
                <a:gd name="connsiteX27" fmla="*/ 29274 w 254651"/>
                <a:gd name="connsiteY27" fmla="*/ 196429 h 343775"/>
                <a:gd name="connsiteX28" fmla="*/ 22413 w 254651"/>
                <a:gd name="connsiteY28" fmla="*/ 204302 h 343775"/>
                <a:gd name="connsiteX29" fmla="*/ 497 w 254651"/>
                <a:gd name="connsiteY29" fmla="*/ 232614 h 343775"/>
                <a:gd name="connsiteX30" fmla="*/ 792 w 254651"/>
                <a:gd name="connsiteY30" fmla="*/ 323393 h 343775"/>
                <a:gd name="connsiteX31" fmla="*/ 15650 w 254651"/>
                <a:gd name="connsiteY31" fmla="*/ 343959 h 343775"/>
                <a:gd name="connsiteX32" fmla="*/ 21313 w 254651"/>
                <a:gd name="connsiteY32" fmla="*/ 338055 h 343775"/>
                <a:gd name="connsiteX33" fmla="*/ 27091 w 254651"/>
                <a:gd name="connsiteY33" fmla="*/ 324914 h 343775"/>
                <a:gd name="connsiteX34" fmla="*/ 54545 w 254651"/>
                <a:gd name="connsiteY34" fmla="*/ 294732 h 343775"/>
                <a:gd name="connsiteX35" fmla="*/ 77920 w 254651"/>
                <a:gd name="connsiteY35" fmla="*/ 275785 h 343775"/>
                <a:gd name="connsiteX36" fmla="*/ 115446 w 254651"/>
                <a:gd name="connsiteY36" fmla="*/ 251042 h 343775"/>
                <a:gd name="connsiteX37" fmla="*/ 140538 w 254651"/>
                <a:gd name="connsiteY37" fmla="*/ 230852 h 343775"/>
                <a:gd name="connsiteX38" fmla="*/ 170041 w 254651"/>
                <a:gd name="connsiteY38" fmla="*/ 196796 h 343775"/>
                <a:gd name="connsiteX39" fmla="*/ 191456 w 254651"/>
                <a:gd name="connsiteY39" fmla="*/ 168806 h 343775"/>
                <a:gd name="connsiteX40" fmla="*/ 212979 w 254651"/>
                <a:gd name="connsiteY40" fmla="*/ 132076 h 343775"/>
                <a:gd name="connsiteX41" fmla="*/ 228491 w 254651"/>
                <a:gd name="connsiteY41" fmla="*/ 99988 h 343775"/>
                <a:gd name="connsiteX42" fmla="*/ 240558 w 254651"/>
                <a:gd name="connsiteY42" fmla="*/ 71836 h 343775"/>
                <a:gd name="connsiteX43" fmla="*/ 247625 w 254651"/>
                <a:gd name="connsiteY43" fmla="*/ 44508 h 343775"/>
                <a:gd name="connsiteX44" fmla="*/ 252930 w 254651"/>
                <a:gd name="connsiteY44" fmla="*/ 35348 h 343775"/>
                <a:gd name="connsiteX45" fmla="*/ 252832 w 254651"/>
                <a:gd name="connsiteY45" fmla="*/ 22010 h 34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54651" h="343775">
                  <a:moveTo>
                    <a:pt x="255148" y="7223"/>
                  </a:moveTo>
                  <a:lnTo>
                    <a:pt x="254585" y="183"/>
                  </a:lnTo>
                  <a:lnTo>
                    <a:pt x="245066" y="246"/>
                  </a:lnTo>
                  <a:lnTo>
                    <a:pt x="233196" y="8968"/>
                  </a:lnTo>
                  <a:lnTo>
                    <a:pt x="219903" y="11526"/>
                  </a:lnTo>
                  <a:lnTo>
                    <a:pt x="208345" y="15301"/>
                  </a:lnTo>
                  <a:lnTo>
                    <a:pt x="200330" y="15811"/>
                  </a:lnTo>
                  <a:lnTo>
                    <a:pt x="186044" y="16696"/>
                  </a:lnTo>
                  <a:lnTo>
                    <a:pt x="177081" y="21339"/>
                  </a:lnTo>
                  <a:lnTo>
                    <a:pt x="164647" y="23012"/>
                  </a:lnTo>
                  <a:lnTo>
                    <a:pt x="142569" y="30893"/>
                  </a:lnTo>
                  <a:lnTo>
                    <a:pt x="115267" y="33899"/>
                  </a:lnTo>
                  <a:lnTo>
                    <a:pt x="91624" y="40384"/>
                  </a:lnTo>
                  <a:lnTo>
                    <a:pt x="79172" y="40304"/>
                  </a:lnTo>
                  <a:lnTo>
                    <a:pt x="67856" y="29685"/>
                  </a:lnTo>
                  <a:lnTo>
                    <a:pt x="62936" y="19192"/>
                  </a:lnTo>
                  <a:lnTo>
                    <a:pt x="54778" y="14505"/>
                  </a:lnTo>
                  <a:lnTo>
                    <a:pt x="45537" y="28093"/>
                  </a:lnTo>
                  <a:lnTo>
                    <a:pt x="40071" y="37083"/>
                  </a:lnTo>
                  <a:lnTo>
                    <a:pt x="49330" y="51029"/>
                  </a:lnTo>
                  <a:lnTo>
                    <a:pt x="58580" y="63204"/>
                  </a:lnTo>
                  <a:lnTo>
                    <a:pt x="68160" y="72212"/>
                  </a:lnTo>
                  <a:lnTo>
                    <a:pt x="150164" y="102126"/>
                  </a:lnTo>
                  <a:lnTo>
                    <a:pt x="171266" y="101965"/>
                  </a:lnTo>
                  <a:lnTo>
                    <a:pt x="100382" y="177250"/>
                  </a:lnTo>
                  <a:lnTo>
                    <a:pt x="67713" y="178351"/>
                  </a:lnTo>
                  <a:lnTo>
                    <a:pt x="45358" y="195964"/>
                  </a:lnTo>
                  <a:lnTo>
                    <a:pt x="29274" y="196429"/>
                  </a:lnTo>
                  <a:lnTo>
                    <a:pt x="22413" y="204302"/>
                  </a:lnTo>
                  <a:lnTo>
                    <a:pt x="497" y="232614"/>
                  </a:lnTo>
                  <a:lnTo>
                    <a:pt x="792" y="323393"/>
                  </a:lnTo>
                  <a:lnTo>
                    <a:pt x="15650" y="343959"/>
                  </a:lnTo>
                  <a:lnTo>
                    <a:pt x="21313" y="338055"/>
                  </a:lnTo>
                  <a:lnTo>
                    <a:pt x="27091" y="324914"/>
                  </a:lnTo>
                  <a:lnTo>
                    <a:pt x="54545" y="294732"/>
                  </a:lnTo>
                  <a:lnTo>
                    <a:pt x="77920" y="275785"/>
                  </a:lnTo>
                  <a:lnTo>
                    <a:pt x="115446" y="251042"/>
                  </a:lnTo>
                  <a:lnTo>
                    <a:pt x="140538" y="230852"/>
                  </a:lnTo>
                  <a:lnTo>
                    <a:pt x="170041" y="196796"/>
                  </a:lnTo>
                  <a:lnTo>
                    <a:pt x="191456" y="168806"/>
                  </a:lnTo>
                  <a:lnTo>
                    <a:pt x="212979" y="132076"/>
                  </a:lnTo>
                  <a:lnTo>
                    <a:pt x="228491" y="99988"/>
                  </a:lnTo>
                  <a:lnTo>
                    <a:pt x="240558" y="71836"/>
                  </a:lnTo>
                  <a:lnTo>
                    <a:pt x="247625" y="44508"/>
                  </a:lnTo>
                  <a:lnTo>
                    <a:pt x="252930" y="35348"/>
                  </a:lnTo>
                  <a:lnTo>
                    <a:pt x="252832" y="2201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/>
            <p:cNvSpPr/>
            <p:nvPr/>
          </p:nvSpPr>
          <p:spPr>
            <a:xfrm>
              <a:off x="4381816" y="4510716"/>
              <a:ext cx="102497" cy="105100"/>
            </a:xfrm>
            <a:custGeom>
              <a:avLst/>
              <a:gdLst>
                <a:gd name="connsiteX0" fmla="*/ 22887 w 102497"/>
                <a:gd name="connsiteY0" fmla="*/ 1491 h 105100"/>
                <a:gd name="connsiteX1" fmla="*/ 52935 w 102497"/>
                <a:gd name="connsiteY1" fmla="*/ 6509 h 105100"/>
                <a:gd name="connsiteX2" fmla="*/ 55636 w 102497"/>
                <a:gd name="connsiteY2" fmla="*/ 1992 h 105100"/>
                <a:gd name="connsiteX3" fmla="*/ 75916 w 102497"/>
                <a:gd name="connsiteY3" fmla="*/ 185 h 105100"/>
                <a:gd name="connsiteX4" fmla="*/ 102877 w 102497"/>
                <a:gd name="connsiteY4" fmla="*/ 6912 h 105100"/>
                <a:gd name="connsiteX5" fmla="*/ 89826 w 102497"/>
                <a:gd name="connsiteY5" fmla="*/ 28426 h 105100"/>
                <a:gd name="connsiteX6" fmla="*/ 91812 w 102497"/>
                <a:gd name="connsiteY6" fmla="*/ 45529 h 105100"/>
                <a:gd name="connsiteX7" fmla="*/ 101661 w 102497"/>
                <a:gd name="connsiteY7" fmla="*/ 60325 h 105100"/>
                <a:gd name="connsiteX8" fmla="*/ 97269 w 102497"/>
                <a:gd name="connsiteY8" fmla="*/ 71069 h 105100"/>
                <a:gd name="connsiteX9" fmla="*/ 95068 w 102497"/>
                <a:gd name="connsiteY9" fmla="*/ 82474 h 105100"/>
                <a:gd name="connsiteX10" fmla="*/ 88672 w 102497"/>
                <a:gd name="connsiteY10" fmla="*/ 92967 h 105100"/>
                <a:gd name="connsiteX11" fmla="*/ 74306 w 102497"/>
                <a:gd name="connsiteY11" fmla="*/ 87681 h 105100"/>
                <a:gd name="connsiteX12" fmla="*/ 62453 w 102497"/>
                <a:gd name="connsiteY12" fmla="*/ 90230 h 105100"/>
                <a:gd name="connsiteX13" fmla="*/ 52335 w 102497"/>
                <a:gd name="connsiteY13" fmla="*/ 88012 h 105100"/>
                <a:gd name="connsiteX14" fmla="*/ 49831 w 102497"/>
                <a:gd name="connsiteY14" fmla="*/ 95231 h 105100"/>
                <a:gd name="connsiteX15" fmla="*/ 54035 w 102497"/>
                <a:gd name="connsiteY15" fmla="*/ 100187 h 105100"/>
                <a:gd name="connsiteX16" fmla="*/ 51781 w 102497"/>
                <a:gd name="connsiteY16" fmla="*/ 105285 h 105100"/>
                <a:gd name="connsiteX17" fmla="*/ 38139 w 102497"/>
                <a:gd name="connsiteY17" fmla="*/ 103246 h 105100"/>
                <a:gd name="connsiteX18" fmla="*/ 22824 w 102497"/>
                <a:gd name="connsiteY18" fmla="*/ 81562 h 105100"/>
                <a:gd name="connsiteX19" fmla="*/ 19532 w 102497"/>
                <a:gd name="connsiteY19" fmla="*/ 67482 h 105100"/>
                <a:gd name="connsiteX20" fmla="*/ 11499 w 102497"/>
                <a:gd name="connsiteY20" fmla="*/ 67455 h 105100"/>
                <a:gd name="connsiteX21" fmla="*/ 380 w 102497"/>
                <a:gd name="connsiteY21" fmla="*/ 49322 h 105100"/>
                <a:gd name="connsiteX22" fmla="*/ 5005 w 102497"/>
                <a:gd name="connsiteY22" fmla="*/ 36432 h 105100"/>
                <a:gd name="connsiteX23" fmla="*/ 3654 w 102497"/>
                <a:gd name="connsiteY23" fmla="*/ 30537 h 105100"/>
                <a:gd name="connsiteX24" fmla="*/ 18879 w 102497"/>
                <a:gd name="connsiteY24" fmla="*/ 24006 h 10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2497" h="105100">
                  <a:moveTo>
                    <a:pt x="22887" y="1491"/>
                  </a:moveTo>
                  <a:lnTo>
                    <a:pt x="52935" y="6509"/>
                  </a:lnTo>
                  <a:lnTo>
                    <a:pt x="55636" y="1992"/>
                  </a:lnTo>
                  <a:lnTo>
                    <a:pt x="75916" y="185"/>
                  </a:lnTo>
                  <a:lnTo>
                    <a:pt x="102877" y="6912"/>
                  </a:lnTo>
                  <a:lnTo>
                    <a:pt x="89826" y="28426"/>
                  </a:lnTo>
                  <a:lnTo>
                    <a:pt x="91812" y="45529"/>
                  </a:lnTo>
                  <a:lnTo>
                    <a:pt x="101661" y="60325"/>
                  </a:lnTo>
                  <a:lnTo>
                    <a:pt x="97269" y="71069"/>
                  </a:lnTo>
                  <a:lnTo>
                    <a:pt x="95068" y="82474"/>
                  </a:lnTo>
                  <a:lnTo>
                    <a:pt x="88672" y="92967"/>
                  </a:lnTo>
                  <a:lnTo>
                    <a:pt x="74306" y="87681"/>
                  </a:lnTo>
                  <a:lnTo>
                    <a:pt x="62453" y="90230"/>
                  </a:lnTo>
                  <a:lnTo>
                    <a:pt x="52335" y="88012"/>
                  </a:lnTo>
                  <a:lnTo>
                    <a:pt x="49831" y="95231"/>
                  </a:lnTo>
                  <a:lnTo>
                    <a:pt x="54035" y="100187"/>
                  </a:lnTo>
                  <a:lnTo>
                    <a:pt x="51781" y="105285"/>
                  </a:lnTo>
                  <a:lnTo>
                    <a:pt x="38139" y="103246"/>
                  </a:lnTo>
                  <a:lnTo>
                    <a:pt x="22824" y="81562"/>
                  </a:lnTo>
                  <a:lnTo>
                    <a:pt x="19532" y="67482"/>
                  </a:lnTo>
                  <a:lnTo>
                    <a:pt x="11499" y="67455"/>
                  </a:lnTo>
                  <a:lnTo>
                    <a:pt x="380" y="49322"/>
                  </a:lnTo>
                  <a:lnTo>
                    <a:pt x="5005" y="36432"/>
                  </a:lnTo>
                  <a:lnTo>
                    <a:pt x="3654" y="30537"/>
                  </a:lnTo>
                  <a:lnTo>
                    <a:pt x="18879" y="2400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/>
            <p:cNvSpPr/>
            <p:nvPr/>
          </p:nvSpPr>
          <p:spPr>
            <a:xfrm>
              <a:off x="6436821" y="4353579"/>
              <a:ext cx="286211" cy="220041"/>
            </a:xfrm>
            <a:custGeom>
              <a:avLst/>
              <a:gdLst>
                <a:gd name="connsiteX0" fmla="*/ 253206 w 286211"/>
                <a:gd name="connsiteY0" fmla="*/ 70823 h 220041"/>
                <a:gd name="connsiteX1" fmla="*/ 253501 w 286211"/>
                <a:gd name="connsiteY1" fmla="*/ 90503 h 220041"/>
                <a:gd name="connsiteX2" fmla="*/ 249753 w 286211"/>
                <a:gd name="connsiteY2" fmla="*/ 98196 h 220041"/>
                <a:gd name="connsiteX3" fmla="*/ 236434 w 286211"/>
                <a:gd name="connsiteY3" fmla="*/ 98813 h 220041"/>
                <a:gd name="connsiteX4" fmla="*/ 227890 w 286211"/>
                <a:gd name="connsiteY4" fmla="*/ 113144 h 220041"/>
                <a:gd name="connsiteX5" fmla="*/ 243304 w 286211"/>
                <a:gd name="connsiteY5" fmla="*/ 114951 h 220041"/>
                <a:gd name="connsiteX6" fmla="*/ 256006 w 286211"/>
                <a:gd name="connsiteY6" fmla="*/ 127197 h 220041"/>
                <a:gd name="connsiteX7" fmla="*/ 260407 w 286211"/>
                <a:gd name="connsiteY7" fmla="*/ 137234 h 220041"/>
                <a:gd name="connsiteX8" fmla="*/ 271857 w 286211"/>
                <a:gd name="connsiteY8" fmla="*/ 143058 h 220041"/>
                <a:gd name="connsiteX9" fmla="*/ 286689 w 286211"/>
                <a:gd name="connsiteY9" fmla="*/ 170315 h 220041"/>
                <a:gd name="connsiteX10" fmla="*/ 269684 w 286211"/>
                <a:gd name="connsiteY10" fmla="*/ 186801 h 220041"/>
                <a:gd name="connsiteX11" fmla="*/ 254253 w 286211"/>
                <a:gd name="connsiteY11" fmla="*/ 201731 h 220041"/>
                <a:gd name="connsiteX12" fmla="*/ 238831 w 286211"/>
                <a:gd name="connsiteY12" fmla="*/ 213217 h 220041"/>
                <a:gd name="connsiteX13" fmla="*/ 221181 w 286211"/>
                <a:gd name="connsiteY13" fmla="*/ 213155 h 220041"/>
                <a:gd name="connsiteX14" fmla="*/ 200991 w 286211"/>
                <a:gd name="connsiteY14" fmla="*/ 219005 h 220041"/>
                <a:gd name="connsiteX15" fmla="*/ 185042 w 286211"/>
                <a:gd name="connsiteY15" fmla="*/ 213423 h 220041"/>
                <a:gd name="connsiteX16" fmla="*/ 174718 w 286211"/>
                <a:gd name="connsiteY16" fmla="*/ 220222 h 220041"/>
                <a:gd name="connsiteX17" fmla="*/ 152632 w 286211"/>
                <a:gd name="connsiteY17" fmla="*/ 203628 h 220041"/>
                <a:gd name="connsiteX18" fmla="*/ 146674 w 286211"/>
                <a:gd name="connsiteY18" fmla="*/ 192965 h 220041"/>
                <a:gd name="connsiteX19" fmla="*/ 132710 w 286211"/>
                <a:gd name="connsiteY19" fmla="*/ 198243 h 220041"/>
                <a:gd name="connsiteX20" fmla="*/ 121108 w 286211"/>
                <a:gd name="connsiteY20" fmla="*/ 196605 h 220041"/>
                <a:gd name="connsiteX21" fmla="*/ 114399 w 286211"/>
                <a:gd name="connsiteY21" fmla="*/ 200801 h 220041"/>
                <a:gd name="connsiteX22" fmla="*/ 103137 w 286211"/>
                <a:gd name="connsiteY22" fmla="*/ 197768 h 220041"/>
                <a:gd name="connsiteX23" fmla="*/ 87938 w 286211"/>
                <a:gd name="connsiteY23" fmla="*/ 177131 h 220041"/>
                <a:gd name="connsiteX24" fmla="*/ 83904 w 286211"/>
                <a:gd name="connsiteY24" fmla="*/ 169197 h 220041"/>
                <a:gd name="connsiteX25" fmla="*/ 65154 w 286211"/>
                <a:gd name="connsiteY25" fmla="*/ 159285 h 220041"/>
                <a:gd name="connsiteX26" fmla="*/ 58820 w 286211"/>
                <a:gd name="connsiteY26" fmla="*/ 144247 h 220041"/>
                <a:gd name="connsiteX27" fmla="*/ 48372 w 286211"/>
                <a:gd name="connsiteY27" fmla="*/ 133388 h 220041"/>
                <a:gd name="connsiteX28" fmla="*/ 31501 w 286211"/>
                <a:gd name="connsiteY28" fmla="*/ 120309 h 220041"/>
                <a:gd name="connsiteX29" fmla="*/ 31269 w 286211"/>
                <a:gd name="connsiteY29" fmla="*/ 112133 h 220041"/>
                <a:gd name="connsiteX30" fmla="*/ 17537 w 286211"/>
                <a:gd name="connsiteY30" fmla="*/ 101971 h 220041"/>
                <a:gd name="connsiteX31" fmla="*/ 478 w 286211"/>
                <a:gd name="connsiteY31" fmla="*/ 92131 h 220041"/>
                <a:gd name="connsiteX32" fmla="*/ 8171 w 286211"/>
                <a:gd name="connsiteY32" fmla="*/ 89385 h 220041"/>
                <a:gd name="connsiteX33" fmla="*/ 16786 w 286211"/>
                <a:gd name="connsiteY33" fmla="*/ 84626 h 220041"/>
                <a:gd name="connsiteX34" fmla="*/ 23244 w 286211"/>
                <a:gd name="connsiteY34" fmla="*/ 62083 h 220041"/>
                <a:gd name="connsiteX35" fmla="*/ 30132 w 286211"/>
                <a:gd name="connsiteY35" fmla="*/ 50346 h 220041"/>
                <a:gd name="connsiteX36" fmla="*/ 48220 w 286211"/>
                <a:gd name="connsiteY36" fmla="*/ 46876 h 220041"/>
                <a:gd name="connsiteX37" fmla="*/ 52523 w 286211"/>
                <a:gd name="connsiteY37" fmla="*/ 53826 h 220041"/>
                <a:gd name="connsiteX38" fmla="*/ 65440 w 286211"/>
                <a:gd name="connsiteY38" fmla="*/ 68586 h 220041"/>
                <a:gd name="connsiteX39" fmla="*/ 72337 w 286211"/>
                <a:gd name="connsiteY39" fmla="*/ 70751 h 220041"/>
                <a:gd name="connsiteX40" fmla="*/ 81372 w 286211"/>
                <a:gd name="connsiteY40" fmla="*/ 66422 h 220041"/>
                <a:gd name="connsiteX41" fmla="*/ 99460 w 286211"/>
                <a:gd name="connsiteY41" fmla="*/ 67289 h 220041"/>
                <a:gd name="connsiteX42" fmla="*/ 102904 w 286211"/>
                <a:gd name="connsiteY42" fmla="*/ 72496 h 220041"/>
                <a:gd name="connsiteX43" fmla="*/ 127880 w 286211"/>
                <a:gd name="connsiteY43" fmla="*/ 72496 h 220041"/>
                <a:gd name="connsiteX44" fmla="*/ 128739 w 286211"/>
                <a:gd name="connsiteY44" fmla="*/ 67289 h 220041"/>
                <a:gd name="connsiteX45" fmla="*/ 141656 w 286211"/>
                <a:gd name="connsiteY45" fmla="*/ 62513 h 220041"/>
                <a:gd name="connsiteX46" fmla="*/ 144241 w 286211"/>
                <a:gd name="connsiteY46" fmla="*/ 55132 h 220041"/>
                <a:gd name="connsiteX47" fmla="*/ 153714 w 286211"/>
                <a:gd name="connsiteY47" fmla="*/ 49908 h 220041"/>
                <a:gd name="connsiteX48" fmla="*/ 174817 w 286211"/>
                <a:gd name="connsiteY48" fmla="*/ 64686 h 220041"/>
                <a:gd name="connsiteX49" fmla="*/ 187734 w 286211"/>
                <a:gd name="connsiteY49" fmla="*/ 62083 h 220041"/>
                <a:gd name="connsiteX50" fmla="*/ 200222 w 286211"/>
                <a:gd name="connsiteY50" fmla="*/ 43825 h 220041"/>
                <a:gd name="connsiteX51" fmla="*/ 213998 w 286211"/>
                <a:gd name="connsiteY51" fmla="*/ 29888 h 220041"/>
                <a:gd name="connsiteX52" fmla="*/ 211842 w 286211"/>
                <a:gd name="connsiteY52" fmla="*/ 14618 h 220041"/>
                <a:gd name="connsiteX53" fmla="*/ 205822 w 286211"/>
                <a:gd name="connsiteY53" fmla="*/ 7185 h 220041"/>
                <a:gd name="connsiteX54" fmla="*/ 220886 w 286211"/>
                <a:gd name="connsiteY54" fmla="*/ 5870 h 220041"/>
                <a:gd name="connsiteX55" fmla="*/ 222612 w 286211"/>
                <a:gd name="connsiteY55" fmla="*/ 180 h 220041"/>
                <a:gd name="connsiteX56" fmla="*/ 234233 w 286211"/>
                <a:gd name="connsiteY56" fmla="*/ 1934 h 220041"/>
                <a:gd name="connsiteX57" fmla="*/ 231218 w 286211"/>
                <a:gd name="connsiteY57" fmla="*/ 20728 h 220041"/>
                <a:gd name="connsiteX58" fmla="*/ 234233 w 286211"/>
                <a:gd name="connsiteY58" fmla="*/ 39040 h 220041"/>
                <a:gd name="connsiteX59" fmla="*/ 247150 w 286211"/>
                <a:gd name="connsiteY59" fmla="*/ 49040 h 220041"/>
                <a:gd name="connsiteX60" fmla="*/ 250165 w 286211"/>
                <a:gd name="connsiteY60" fmla="*/ 57736 h 220041"/>
                <a:gd name="connsiteX61" fmla="*/ 249735 w 286211"/>
                <a:gd name="connsiteY61" fmla="*/ 70322 h 22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86211" h="220041">
                  <a:moveTo>
                    <a:pt x="253206" y="70823"/>
                  </a:moveTo>
                  <a:lnTo>
                    <a:pt x="253501" y="90503"/>
                  </a:lnTo>
                  <a:lnTo>
                    <a:pt x="249753" y="98196"/>
                  </a:lnTo>
                  <a:lnTo>
                    <a:pt x="236434" y="98813"/>
                  </a:lnTo>
                  <a:lnTo>
                    <a:pt x="227890" y="113144"/>
                  </a:lnTo>
                  <a:lnTo>
                    <a:pt x="243304" y="114951"/>
                  </a:lnTo>
                  <a:lnTo>
                    <a:pt x="256006" y="127197"/>
                  </a:lnTo>
                  <a:lnTo>
                    <a:pt x="260407" y="137234"/>
                  </a:lnTo>
                  <a:lnTo>
                    <a:pt x="271857" y="143058"/>
                  </a:lnTo>
                  <a:lnTo>
                    <a:pt x="286689" y="170315"/>
                  </a:lnTo>
                  <a:lnTo>
                    <a:pt x="269684" y="186801"/>
                  </a:lnTo>
                  <a:lnTo>
                    <a:pt x="254253" y="201731"/>
                  </a:lnTo>
                  <a:lnTo>
                    <a:pt x="238831" y="213217"/>
                  </a:lnTo>
                  <a:lnTo>
                    <a:pt x="221181" y="213155"/>
                  </a:lnTo>
                  <a:lnTo>
                    <a:pt x="200991" y="219005"/>
                  </a:lnTo>
                  <a:lnTo>
                    <a:pt x="185042" y="213423"/>
                  </a:lnTo>
                  <a:lnTo>
                    <a:pt x="174718" y="220222"/>
                  </a:lnTo>
                  <a:lnTo>
                    <a:pt x="152632" y="203628"/>
                  </a:lnTo>
                  <a:lnTo>
                    <a:pt x="146674" y="192965"/>
                  </a:lnTo>
                  <a:lnTo>
                    <a:pt x="132710" y="198243"/>
                  </a:lnTo>
                  <a:lnTo>
                    <a:pt x="121108" y="196605"/>
                  </a:lnTo>
                  <a:lnTo>
                    <a:pt x="114399" y="200801"/>
                  </a:lnTo>
                  <a:lnTo>
                    <a:pt x="103137" y="197768"/>
                  </a:lnTo>
                  <a:lnTo>
                    <a:pt x="87938" y="177131"/>
                  </a:lnTo>
                  <a:lnTo>
                    <a:pt x="83904" y="169197"/>
                  </a:lnTo>
                  <a:lnTo>
                    <a:pt x="65154" y="159285"/>
                  </a:lnTo>
                  <a:lnTo>
                    <a:pt x="58820" y="144247"/>
                  </a:lnTo>
                  <a:lnTo>
                    <a:pt x="48372" y="133388"/>
                  </a:lnTo>
                  <a:lnTo>
                    <a:pt x="31501" y="120309"/>
                  </a:lnTo>
                  <a:lnTo>
                    <a:pt x="31269" y="112133"/>
                  </a:lnTo>
                  <a:lnTo>
                    <a:pt x="17537" y="101971"/>
                  </a:lnTo>
                  <a:lnTo>
                    <a:pt x="478" y="92131"/>
                  </a:lnTo>
                  <a:lnTo>
                    <a:pt x="8171" y="89385"/>
                  </a:lnTo>
                  <a:lnTo>
                    <a:pt x="16786" y="84626"/>
                  </a:lnTo>
                  <a:lnTo>
                    <a:pt x="23244" y="62083"/>
                  </a:lnTo>
                  <a:lnTo>
                    <a:pt x="30132" y="50346"/>
                  </a:lnTo>
                  <a:lnTo>
                    <a:pt x="48220" y="46876"/>
                  </a:lnTo>
                  <a:lnTo>
                    <a:pt x="52523" y="53826"/>
                  </a:lnTo>
                  <a:lnTo>
                    <a:pt x="65440" y="68586"/>
                  </a:lnTo>
                  <a:lnTo>
                    <a:pt x="72337" y="70751"/>
                  </a:lnTo>
                  <a:lnTo>
                    <a:pt x="81372" y="66422"/>
                  </a:lnTo>
                  <a:lnTo>
                    <a:pt x="99460" y="67289"/>
                  </a:lnTo>
                  <a:lnTo>
                    <a:pt x="102904" y="72496"/>
                  </a:lnTo>
                  <a:lnTo>
                    <a:pt x="127880" y="72496"/>
                  </a:lnTo>
                  <a:lnTo>
                    <a:pt x="128739" y="67289"/>
                  </a:lnTo>
                  <a:lnTo>
                    <a:pt x="141656" y="62513"/>
                  </a:lnTo>
                  <a:lnTo>
                    <a:pt x="144241" y="55132"/>
                  </a:lnTo>
                  <a:lnTo>
                    <a:pt x="153714" y="49908"/>
                  </a:lnTo>
                  <a:lnTo>
                    <a:pt x="174817" y="64686"/>
                  </a:lnTo>
                  <a:lnTo>
                    <a:pt x="187734" y="62083"/>
                  </a:lnTo>
                  <a:lnTo>
                    <a:pt x="200222" y="43825"/>
                  </a:lnTo>
                  <a:lnTo>
                    <a:pt x="213998" y="29888"/>
                  </a:lnTo>
                  <a:lnTo>
                    <a:pt x="211842" y="14618"/>
                  </a:lnTo>
                  <a:lnTo>
                    <a:pt x="205822" y="7185"/>
                  </a:lnTo>
                  <a:lnTo>
                    <a:pt x="220886" y="5870"/>
                  </a:lnTo>
                  <a:lnTo>
                    <a:pt x="222612" y="180"/>
                  </a:lnTo>
                  <a:lnTo>
                    <a:pt x="234233" y="1934"/>
                  </a:lnTo>
                  <a:lnTo>
                    <a:pt x="231218" y="20728"/>
                  </a:lnTo>
                  <a:lnTo>
                    <a:pt x="234233" y="39040"/>
                  </a:lnTo>
                  <a:lnTo>
                    <a:pt x="247150" y="49040"/>
                  </a:lnTo>
                  <a:lnTo>
                    <a:pt x="250165" y="57736"/>
                  </a:lnTo>
                  <a:lnTo>
                    <a:pt x="249735" y="70322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/>
            <p:cNvSpPr/>
            <p:nvPr/>
          </p:nvSpPr>
          <p:spPr>
            <a:xfrm>
              <a:off x="3577920" y="4297840"/>
              <a:ext cx="59496" cy="32722"/>
            </a:xfrm>
            <a:custGeom>
              <a:avLst/>
              <a:gdLst>
                <a:gd name="connsiteX0" fmla="*/ 58094 w 59496"/>
                <a:gd name="connsiteY0" fmla="*/ 26867 h 32722"/>
                <a:gd name="connsiteX1" fmla="*/ 55312 w 59496"/>
                <a:gd name="connsiteY1" fmla="*/ 32896 h 32722"/>
                <a:gd name="connsiteX2" fmla="*/ 40785 w 59496"/>
                <a:gd name="connsiteY2" fmla="*/ 32511 h 32722"/>
                <a:gd name="connsiteX3" fmla="*/ 31750 w 59496"/>
                <a:gd name="connsiteY3" fmla="*/ 30060 h 32722"/>
                <a:gd name="connsiteX4" fmla="*/ 21382 w 59496"/>
                <a:gd name="connsiteY4" fmla="*/ 24970 h 32722"/>
                <a:gd name="connsiteX5" fmla="*/ 7445 w 59496"/>
                <a:gd name="connsiteY5" fmla="*/ 23378 h 32722"/>
                <a:gd name="connsiteX6" fmla="*/ 342 w 59496"/>
                <a:gd name="connsiteY6" fmla="*/ 17867 h 32722"/>
                <a:gd name="connsiteX7" fmla="*/ 1120 w 59496"/>
                <a:gd name="connsiteY7" fmla="*/ 14111 h 32722"/>
                <a:gd name="connsiteX8" fmla="*/ 9717 w 59496"/>
                <a:gd name="connsiteY8" fmla="*/ 7625 h 32722"/>
                <a:gd name="connsiteX9" fmla="*/ 14422 w 59496"/>
                <a:gd name="connsiteY9" fmla="*/ 4789 h 32722"/>
                <a:gd name="connsiteX10" fmla="*/ 13090 w 59496"/>
                <a:gd name="connsiteY10" fmla="*/ 1757 h 32722"/>
                <a:gd name="connsiteX11" fmla="*/ 18958 w 59496"/>
                <a:gd name="connsiteY11" fmla="*/ 173 h 32722"/>
                <a:gd name="connsiteX12" fmla="*/ 26356 w 59496"/>
                <a:gd name="connsiteY12" fmla="*/ 2338 h 32722"/>
                <a:gd name="connsiteX13" fmla="*/ 31759 w 59496"/>
                <a:gd name="connsiteY13" fmla="*/ 7464 h 32722"/>
                <a:gd name="connsiteX14" fmla="*/ 39336 w 59496"/>
                <a:gd name="connsiteY14" fmla="*/ 11588 h 32722"/>
                <a:gd name="connsiteX15" fmla="*/ 40266 w 59496"/>
                <a:gd name="connsiteY15" fmla="*/ 15041 h 32722"/>
                <a:gd name="connsiteX16" fmla="*/ 51269 w 59496"/>
                <a:gd name="connsiteY16" fmla="*/ 11990 h 32722"/>
                <a:gd name="connsiteX17" fmla="*/ 56430 w 59496"/>
                <a:gd name="connsiteY17" fmla="*/ 13815 h 32722"/>
                <a:gd name="connsiteX18" fmla="*/ 59839 w 59496"/>
                <a:gd name="connsiteY18" fmla="*/ 16597 h 3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496" h="32722">
                  <a:moveTo>
                    <a:pt x="58094" y="26867"/>
                  </a:moveTo>
                  <a:lnTo>
                    <a:pt x="55312" y="32896"/>
                  </a:lnTo>
                  <a:lnTo>
                    <a:pt x="40785" y="32511"/>
                  </a:lnTo>
                  <a:lnTo>
                    <a:pt x="31750" y="30060"/>
                  </a:lnTo>
                  <a:lnTo>
                    <a:pt x="21382" y="24970"/>
                  </a:lnTo>
                  <a:lnTo>
                    <a:pt x="7445" y="23378"/>
                  </a:lnTo>
                  <a:lnTo>
                    <a:pt x="342" y="17867"/>
                  </a:lnTo>
                  <a:lnTo>
                    <a:pt x="1120" y="14111"/>
                  </a:lnTo>
                  <a:lnTo>
                    <a:pt x="9717" y="7625"/>
                  </a:lnTo>
                  <a:lnTo>
                    <a:pt x="14422" y="4789"/>
                  </a:lnTo>
                  <a:lnTo>
                    <a:pt x="13090" y="1757"/>
                  </a:lnTo>
                  <a:lnTo>
                    <a:pt x="18958" y="173"/>
                  </a:lnTo>
                  <a:lnTo>
                    <a:pt x="26356" y="2338"/>
                  </a:lnTo>
                  <a:lnTo>
                    <a:pt x="31759" y="7464"/>
                  </a:lnTo>
                  <a:lnTo>
                    <a:pt x="39336" y="11588"/>
                  </a:lnTo>
                  <a:lnTo>
                    <a:pt x="40266" y="15041"/>
                  </a:lnTo>
                  <a:lnTo>
                    <a:pt x="51269" y="11990"/>
                  </a:lnTo>
                  <a:lnTo>
                    <a:pt x="56430" y="13815"/>
                  </a:lnTo>
                  <a:lnTo>
                    <a:pt x="59839" y="1659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/>
            <p:cNvSpPr/>
            <p:nvPr/>
          </p:nvSpPr>
          <p:spPr>
            <a:xfrm>
              <a:off x="6733132" y="3659507"/>
              <a:ext cx="166761" cy="149550"/>
            </a:xfrm>
            <a:custGeom>
              <a:avLst/>
              <a:gdLst>
                <a:gd name="connsiteX0" fmla="*/ 78028 w 166761"/>
                <a:gd name="connsiteY0" fmla="*/ 118031 h 149550"/>
                <a:gd name="connsiteX1" fmla="*/ 28909 w 166761"/>
                <a:gd name="connsiteY1" fmla="*/ 149698 h 149550"/>
                <a:gd name="connsiteX2" fmla="*/ 963 w 166761"/>
                <a:gd name="connsiteY2" fmla="*/ 137970 h 149550"/>
                <a:gd name="connsiteX3" fmla="*/ 489 w 166761"/>
                <a:gd name="connsiteY3" fmla="*/ 137764 h 149550"/>
                <a:gd name="connsiteX4" fmla="*/ 3888 w 166761"/>
                <a:gd name="connsiteY4" fmla="*/ 133247 h 149550"/>
                <a:gd name="connsiteX5" fmla="*/ 3503 w 166761"/>
                <a:gd name="connsiteY5" fmla="*/ 121054 h 149550"/>
                <a:gd name="connsiteX6" fmla="*/ 9658 w 166761"/>
                <a:gd name="connsiteY6" fmla="*/ 104657 h 149550"/>
                <a:gd name="connsiteX7" fmla="*/ 23335 w 166761"/>
                <a:gd name="connsiteY7" fmla="*/ 93305 h 149550"/>
                <a:gd name="connsiteX8" fmla="*/ 19229 w 166761"/>
                <a:gd name="connsiteY8" fmla="*/ 81435 h 149550"/>
                <a:gd name="connsiteX9" fmla="*/ 7949 w 166761"/>
                <a:gd name="connsiteY9" fmla="*/ 79887 h 149550"/>
                <a:gd name="connsiteX10" fmla="*/ 5605 w 166761"/>
                <a:gd name="connsiteY10" fmla="*/ 56557 h 149550"/>
                <a:gd name="connsiteX11" fmla="*/ 11742 w 166761"/>
                <a:gd name="connsiteY11" fmla="*/ 43926 h 149550"/>
                <a:gd name="connsiteX12" fmla="*/ 18460 w 166761"/>
                <a:gd name="connsiteY12" fmla="*/ 37163 h 149550"/>
                <a:gd name="connsiteX13" fmla="*/ 25178 w 166761"/>
                <a:gd name="connsiteY13" fmla="*/ 30392 h 149550"/>
                <a:gd name="connsiteX14" fmla="*/ 26538 w 166761"/>
                <a:gd name="connsiteY14" fmla="*/ 13046 h 149550"/>
                <a:gd name="connsiteX15" fmla="*/ 34750 w 166761"/>
                <a:gd name="connsiteY15" fmla="*/ 19111 h 149550"/>
                <a:gd name="connsiteX16" fmla="*/ 62365 w 166761"/>
                <a:gd name="connsiteY16" fmla="*/ 10434 h 149550"/>
                <a:gd name="connsiteX17" fmla="*/ 75711 w 166761"/>
                <a:gd name="connsiteY17" fmla="*/ 16311 h 149550"/>
                <a:gd name="connsiteX18" fmla="*/ 96340 w 166761"/>
                <a:gd name="connsiteY18" fmla="*/ 16213 h 149550"/>
                <a:gd name="connsiteX19" fmla="*/ 125207 w 166761"/>
                <a:gd name="connsiteY19" fmla="*/ 4494 h 149550"/>
                <a:gd name="connsiteX20" fmla="*/ 138724 w 166761"/>
                <a:gd name="connsiteY20" fmla="*/ 5022 h 149550"/>
                <a:gd name="connsiteX21" fmla="*/ 167251 w 166761"/>
                <a:gd name="connsiteY21" fmla="*/ 147 h 149550"/>
                <a:gd name="connsiteX22" fmla="*/ 154396 w 166761"/>
                <a:gd name="connsiteY22" fmla="*/ 19648 h 149550"/>
                <a:gd name="connsiteX23" fmla="*/ 140665 w 166761"/>
                <a:gd name="connsiteY23" fmla="*/ 27314 h 149550"/>
                <a:gd name="connsiteX24" fmla="*/ 143035 w 166761"/>
                <a:gd name="connsiteY24" fmla="*/ 49866 h 149550"/>
                <a:gd name="connsiteX25" fmla="*/ 133553 w 166761"/>
                <a:gd name="connsiteY25" fmla="*/ 86730 h 14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6761" h="149550">
                  <a:moveTo>
                    <a:pt x="78028" y="118031"/>
                  </a:moveTo>
                  <a:lnTo>
                    <a:pt x="28909" y="149698"/>
                  </a:lnTo>
                  <a:lnTo>
                    <a:pt x="963" y="137970"/>
                  </a:lnTo>
                  <a:lnTo>
                    <a:pt x="489" y="137764"/>
                  </a:lnTo>
                  <a:lnTo>
                    <a:pt x="3888" y="133247"/>
                  </a:lnTo>
                  <a:lnTo>
                    <a:pt x="3503" y="121054"/>
                  </a:lnTo>
                  <a:lnTo>
                    <a:pt x="9658" y="104657"/>
                  </a:lnTo>
                  <a:lnTo>
                    <a:pt x="23335" y="93305"/>
                  </a:lnTo>
                  <a:lnTo>
                    <a:pt x="19229" y="81435"/>
                  </a:lnTo>
                  <a:lnTo>
                    <a:pt x="7949" y="79887"/>
                  </a:lnTo>
                  <a:lnTo>
                    <a:pt x="5605" y="56557"/>
                  </a:lnTo>
                  <a:lnTo>
                    <a:pt x="11742" y="43926"/>
                  </a:lnTo>
                  <a:lnTo>
                    <a:pt x="18460" y="37163"/>
                  </a:lnTo>
                  <a:lnTo>
                    <a:pt x="25178" y="30392"/>
                  </a:lnTo>
                  <a:lnTo>
                    <a:pt x="26538" y="13046"/>
                  </a:lnTo>
                  <a:lnTo>
                    <a:pt x="34750" y="19111"/>
                  </a:lnTo>
                  <a:lnTo>
                    <a:pt x="62365" y="10434"/>
                  </a:lnTo>
                  <a:lnTo>
                    <a:pt x="75711" y="16311"/>
                  </a:lnTo>
                  <a:lnTo>
                    <a:pt x="96340" y="16213"/>
                  </a:lnTo>
                  <a:lnTo>
                    <a:pt x="125207" y="4494"/>
                  </a:lnTo>
                  <a:lnTo>
                    <a:pt x="138724" y="5022"/>
                  </a:lnTo>
                  <a:lnTo>
                    <a:pt x="167251" y="147"/>
                  </a:lnTo>
                  <a:lnTo>
                    <a:pt x="154396" y="19648"/>
                  </a:lnTo>
                  <a:lnTo>
                    <a:pt x="140665" y="27314"/>
                  </a:lnTo>
                  <a:lnTo>
                    <a:pt x="143035" y="49866"/>
                  </a:lnTo>
                  <a:lnTo>
                    <a:pt x="133553" y="8673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/>
            <p:cNvSpPr/>
            <p:nvPr/>
          </p:nvSpPr>
          <p:spPr>
            <a:xfrm>
              <a:off x="6607116" y="5323209"/>
              <a:ext cx="34985" cy="45308"/>
            </a:xfrm>
            <a:custGeom>
              <a:avLst/>
              <a:gdLst>
                <a:gd name="connsiteX0" fmla="*/ 35466 w 34985"/>
                <a:gd name="connsiteY0" fmla="*/ 30071 h 45308"/>
                <a:gd name="connsiteX1" fmla="*/ 30358 w 34985"/>
                <a:gd name="connsiteY1" fmla="*/ 42496 h 45308"/>
                <a:gd name="connsiteX2" fmla="*/ 15679 w 34985"/>
                <a:gd name="connsiteY2" fmla="*/ 45529 h 45308"/>
                <a:gd name="connsiteX3" fmla="*/ 713 w 34985"/>
                <a:gd name="connsiteY3" fmla="*/ 30349 h 45308"/>
                <a:gd name="connsiteX4" fmla="*/ 480 w 34985"/>
                <a:gd name="connsiteY4" fmla="*/ 20705 h 45308"/>
                <a:gd name="connsiteX5" fmla="*/ 7323 w 34985"/>
                <a:gd name="connsiteY5" fmla="*/ 10266 h 45308"/>
                <a:gd name="connsiteX6" fmla="*/ 9694 w 34985"/>
                <a:gd name="connsiteY6" fmla="*/ 2197 h 45308"/>
                <a:gd name="connsiteX7" fmla="*/ 16940 w 34985"/>
                <a:gd name="connsiteY7" fmla="*/ 220 h 45308"/>
                <a:gd name="connsiteX8" fmla="*/ 29598 w 34985"/>
                <a:gd name="connsiteY8" fmla="*/ 5292 h 45308"/>
                <a:gd name="connsiteX9" fmla="*/ 33319 w 34985"/>
                <a:gd name="connsiteY9" fmla="*/ 17745 h 4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85" h="45308">
                  <a:moveTo>
                    <a:pt x="35466" y="30071"/>
                  </a:moveTo>
                  <a:lnTo>
                    <a:pt x="30358" y="42496"/>
                  </a:lnTo>
                  <a:lnTo>
                    <a:pt x="15679" y="45529"/>
                  </a:lnTo>
                  <a:lnTo>
                    <a:pt x="713" y="30349"/>
                  </a:lnTo>
                  <a:lnTo>
                    <a:pt x="480" y="20705"/>
                  </a:lnTo>
                  <a:lnTo>
                    <a:pt x="7323" y="10266"/>
                  </a:lnTo>
                  <a:lnTo>
                    <a:pt x="9694" y="2197"/>
                  </a:lnTo>
                  <a:lnTo>
                    <a:pt x="16940" y="220"/>
                  </a:lnTo>
                  <a:lnTo>
                    <a:pt x="29598" y="5292"/>
                  </a:lnTo>
                  <a:lnTo>
                    <a:pt x="33319" y="1774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/>
            <p:cNvSpPr/>
            <p:nvPr/>
          </p:nvSpPr>
          <p:spPr>
            <a:xfrm>
              <a:off x="6177303" y="4060722"/>
              <a:ext cx="259517" cy="414954"/>
            </a:xfrm>
            <a:custGeom>
              <a:avLst/>
              <a:gdLst>
                <a:gd name="connsiteX0" fmla="*/ 24430 w 259517"/>
                <a:gd name="connsiteY0" fmla="*/ 277419 h 414954"/>
                <a:gd name="connsiteX1" fmla="*/ 26935 w 259517"/>
                <a:gd name="connsiteY1" fmla="*/ 265369 h 414954"/>
                <a:gd name="connsiteX2" fmla="*/ 10851 w 259517"/>
                <a:gd name="connsiteY2" fmla="*/ 264779 h 414954"/>
                <a:gd name="connsiteX3" fmla="*/ 10914 w 259517"/>
                <a:gd name="connsiteY3" fmla="*/ 248274 h 414954"/>
                <a:gd name="connsiteX4" fmla="*/ 466 w 259517"/>
                <a:gd name="connsiteY4" fmla="*/ 238757 h 414954"/>
                <a:gd name="connsiteX5" fmla="*/ 11299 w 259517"/>
                <a:gd name="connsiteY5" fmla="*/ 204764 h 414954"/>
                <a:gd name="connsiteX6" fmla="*/ 43288 w 259517"/>
                <a:gd name="connsiteY6" fmla="*/ 180289 h 414954"/>
                <a:gd name="connsiteX7" fmla="*/ 44612 w 259517"/>
                <a:gd name="connsiteY7" fmla="*/ 146332 h 414954"/>
                <a:gd name="connsiteX8" fmla="*/ 54272 w 259517"/>
                <a:gd name="connsiteY8" fmla="*/ 92837 h 414954"/>
                <a:gd name="connsiteX9" fmla="*/ 59729 w 259517"/>
                <a:gd name="connsiteY9" fmla="*/ 81405 h 414954"/>
                <a:gd name="connsiteX10" fmla="*/ 49299 w 259517"/>
                <a:gd name="connsiteY10" fmla="*/ 72281 h 414954"/>
                <a:gd name="connsiteX11" fmla="*/ 48887 w 259517"/>
                <a:gd name="connsiteY11" fmla="*/ 63792 h 414954"/>
                <a:gd name="connsiteX12" fmla="*/ 39513 w 259517"/>
                <a:gd name="connsiteY12" fmla="*/ 56841 h 414954"/>
                <a:gd name="connsiteX13" fmla="*/ 33349 w 259517"/>
                <a:gd name="connsiteY13" fmla="*/ 15003 h 414954"/>
                <a:gd name="connsiteX14" fmla="*/ 58674 w 259517"/>
                <a:gd name="connsiteY14" fmla="*/ 171 h 414954"/>
                <a:gd name="connsiteX15" fmla="*/ 158702 w 259517"/>
                <a:gd name="connsiteY15" fmla="*/ 51840 h 414954"/>
                <a:gd name="connsiteX16" fmla="*/ 258740 w 259517"/>
                <a:gd name="connsiteY16" fmla="*/ 102821 h 414954"/>
                <a:gd name="connsiteX17" fmla="*/ 259983 w 259517"/>
                <a:gd name="connsiteY17" fmla="*/ 206669 h 414954"/>
                <a:gd name="connsiteX18" fmla="*/ 238353 w 259517"/>
                <a:gd name="connsiteY18" fmla="*/ 204853 h 414954"/>
                <a:gd name="connsiteX19" fmla="*/ 226894 w 259517"/>
                <a:gd name="connsiteY19" fmla="*/ 223880 h 414954"/>
                <a:gd name="connsiteX20" fmla="*/ 220265 w 259517"/>
                <a:gd name="connsiteY20" fmla="*/ 239794 h 414954"/>
                <a:gd name="connsiteX21" fmla="*/ 225499 w 259517"/>
                <a:gd name="connsiteY21" fmla="*/ 245806 h 414954"/>
                <a:gd name="connsiteX22" fmla="*/ 217251 w 259517"/>
                <a:gd name="connsiteY22" fmla="*/ 253678 h 414954"/>
                <a:gd name="connsiteX23" fmla="*/ 220095 w 259517"/>
                <a:gd name="connsiteY23" fmla="*/ 264296 h 414954"/>
                <a:gd name="connsiteX24" fmla="*/ 213592 w 259517"/>
                <a:gd name="connsiteY24" fmla="*/ 274959 h 414954"/>
                <a:gd name="connsiteX25" fmla="*/ 211069 w 259517"/>
                <a:gd name="connsiteY25" fmla="*/ 284352 h 414954"/>
                <a:gd name="connsiteX26" fmla="*/ 219872 w 259517"/>
                <a:gd name="connsiteY26" fmla="*/ 282876 h 414954"/>
                <a:gd name="connsiteX27" fmla="*/ 225132 w 259517"/>
                <a:gd name="connsiteY27" fmla="*/ 292716 h 414954"/>
                <a:gd name="connsiteX28" fmla="*/ 225409 w 259517"/>
                <a:gd name="connsiteY28" fmla="*/ 307512 h 414954"/>
                <a:gd name="connsiteX29" fmla="*/ 234632 w 259517"/>
                <a:gd name="connsiteY29" fmla="*/ 315008 h 414954"/>
                <a:gd name="connsiteX30" fmla="*/ 234328 w 259517"/>
                <a:gd name="connsiteY30" fmla="*/ 321163 h 414954"/>
                <a:gd name="connsiteX31" fmla="*/ 218449 w 259517"/>
                <a:gd name="connsiteY31" fmla="*/ 325501 h 414954"/>
                <a:gd name="connsiteX32" fmla="*/ 205720 w 259517"/>
                <a:gd name="connsiteY32" fmla="*/ 335770 h 414954"/>
                <a:gd name="connsiteX33" fmla="*/ 187587 w 259517"/>
                <a:gd name="connsiteY33" fmla="*/ 363376 h 414954"/>
                <a:gd name="connsiteX34" fmla="*/ 163989 w 259517"/>
                <a:gd name="connsiteY34" fmla="*/ 375077 h 414954"/>
                <a:gd name="connsiteX35" fmla="*/ 139764 w 259517"/>
                <a:gd name="connsiteY35" fmla="*/ 373502 h 414954"/>
                <a:gd name="connsiteX36" fmla="*/ 132689 w 259517"/>
                <a:gd name="connsiteY36" fmla="*/ 375828 h 414954"/>
                <a:gd name="connsiteX37" fmla="*/ 135175 w 259517"/>
                <a:gd name="connsiteY37" fmla="*/ 384702 h 414954"/>
                <a:gd name="connsiteX38" fmla="*/ 122089 w 259517"/>
                <a:gd name="connsiteY38" fmla="*/ 393505 h 414954"/>
                <a:gd name="connsiteX39" fmla="*/ 111443 w 259517"/>
                <a:gd name="connsiteY39" fmla="*/ 403327 h 414954"/>
                <a:gd name="connsiteX40" fmla="*/ 79866 w 259517"/>
                <a:gd name="connsiteY40" fmla="*/ 412952 h 414954"/>
                <a:gd name="connsiteX41" fmla="*/ 73604 w 259517"/>
                <a:gd name="connsiteY41" fmla="*/ 407254 h 414954"/>
                <a:gd name="connsiteX42" fmla="*/ 69444 w 259517"/>
                <a:gd name="connsiteY42" fmla="*/ 406771 h 414954"/>
                <a:gd name="connsiteX43" fmla="*/ 64828 w 259517"/>
                <a:gd name="connsiteY43" fmla="*/ 413230 h 414954"/>
                <a:gd name="connsiteX44" fmla="*/ 44084 w 259517"/>
                <a:gd name="connsiteY44" fmla="*/ 415126 h 414954"/>
                <a:gd name="connsiteX45" fmla="*/ 48020 w 259517"/>
                <a:gd name="connsiteY45" fmla="*/ 408318 h 414954"/>
                <a:gd name="connsiteX46" fmla="*/ 40103 w 259517"/>
                <a:gd name="connsiteY46" fmla="*/ 390964 h 414954"/>
                <a:gd name="connsiteX47" fmla="*/ 36578 w 259517"/>
                <a:gd name="connsiteY47" fmla="*/ 380534 h 414954"/>
                <a:gd name="connsiteX48" fmla="*/ 25656 w 259517"/>
                <a:gd name="connsiteY48" fmla="*/ 376258 h 414954"/>
                <a:gd name="connsiteX49" fmla="*/ 10842 w 259517"/>
                <a:gd name="connsiteY49" fmla="*/ 361525 h 414954"/>
                <a:gd name="connsiteX50" fmla="*/ 16299 w 259517"/>
                <a:gd name="connsiteY50" fmla="*/ 349591 h 414954"/>
                <a:gd name="connsiteX51" fmla="*/ 27731 w 259517"/>
                <a:gd name="connsiteY51" fmla="*/ 352132 h 414954"/>
                <a:gd name="connsiteX52" fmla="*/ 34807 w 259517"/>
                <a:gd name="connsiteY52" fmla="*/ 350325 h 414954"/>
                <a:gd name="connsiteX53" fmla="*/ 48816 w 259517"/>
                <a:gd name="connsiteY53" fmla="*/ 350575 h 414954"/>
                <a:gd name="connsiteX54" fmla="*/ 35165 w 259517"/>
                <a:gd name="connsiteY54" fmla="*/ 327540 h 414954"/>
                <a:gd name="connsiteX55" fmla="*/ 36077 w 259517"/>
                <a:gd name="connsiteY55" fmla="*/ 310669 h 414954"/>
                <a:gd name="connsiteX56" fmla="*/ 34405 w 259517"/>
                <a:gd name="connsiteY56" fmla="*/ 293771 h 4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59517" h="414954">
                  <a:moveTo>
                    <a:pt x="24430" y="277419"/>
                  </a:moveTo>
                  <a:lnTo>
                    <a:pt x="26935" y="265369"/>
                  </a:lnTo>
                  <a:lnTo>
                    <a:pt x="10851" y="264779"/>
                  </a:lnTo>
                  <a:lnTo>
                    <a:pt x="10914" y="248274"/>
                  </a:lnTo>
                  <a:lnTo>
                    <a:pt x="466" y="238757"/>
                  </a:lnTo>
                  <a:lnTo>
                    <a:pt x="11299" y="204764"/>
                  </a:lnTo>
                  <a:lnTo>
                    <a:pt x="43288" y="180289"/>
                  </a:lnTo>
                  <a:lnTo>
                    <a:pt x="44612" y="146332"/>
                  </a:lnTo>
                  <a:lnTo>
                    <a:pt x="54272" y="92837"/>
                  </a:lnTo>
                  <a:lnTo>
                    <a:pt x="59729" y="81405"/>
                  </a:lnTo>
                  <a:lnTo>
                    <a:pt x="49299" y="72281"/>
                  </a:lnTo>
                  <a:lnTo>
                    <a:pt x="48887" y="63792"/>
                  </a:lnTo>
                  <a:lnTo>
                    <a:pt x="39513" y="56841"/>
                  </a:lnTo>
                  <a:lnTo>
                    <a:pt x="33349" y="15003"/>
                  </a:lnTo>
                  <a:lnTo>
                    <a:pt x="58674" y="171"/>
                  </a:lnTo>
                  <a:lnTo>
                    <a:pt x="158702" y="51840"/>
                  </a:lnTo>
                  <a:lnTo>
                    <a:pt x="258740" y="102821"/>
                  </a:lnTo>
                  <a:lnTo>
                    <a:pt x="259983" y="206669"/>
                  </a:lnTo>
                  <a:lnTo>
                    <a:pt x="238353" y="204853"/>
                  </a:lnTo>
                  <a:lnTo>
                    <a:pt x="226894" y="223880"/>
                  </a:lnTo>
                  <a:lnTo>
                    <a:pt x="220265" y="239794"/>
                  </a:lnTo>
                  <a:lnTo>
                    <a:pt x="225499" y="245806"/>
                  </a:lnTo>
                  <a:lnTo>
                    <a:pt x="217251" y="253678"/>
                  </a:lnTo>
                  <a:lnTo>
                    <a:pt x="220095" y="264296"/>
                  </a:lnTo>
                  <a:lnTo>
                    <a:pt x="213592" y="274959"/>
                  </a:lnTo>
                  <a:lnTo>
                    <a:pt x="211069" y="284352"/>
                  </a:lnTo>
                  <a:lnTo>
                    <a:pt x="219872" y="282876"/>
                  </a:lnTo>
                  <a:lnTo>
                    <a:pt x="225132" y="292716"/>
                  </a:lnTo>
                  <a:lnTo>
                    <a:pt x="225409" y="307512"/>
                  </a:lnTo>
                  <a:lnTo>
                    <a:pt x="234632" y="315008"/>
                  </a:lnTo>
                  <a:lnTo>
                    <a:pt x="234328" y="321163"/>
                  </a:lnTo>
                  <a:lnTo>
                    <a:pt x="218449" y="325501"/>
                  </a:lnTo>
                  <a:lnTo>
                    <a:pt x="205720" y="335770"/>
                  </a:lnTo>
                  <a:lnTo>
                    <a:pt x="187587" y="363376"/>
                  </a:lnTo>
                  <a:lnTo>
                    <a:pt x="163989" y="375077"/>
                  </a:lnTo>
                  <a:lnTo>
                    <a:pt x="139764" y="373502"/>
                  </a:lnTo>
                  <a:lnTo>
                    <a:pt x="132689" y="375828"/>
                  </a:lnTo>
                  <a:lnTo>
                    <a:pt x="135175" y="384702"/>
                  </a:lnTo>
                  <a:lnTo>
                    <a:pt x="122089" y="393505"/>
                  </a:lnTo>
                  <a:lnTo>
                    <a:pt x="111443" y="403327"/>
                  </a:lnTo>
                  <a:lnTo>
                    <a:pt x="79866" y="412952"/>
                  </a:lnTo>
                  <a:lnTo>
                    <a:pt x="73604" y="407254"/>
                  </a:lnTo>
                  <a:lnTo>
                    <a:pt x="69444" y="406771"/>
                  </a:lnTo>
                  <a:lnTo>
                    <a:pt x="64828" y="413230"/>
                  </a:lnTo>
                  <a:lnTo>
                    <a:pt x="44084" y="415126"/>
                  </a:lnTo>
                  <a:lnTo>
                    <a:pt x="48020" y="408318"/>
                  </a:lnTo>
                  <a:lnTo>
                    <a:pt x="40103" y="390964"/>
                  </a:lnTo>
                  <a:lnTo>
                    <a:pt x="36578" y="380534"/>
                  </a:lnTo>
                  <a:lnTo>
                    <a:pt x="25656" y="376258"/>
                  </a:lnTo>
                  <a:lnTo>
                    <a:pt x="10842" y="361525"/>
                  </a:lnTo>
                  <a:lnTo>
                    <a:pt x="16299" y="349591"/>
                  </a:lnTo>
                  <a:lnTo>
                    <a:pt x="27731" y="352132"/>
                  </a:lnTo>
                  <a:lnTo>
                    <a:pt x="34807" y="350325"/>
                  </a:lnTo>
                  <a:lnTo>
                    <a:pt x="48816" y="350575"/>
                  </a:lnTo>
                  <a:lnTo>
                    <a:pt x="35165" y="327540"/>
                  </a:lnTo>
                  <a:lnTo>
                    <a:pt x="36077" y="310669"/>
                  </a:lnTo>
                  <a:lnTo>
                    <a:pt x="34405" y="29377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/>
            <p:cNvSpPr/>
            <p:nvPr/>
          </p:nvSpPr>
          <p:spPr>
            <a:xfrm>
              <a:off x="7561315" y="6053412"/>
              <a:ext cx="46149" cy="44020"/>
            </a:xfrm>
            <a:custGeom>
              <a:avLst/>
              <a:gdLst>
                <a:gd name="connsiteX0" fmla="*/ 5909 w 46149"/>
                <a:gd name="connsiteY0" fmla="*/ 254 h 44020"/>
                <a:gd name="connsiteX1" fmla="*/ 22091 w 46149"/>
                <a:gd name="connsiteY1" fmla="*/ 12205 h 44020"/>
                <a:gd name="connsiteX2" fmla="*/ 45788 w 46149"/>
                <a:gd name="connsiteY2" fmla="*/ 16973 h 44020"/>
                <a:gd name="connsiteX3" fmla="*/ 46674 w 46149"/>
                <a:gd name="connsiteY3" fmla="*/ 24246 h 44020"/>
                <a:gd name="connsiteX4" fmla="*/ 39651 w 46149"/>
                <a:gd name="connsiteY4" fmla="*/ 41761 h 44020"/>
                <a:gd name="connsiteX5" fmla="*/ 1150 w 46149"/>
                <a:gd name="connsiteY5" fmla="*/ 44274 h 44020"/>
                <a:gd name="connsiteX6" fmla="*/ 524 w 46149"/>
                <a:gd name="connsiteY6" fmla="*/ 23762 h 44020"/>
                <a:gd name="connsiteX7" fmla="*/ 4227 w 46149"/>
                <a:gd name="connsiteY7" fmla="*/ 8018 h 44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49" h="44020">
                  <a:moveTo>
                    <a:pt x="5909" y="254"/>
                  </a:moveTo>
                  <a:lnTo>
                    <a:pt x="22091" y="12205"/>
                  </a:lnTo>
                  <a:lnTo>
                    <a:pt x="45788" y="16973"/>
                  </a:lnTo>
                  <a:lnTo>
                    <a:pt x="46674" y="24246"/>
                  </a:lnTo>
                  <a:lnTo>
                    <a:pt x="39651" y="41761"/>
                  </a:lnTo>
                  <a:lnTo>
                    <a:pt x="1150" y="44274"/>
                  </a:lnTo>
                  <a:lnTo>
                    <a:pt x="524" y="23762"/>
                  </a:lnTo>
                  <a:lnTo>
                    <a:pt x="4227" y="801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/>
            <p:cNvSpPr/>
            <p:nvPr/>
          </p:nvSpPr>
          <p:spPr>
            <a:xfrm>
              <a:off x="5836435" y="4384862"/>
              <a:ext cx="48037" cy="128269"/>
            </a:xfrm>
            <a:custGeom>
              <a:avLst/>
              <a:gdLst>
                <a:gd name="connsiteX0" fmla="*/ 48482 w 48037"/>
                <a:gd name="connsiteY0" fmla="*/ 123109 h 128269"/>
                <a:gd name="connsiteX1" fmla="*/ 28293 w 48037"/>
                <a:gd name="connsiteY1" fmla="*/ 128449 h 128269"/>
                <a:gd name="connsiteX2" fmla="*/ 22693 w 48037"/>
                <a:gd name="connsiteY2" fmla="*/ 119647 h 128269"/>
                <a:gd name="connsiteX3" fmla="*/ 16001 w 48037"/>
                <a:gd name="connsiteY3" fmla="*/ 103741 h 128269"/>
                <a:gd name="connsiteX4" fmla="*/ 14006 w 48037"/>
                <a:gd name="connsiteY4" fmla="*/ 91245 h 128269"/>
                <a:gd name="connsiteX5" fmla="*/ 19562 w 48037"/>
                <a:gd name="connsiteY5" fmla="*/ 68586 h 128269"/>
                <a:gd name="connsiteX6" fmla="*/ 13264 w 48037"/>
                <a:gd name="connsiteY6" fmla="*/ 59399 h 128269"/>
                <a:gd name="connsiteX7" fmla="*/ 10875 w 48037"/>
                <a:gd name="connsiteY7" fmla="*/ 39522 h 128269"/>
                <a:gd name="connsiteX8" fmla="*/ 10920 w 48037"/>
                <a:gd name="connsiteY8" fmla="*/ 21157 h 128269"/>
                <a:gd name="connsiteX9" fmla="*/ 445 w 48037"/>
                <a:gd name="connsiteY9" fmla="*/ 8087 h 128269"/>
                <a:gd name="connsiteX10" fmla="*/ 2297 w 48037"/>
                <a:gd name="connsiteY10" fmla="*/ 179 h 128269"/>
                <a:gd name="connsiteX11" fmla="*/ 24258 w 48037"/>
                <a:gd name="connsiteY11" fmla="*/ 716 h 128269"/>
                <a:gd name="connsiteX12" fmla="*/ 21064 w 48037"/>
                <a:gd name="connsiteY12" fmla="*/ 14072 h 128269"/>
                <a:gd name="connsiteX13" fmla="*/ 28731 w 48037"/>
                <a:gd name="connsiteY13" fmla="*/ 21550 h 128269"/>
                <a:gd name="connsiteX14" fmla="*/ 37444 w 48037"/>
                <a:gd name="connsiteY14" fmla="*/ 30415 h 128269"/>
                <a:gd name="connsiteX15" fmla="*/ 38392 w 48037"/>
                <a:gd name="connsiteY15" fmla="*/ 42814 h 128269"/>
                <a:gd name="connsiteX16" fmla="*/ 43446 w 48037"/>
                <a:gd name="connsiteY16" fmla="*/ 48020 h 128269"/>
                <a:gd name="connsiteX17" fmla="*/ 42301 w 48037"/>
                <a:gd name="connsiteY17" fmla="*/ 105808 h 12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037" h="128269">
                  <a:moveTo>
                    <a:pt x="48482" y="123109"/>
                  </a:moveTo>
                  <a:lnTo>
                    <a:pt x="28293" y="128449"/>
                  </a:lnTo>
                  <a:lnTo>
                    <a:pt x="22693" y="119647"/>
                  </a:lnTo>
                  <a:lnTo>
                    <a:pt x="16001" y="103741"/>
                  </a:lnTo>
                  <a:lnTo>
                    <a:pt x="14006" y="91245"/>
                  </a:lnTo>
                  <a:lnTo>
                    <a:pt x="19562" y="68586"/>
                  </a:lnTo>
                  <a:lnTo>
                    <a:pt x="13264" y="59399"/>
                  </a:lnTo>
                  <a:lnTo>
                    <a:pt x="10875" y="39522"/>
                  </a:lnTo>
                  <a:lnTo>
                    <a:pt x="10920" y="21157"/>
                  </a:lnTo>
                  <a:lnTo>
                    <a:pt x="445" y="8087"/>
                  </a:lnTo>
                  <a:lnTo>
                    <a:pt x="2297" y="179"/>
                  </a:lnTo>
                  <a:lnTo>
                    <a:pt x="24258" y="716"/>
                  </a:lnTo>
                  <a:lnTo>
                    <a:pt x="21064" y="14072"/>
                  </a:lnTo>
                  <a:lnTo>
                    <a:pt x="28731" y="21550"/>
                  </a:lnTo>
                  <a:lnTo>
                    <a:pt x="37444" y="30415"/>
                  </a:lnTo>
                  <a:lnTo>
                    <a:pt x="38392" y="42814"/>
                  </a:lnTo>
                  <a:lnTo>
                    <a:pt x="43446" y="48020"/>
                  </a:lnTo>
                  <a:lnTo>
                    <a:pt x="42301" y="10580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/>
            <p:cNvSpPr/>
            <p:nvPr/>
          </p:nvSpPr>
          <p:spPr>
            <a:xfrm>
              <a:off x="8280050" y="4141151"/>
              <a:ext cx="206005" cy="377929"/>
            </a:xfrm>
            <a:custGeom>
              <a:avLst/>
              <a:gdLst>
                <a:gd name="connsiteX0" fmla="*/ 131218 w 206005"/>
                <a:gd name="connsiteY0" fmla="*/ 214168 h 377929"/>
                <a:gd name="connsiteX1" fmla="*/ 108702 w 206005"/>
                <a:gd name="connsiteY1" fmla="*/ 202458 h 377929"/>
                <a:gd name="connsiteX2" fmla="*/ 87251 w 206005"/>
                <a:gd name="connsiteY2" fmla="*/ 202933 h 377929"/>
                <a:gd name="connsiteX3" fmla="*/ 90928 w 206005"/>
                <a:gd name="connsiteY3" fmla="*/ 182832 h 377929"/>
                <a:gd name="connsiteX4" fmla="*/ 68832 w 206005"/>
                <a:gd name="connsiteY4" fmla="*/ 182984 h 377929"/>
                <a:gd name="connsiteX5" fmla="*/ 66846 w 206005"/>
                <a:gd name="connsiteY5" fmla="*/ 211100 h 377929"/>
                <a:gd name="connsiteX6" fmla="*/ 53312 w 206005"/>
                <a:gd name="connsiteY6" fmla="*/ 248260 h 377929"/>
                <a:gd name="connsiteX7" fmla="*/ 45162 w 206005"/>
                <a:gd name="connsiteY7" fmla="*/ 270641 h 377929"/>
                <a:gd name="connsiteX8" fmla="*/ 46880 w 206005"/>
                <a:gd name="connsiteY8" fmla="*/ 288926 h 377929"/>
                <a:gd name="connsiteX9" fmla="*/ 63214 w 206005"/>
                <a:gd name="connsiteY9" fmla="*/ 289722 h 377929"/>
                <a:gd name="connsiteX10" fmla="*/ 73394 w 206005"/>
                <a:gd name="connsiteY10" fmla="*/ 312730 h 377929"/>
                <a:gd name="connsiteX11" fmla="*/ 77903 w 206005"/>
                <a:gd name="connsiteY11" fmla="*/ 334503 h 377929"/>
                <a:gd name="connsiteX12" fmla="*/ 91894 w 206005"/>
                <a:gd name="connsiteY12" fmla="*/ 348887 h 377929"/>
                <a:gd name="connsiteX13" fmla="*/ 107092 w 206005"/>
                <a:gd name="connsiteY13" fmla="*/ 351804 h 377929"/>
                <a:gd name="connsiteX14" fmla="*/ 120090 w 206005"/>
                <a:gd name="connsiteY14" fmla="*/ 364819 h 377929"/>
                <a:gd name="connsiteX15" fmla="*/ 111896 w 206005"/>
                <a:gd name="connsiteY15" fmla="*/ 375107 h 377929"/>
                <a:gd name="connsiteX16" fmla="*/ 95329 w 206005"/>
                <a:gd name="connsiteY16" fmla="*/ 378103 h 377929"/>
                <a:gd name="connsiteX17" fmla="*/ 93361 w 206005"/>
                <a:gd name="connsiteY17" fmla="*/ 365240 h 377929"/>
                <a:gd name="connsiteX18" fmla="*/ 72894 w 206005"/>
                <a:gd name="connsiteY18" fmla="*/ 354255 h 377929"/>
                <a:gd name="connsiteX19" fmla="*/ 68537 w 206005"/>
                <a:gd name="connsiteY19" fmla="*/ 358728 h 377929"/>
                <a:gd name="connsiteX20" fmla="*/ 58625 w 206005"/>
                <a:gd name="connsiteY20" fmla="*/ 349102 h 377929"/>
                <a:gd name="connsiteX21" fmla="*/ 54332 w 206005"/>
                <a:gd name="connsiteY21" fmla="*/ 336668 h 377929"/>
                <a:gd name="connsiteX22" fmla="*/ 41012 w 206005"/>
                <a:gd name="connsiteY22" fmla="*/ 322480 h 377929"/>
                <a:gd name="connsiteX23" fmla="*/ 28855 w 206005"/>
                <a:gd name="connsiteY23" fmla="*/ 310538 h 377929"/>
                <a:gd name="connsiteX24" fmla="*/ 24731 w 206005"/>
                <a:gd name="connsiteY24" fmla="*/ 325325 h 377929"/>
                <a:gd name="connsiteX25" fmla="*/ 19981 w 206005"/>
                <a:gd name="connsiteY25" fmla="*/ 311352 h 377929"/>
                <a:gd name="connsiteX26" fmla="*/ 22718 w 206005"/>
                <a:gd name="connsiteY26" fmla="*/ 295626 h 377929"/>
                <a:gd name="connsiteX27" fmla="*/ 30107 w 206005"/>
                <a:gd name="connsiteY27" fmla="*/ 271401 h 377929"/>
                <a:gd name="connsiteX28" fmla="*/ 42255 w 206005"/>
                <a:gd name="connsiteY28" fmla="*/ 245361 h 377929"/>
                <a:gd name="connsiteX29" fmla="*/ 56031 w 206005"/>
                <a:gd name="connsiteY29" fmla="*/ 221656 h 377929"/>
                <a:gd name="connsiteX30" fmla="*/ 46227 w 206005"/>
                <a:gd name="connsiteY30" fmla="*/ 198388 h 377929"/>
                <a:gd name="connsiteX31" fmla="*/ 46621 w 206005"/>
                <a:gd name="connsiteY31" fmla="*/ 186509 h 377929"/>
                <a:gd name="connsiteX32" fmla="*/ 43749 w 206005"/>
                <a:gd name="connsiteY32" fmla="*/ 172196 h 377929"/>
                <a:gd name="connsiteX33" fmla="*/ 27021 w 206005"/>
                <a:gd name="connsiteY33" fmla="*/ 151764 h 377929"/>
                <a:gd name="connsiteX34" fmla="*/ 21036 w 206005"/>
                <a:gd name="connsiteY34" fmla="*/ 138829 h 377929"/>
                <a:gd name="connsiteX35" fmla="*/ 29695 w 206005"/>
                <a:gd name="connsiteY35" fmla="*/ 134061 h 377929"/>
                <a:gd name="connsiteX36" fmla="*/ 38874 w 206005"/>
                <a:gd name="connsiteY36" fmla="*/ 111537 h 377929"/>
                <a:gd name="connsiteX37" fmla="*/ 28604 w 206005"/>
                <a:gd name="connsiteY37" fmla="*/ 94388 h 377929"/>
                <a:gd name="connsiteX38" fmla="*/ 12690 w 206005"/>
                <a:gd name="connsiteY38" fmla="*/ 75334 h 377929"/>
                <a:gd name="connsiteX39" fmla="*/ 560 w 206005"/>
                <a:gd name="connsiteY39" fmla="*/ 52326 h 377929"/>
                <a:gd name="connsiteX40" fmla="*/ 11151 w 206005"/>
                <a:gd name="connsiteY40" fmla="*/ 47549 h 377929"/>
                <a:gd name="connsiteX41" fmla="*/ 22584 w 206005"/>
                <a:gd name="connsiteY41" fmla="*/ 19013 h 377929"/>
                <a:gd name="connsiteX42" fmla="*/ 40296 w 206005"/>
                <a:gd name="connsiteY42" fmla="*/ 17823 h 377929"/>
                <a:gd name="connsiteX43" fmla="*/ 54922 w 206005"/>
                <a:gd name="connsiteY43" fmla="*/ 6319 h 377929"/>
                <a:gd name="connsiteX44" fmla="*/ 69297 w 206005"/>
                <a:gd name="connsiteY44" fmla="*/ 174 h 377929"/>
                <a:gd name="connsiteX45" fmla="*/ 80148 w 206005"/>
                <a:gd name="connsiteY45" fmla="*/ 8377 h 377929"/>
                <a:gd name="connsiteX46" fmla="*/ 81589 w 206005"/>
                <a:gd name="connsiteY46" fmla="*/ 24300 h 377929"/>
                <a:gd name="connsiteX47" fmla="*/ 98531 w 206005"/>
                <a:gd name="connsiteY47" fmla="*/ 25516 h 377929"/>
                <a:gd name="connsiteX48" fmla="*/ 92368 w 206005"/>
                <a:gd name="connsiteY48" fmla="*/ 53283 h 377929"/>
                <a:gd name="connsiteX49" fmla="*/ 92958 w 206005"/>
                <a:gd name="connsiteY49" fmla="*/ 76774 h 377929"/>
                <a:gd name="connsiteX50" fmla="*/ 119392 w 206005"/>
                <a:gd name="connsiteY50" fmla="*/ 61155 h 377929"/>
                <a:gd name="connsiteX51" fmla="*/ 126906 w 206005"/>
                <a:gd name="connsiteY51" fmla="*/ 65780 h 377929"/>
                <a:gd name="connsiteX52" fmla="*/ 141595 w 206005"/>
                <a:gd name="connsiteY52" fmla="*/ 65020 h 377929"/>
                <a:gd name="connsiteX53" fmla="*/ 146649 w 206005"/>
                <a:gd name="connsiteY53" fmla="*/ 55896 h 377929"/>
                <a:gd name="connsiteX54" fmla="*/ 165614 w 206005"/>
                <a:gd name="connsiteY54" fmla="*/ 57694 h 377929"/>
                <a:gd name="connsiteX55" fmla="*/ 184694 w 206005"/>
                <a:gd name="connsiteY55" fmla="*/ 78966 h 377929"/>
                <a:gd name="connsiteX56" fmla="*/ 186260 w 206005"/>
                <a:gd name="connsiteY56" fmla="*/ 104684 h 377929"/>
                <a:gd name="connsiteX57" fmla="*/ 206566 w 206005"/>
                <a:gd name="connsiteY57" fmla="*/ 127289 h 377929"/>
                <a:gd name="connsiteX58" fmla="*/ 205448 w 206005"/>
                <a:gd name="connsiteY58" fmla="*/ 149143 h 377929"/>
                <a:gd name="connsiteX59" fmla="*/ 197281 w 206005"/>
                <a:gd name="connsiteY59" fmla="*/ 160746 h 377929"/>
                <a:gd name="connsiteX60" fmla="*/ 173772 w 206005"/>
                <a:gd name="connsiteY60" fmla="*/ 157051 h 377929"/>
                <a:gd name="connsiteX61" fmla="*/ 141344 w 206005"/>
                <a:gd name="connsiteY61" fmla="*/ 161971 h 377929"/>
                <a:gd name="connsiteX62" fmla="*/ 125278 w 206005"/>
                <a:gd name="connsiteY62" fmla="*/ 183306 h 377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06005" h="377929">
                  <a:moveTo>
                    <a:pt x="131218" y="214168"/>
                  </a:moveTo>
                  <a:lnTo>
                    <a:pt x="108702" y="202458"/>
                  </a:lnTo>
                  <a:lnTo>
                    <a:pt x="87251" y="202933"/>
                  </a:lnTo>
                  <a:lnTo>
                    <a:pt x="90928" y="182832"/>
                  </a:lnTo>
                  <a:lnTo>
                    <a:pt x="68832" y="182984"/>
                  </a:lnTo>
                  <a:lnTo>
                    <a:pt x="66846" y="211100"/>
                  </a:lnTo>
                  <a:lnTo>
                    <a:pt x="53312" y="248260"/>
                  </a:lnTo>
                  <a:lnTo>
                    <a:pt x="45162" y="270641"/>
                  </a:lnTo>
                  <a:lnTo>
                    <a:pt x="46880" y="288926"/>
                  </a:lnTo>
                  <a:lnTo>
                    <a:pt x="63214" y="289722"/>
                  </a:lnTo>
                  <a:lnTo>
                    <a:pt x="73394" y="312730"/>
                  </a:lnTo>
                  <a:lnTo>
                    <a:pt x="77903" y="334503"/>
                  </a:lnTo>
                  <a:lnTo>
                    <a:pt x="91894" y="348887"/>
                  </a:lnTo>
                  <a:lnTo>
                    <a:pt x="107092" y="351804"/>
                  </a:lnTo>
                  <a:lnTo>
                    <a:pt x="120090" y="364819"/>
                  </a:lnTo>
                  <a:lnTo>
                    <a:pt x="111896" y="375107"/>
                  </a:lnTo>
                  <a:lnTo>
                    <a:pt x="95329" y="378103"/>
                  </a:lnTo>
                  <a:lnTo>
                    <a:pt x="93361" y="365240"/>
                  </a:lnTo>
                  <a:lnTo>
                    <a:pt x="72894" y="354255"/>
                  </a:lnTo>
                  <a:lnTo>
                    <a:pt x="68537" y="358728"/>
                  </a:lnTo>
                  <a:lnTo>
                    <a:pt x="58625" y="349102"/>
                  </a:lnTo>
                  <a:lnTo>
                    <a:pt x="54332" y="336668"/>
                  </a:lnTo>
                  <a:lnTo>
                    <a:pt x="41012" y="322480"/>
                  </a:lnTo>
                  <a:lnTo>
                    <a:pt x="28855" y="310538"/>
                  </a:lnTo>
                  <a:lnTo>
                    <a:pt x="24731" y="325325"/>
                  </a:lnTo>
                  <a:lnTo>
                    <a:pt x="19981" y="311352"/>
                  </a:lnTo>
                  <a:lnTo>
                    <a:pt x="22718" y="295626"/>
                  </a:lnTo>
                  <a:lnTo>
                    <a:pt x="30107" y="271401"/>
                  </a:lnTo>
                  <a:lnTo>
                    <a:pt x="42255" y="245361"/>
                  </a:lnTo>
                  <a:lnTo>
                    <a:pt x="56031" y="221656"/>
                  </a:lnTo>
                  <a:lnTo>
                    <a:pt x="46227" y="198388"/>
                  </a:lnTo>
                  <a:lnTo>
                    <a:pt x="46621" y="186509"/>
                  </a:lnTo>
                  <a:lnTo>
                    <a:pt x="43749" y="172196"/>
                  </a:lnTo>
                  <a:lnTo>
                    <a:pt x="27021" y="151764"/>
                  </a:lnTo>
                  <a:lnTo>
                    <a:pt x="21036" y="138829"/>
                  </a:lnTo>
                  <a:lnTo>
                    <a:pt x="29695" y="134061"/>
                  </a:lnTo>
                  <a:lnTo>
                    <a:pt x="38874" y="111537"/>
                  </a:lnTo>
                  <a:lnTo>
                    <a:pt x="28604" y="94388"/>
                  </a:lnTo>
                  <a:lnTo>
                    <a:pt x="12690" y="75334"/>
                  </a:lnTo>
                  <a:lnTo>
                    <a:pt x="560" y="52326"/>
                  </a:lnTo>
                  <a:lnTo>
                    <a:pt x="11151" y="47549"/>
                  </a:lnTo>
                  <a:lnTo>
                    <a:pt x="22584" y="19013"/>
                  </a:lnTo>
                  <a:lnTo>
                    <a:pt x="40296" y="17823"/>
                  </a:lnTo>
                  <a:lnTo>
                    <a:pt x="54922" y="6319"/>
                  </a:lnTo>
                  <a:lnTo>
                    <a:pt x="69297" y="174"/>
                  </a:lnTo>
                  <a:lnTo>
                    <a:pt x="80148" y="8377"/>
                  </a:lnTo>
                  <a:lnTo>
                    <a:pt x="81589" y="24300"/>
                  </a:lnTo>
                  <a:lnTo>
                    <a:pt x="98531" y="25516"/>
                  </a:lnTo>
                  <a:lnTo>
                    <a:pt x="92368" y="53283"/>
                  </a:lnTo>
                  <a:lnTo>
                    <a:pt x="92958" y="76774"/>
                  </a:lnTo>
                  <a:lnTo>
                    <a:pt x="119392" y="61155"/>
                  </a:lnTo>
                  <a:lnTo>
                    <a:pt x="126906" y="65780"/>
                  </a:lnTo>
                  <a:lnTo>
                    <a:pt x="141595" y="65020"/>
                  </a:lnTo>
                  <a:lnTo>
                    <a:pt x="146649" y="55896"/>
                  </a:lnTo>
                  <a:lnTo>
                    <a:pt x="165614" y="57694"/>
                  </a:lnTo>
                  <a:lnTo>
                    <a:pt x="184694" y="78966"/>
                  </a:lnTo>
                  <a:lnTo>
                    <a:pt x="186260" y="104684"/>
                  </a:lnTo>
                  <a:lnTo>
                    <a:pt x="206566" y="127289"/>
                  </a:lnTo>
                  <a:lnTo>
                    <a:pt x="205448" y="149143"/>
                  </a:lnTo>
                  <a:lnTo>
                    <a:pt x="197281" y="160746"/>
                  </a:lnTo>
                  <a:lnTo>
                    <a:pt x="173772" y="157051"/>
                  </a:lnTo>
                  <a:lnTo>
                    <a:pt x="141344" y="161971"/>
                  </a:lnTo>
                  <a:lnTo>
                    <a:pt x="125278" y="18330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7529263" y="3539396"/>
              <a:ext cx="189063" cy="135488"/>
            </a:xfrm>
            <a:custGeom>
              <a:avLst/>
              <a:gdLst>
                <a:gd name="connsiteX0" fmla="*/ 90115 w 189063"/>
                <a:gd name="connsiteY0" fmla="*/ 23694 h 135488"/>
                <a:gd name="connsiteX1" fmla="*/ 80937 w 189063"/>
                <a:gd name="connsiteY1" fmla="*/ 33767 h 135488"/>
                <a:gd name="connsiteX2" fmla="*/ 53635 w 189063"/>
                <a:gd name="connsiteY2" fmla="*/ 28311 h 135488"/>
                <a:gd name="connsiteX3" fmla="*/ 51255 w 189063"/>
                <a:gd name="connsiteY3" fmla="*/ 47060 h 135488"/>
                <a:gd name="connsiteX4" fmla="*/ 78459 w 189063"/>
                <a:gd name="connsiteY4" fmla="*/ 44546 h 135488"/>
                <a:gd name="connsiteX5" fmla="*/ 109437 w 189063"/>
                <a:gd name="connsiteY5" fmla="*/ 55048 h 135488"/>
                <a:gd name="connsiteX6" fmla="*/ 156866 w 189063"/>
                <a:gd name="connsiteY6" fmla="*/ 50155 h 135488"/>
                <a:gd name="connsiteX7" fmla="*/ 163226 w 189063"/>
                <a:gd name="connsiteY7" fmla="*/ 79881 h 135488"/>
                <a:gd name="connsiteX8" fmla="*/ 171465 w 189063"/>
                <a:gd name="connsiteY8" fmla="*/ 76670 h 135488"/>
                <a:gd name="connsiteX9" fmla="*/ 186700 w 189063"/>
                <a:gd name="connsiteY9" fmla="*/ 83934 h 135488"/>
                <a:gd name="connsiteX10" fmla="*/ 185823 w 189063"/>
                <a:gd name="connsiteY10" fmla="*/ 96287 h 135488"/>
                <a:gd name="connsiteX11" fmla="*/ 189589 w 189063"/>
                <a:gd name="connsiteY11" fmla="*/ 114286 h 135488"/>
                <a:gd name="connsiteX12" fmla="*/ 163718 w 189063"/>
                <a:gd name="connsiteY12" fmla="*/ 114232 h 135488"/>
                <a:gd name="connsiteX13" fmla="*/ 146445 w 189063"/>
                <a:gd name="connsiteY13" fmla="*/ 111915 h 135488"/>
                <a:gd name="connsiteX14" fmla="*/ 130817 w 189063"/>
                <a:gd name="connsiteY14" fmla="*/ 125968 h 135488"/>
                <a:gd name="connsiteX15" fmla="*/ 119689 w 189063"/>
                <a:gd name="connsiteY15" fmla="*/ 129072 h 135488"/>
                <a:gd name="connsiteX16" fmla="*/ 110940 w 189063"/>
                <a:gd name="connsiteY16" fmla="*/ 135629 h 135488"/>
                <a:gd name="connsiteX17" fmla="*/ 101019 w 189063"/>
                <a:gd name="connsiteY17" fmla="*/ 125405 h 135488"/>
                <a:gd name="connsiteX18" fmla="*/ 103354 w 189063"/>
                <a:gd name="connsiteY18" fmla="*/ 98962 h 135488"/>
                <a:gd name="connsiteX19" fmla="*/ 95768 w 189063"/>
                <a:gd name="connsiteY19" fmla="*/ 97450 h 135488"/>
                <a:gd name="connsiteX20" fmla="*/ 98496 w 189063"/>
                <a:gd name="connsiteY20" fmla="*/ 87753 h 135488"/>
                <a:gd name="connsiteX21" fmla="*/ 84917 w 189063"/>
                <a:gd name="connsiteY21" fmla="*/ 80507 h 135488"/>
                <a:gd name="connsiteX22" fmla="*/ 74120 w 189063"/>
                <a:gd name="connsiteY22" fmla="*/ 91582 h 135488"/>
                <a:gd name="connsiteX23" fmla="*/ 71463 w 189063"/>
                <a:gd name="connsiteY23" fmla="*/ 104356 h 135488"/>
                <a:gd name="connsiteX24" fmla="*/ 67608 w 189063"/>
                <a:gd name="connsiteY24" fmla="*/ 108990 h 135488"/>
                <a:gd name="connsiteX25" fmla="*/ 52615 w 189063"/>
                <a:gd name="connsiteY25" fmla="*/ 108328 h 135488"/>
                <a:gd name="connsiteX26" fmla="*/ 44529 w 189063"/>
                <a:gd name="connsiteY26" fmla="*/ 122721 h 135488"/>
                <a:gd name="connsiteX27" fmla="*/ 36066 w 189063"/>
                <a:gd name="connsiteY27" fmla="*/ 116665 h 135488"/>
                <a:gd name="connsiteX28" fmla="*/ 17915 w 189063"/>
                <a:gd name="connsiteY28" fmla="*/ 126738 h 135488"/>
                <a:gd name="connsiteX29" fmla="*/ 10249 w 189063"/>
                <a:gd name="connsiteY29" fmla="*/ 122918 h 135488"/>
                <a:gd name="connsiteX30" fmla="*/ 24347 w 189063"/>
                <a:gd name="connsiteY30" fmla="*/ 90992 h 135488"/>
                <a:gd name="connsiteX31" fmla="*/ 18927 w 189063"/>
                <a:gd name="connsiteY31" fmla="*/ 67214 h 135488"/>
                <a:gd name="connsiteX32" fmla="*/ 526 w 189063"/>
                <a:gd name="connsiteY32" fmla="*/ 59548 h 135488"/>
                <a:gd name="connsiteX33" fmla="*/ 7029 w 189063"/>
                <a:gd name="connsiteY33" fmla="*/ 45316 h 135488"/>
                <a:gd name="connsiteX34" fmla="*/ 27970 w 189063"/>
                <a:gd name="connsiteY34" fmla="*/ 46837 h 135488"/>
                <a:gd name="connsiteX35" fmla="*/ 39886 w 189063"/>
                <a:gd name="connsiteY35" fmla="*/ 28865 h 135488"/>
                <a:gd name="connsiteX36" fmla="*/ 47865 w 189063"/>
                <a:gd name="connsiteY36" fmla="*/ 7816 h 135488"/>
                <a:gd name="connsiteX37" fmla="*/ 81402 w 189063"/>
                <a:gd name="connsiteY37" fmla="*/ 141 h 135488"/>
                <a:gd name="connsiteX38" fmla="*/ 76178 w 189063"/>
                <a:gd name="connsiteY38" fmla="*/ 15429 h 135488"/>
                <a:gd name="connsiteX39" fmla="*/ 79765 w 189063"/>
                <a:gd name="connsiteY39" fmla="*/ 24544 h 13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9063" h="135488">
                  <a:moveTo>
                    <a:pt x="90115" y="23694"/>
                  </a:moveTo>
                  <a:lnTo>
                    <a:pt x="80937" y="33767"/>
                  </a:lnTo>
                  <a:lnTo>
                    <a:pt x="53635" y="28311"/>
                  </a:lnTo>
                  <a:lnTo>
                    <a:pt x="51255" y="47060"/>
                  </a:lnTo>
                  <a:lnTo>
                    <a:pt x="78459" y="44546"/>
                  </a:lnTo>
                  <a:lnTo>
                    <a:pt x="109437" y="55048"/>
                  </a:lnTo>
                  <a:lnTo>
                    <a:pt x="156866" y="50155"/>
                  </a:lnTo>
                  <a:lnTo>
                    <a:pt x="163226" y="79881"/>
                  </a:lnTo>
                  <a:lnTo>
                    <a:pt x="171465" y="76670"/>
                  </a:lnTo>
                  <a:lnTo>
                    <a:pt x="186700" y="83934"/>
                  </a:lnTo>
                  <a:lnTo>
                    <a:pt x="185823" y="96287"/>
                  </a:lnTo>
                  <a:lnTo>
                    <a:pt x="189589" y="114286"/>
                  </a:lnTo>
                  <a:lnTo>
                    <a:pt x="163718" y="114232"/>
                  </a:lnTo>
                  <a:lnTo>
                    <a:pt x="146445" y="111915"/>
                  </a:lnTo>
                  <a:lnTo>
                    <a:pt x="130817" y="125968"/>
                  </a:lnTo>
                  <a:lnTo>
                    <a:pt x="119689" y="129072"/>
                  </a:lnTo>
                  <a:lnTo>
                    <a:pt x="110940" y="135629"/>
                  </a:lnTo>
                  <a:lnTo>
                    <a:pt x="101019" y="125405"/>
                  </a:lnTo>
                  <a:lnTo>
                    <a:pt x="103354" y="98962"/>
                  </a:lnTo>
                  <a:lnTo>
                    <a:pt x="95768" y="97450"/>
                  </a:lnTo>
                  <a:lnTo>
                    <a:pt x="98496" y="87753"/>
                  </a:lnTo>
                  <a:lnTo>
                    <a:pt x="84917" y="80507"/>
                  </a:lnTo>
                  <a:lnTo>
                    <a:pt x="74120" y="91582"/>
                  </a:lnTo>
                  <a:lnTo>
                    <a:pt x="71463" y="104356"/>
                  </a:lnTo>
                  <a:lnTo>
                    <a:pt x="67608" y="108990"/>
                  </a:lnTo>
                  <a:lnTo>
                    <a:pt x="52615" y="108328"/>
                  </a:lnTo>
                  <a:lnTo>
                    <a:pt x="44529" y="122721"/>
                  </a:lnTo>
                  <a:lnTo>
                    <a:pt x="36066" y="116665"/>
                  </a:lnTo>
                  <a:lnTo>
                    <a:pt x="17915" y="126738"/>
                  </a:lnTo>
                  <a:lnTo>
                    <a:pt x="10249" y="122918"/>
                  </a:lnTo>
                  <a:lnTo>
                    <a:pt x="24347" y="90992"/>
                  </a:lnTo>
                  <a:lnTo>
                    <a:pt x="18927" y="67214"/>
                  </a:lnTo>
                  <a:lnTo>
                    <a:pt x="526" y="59548"/>
                  </a:lnTo>
                  <a:lnTo>
                    <a:pt x="7029" y="45316"/>
                  </a:lnTo>
                  <a:lnTo>
                    <a:pt x="27970" y="46837"/>
                  </a:lnTo>
                  <a:lnTo>
                    <a:pt x="39886" y="28865"/>
                  </a:lnTo>
                  <a:lnTo>
                    <a:pt x="47865" y="7816"/>
                  </a:lnTo>
                  <a:lnTo>
                    <a:pt x="81402" y="141"/>
                  </a:lnTo>
                  <a:lnTo>
                    <a:pt x="76178" y="15429"/>
                  </a:lnTo>
                  <a:lnTo>
                    <a:pt x="79765" y="2454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/>
            <p:cNvSpPr/>
            <p:nvPr/>
          </p:nvSpPr>
          <p:spPr>
            <a:xfrm>
              <a:off x="8972127" y="4867963"/>
              <a:ext cx="59380" cy="28240"/>
            </a:xfrm>
            <a:custGeom>
              <a:avLst/>
              <a:gdLst>
                <a:gd name="connsiteX0" fmla="*/ 589 w 59380"/>
                <a:gd name="connsiteY0" fmla="*/ 15809 h 28240"/>
                <a:gd name="connsiteX1" fmla="*/ 3550 w 59380"/>
                <a:gd name="connsiteY1" fmla="*/ 9860 h 28240"/>
                <a:gd name="connsiteX2" fmla="*/ 25135 w 59380"/>
                <a:gd name="connsiteY2" fmla="*/ 4198 h 28240"/>
                <a:gd name="connsiteX3" fmla="*/ 42633 w 59380"/>
                <a:gd name="connsiteY3" fmla="*/ 3339 h 28240"/>
                <a:gd name="connsiteX4" fmla="*/ 50478 w 59380"/>
                <a:gd name="connsiteY4" fmla="*/ 199 h 28240"/>
                <a:gd name="connsiteX5" fmla="*/ 59969 w 59380"/>
                <a:gd name="connsiteY5" fmla="*/ 3312 h 28240"/>
                <a:gd name="connsiteX6" fmla="*/ 50746 w 59380"/>
                <a:gd name="connsiteY6" fmla="*/ 10147 h 28240"/>
                <a:gd name="connsiteX7" fmla="*/ 24599 w 59380"/>
                <a:gd name="connsiteY7" fmla="*/ 21185 h 28240"/>
                <a:gd name="connsiteX8" fmla="*/ 3594 w 59380"/>
                <a:gd name="connsiteY8" fmla="*/ 28440 h 28240"/>
                <a:gd name="connsiteX9" fmla="*/ 3138 w 59380"/>
                <a:gd name="connsiteY9" fmla="*/ 20783 h 2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80" h="28240">
                  <a:moveTo>
                    <a:pt x="589" y="15809"/>
                  </a:moveTo>
                  <a:lnTo>
                    <a:pt x="3550" y="9860"/>
                  </a:lnTo>
                  <a:lnTo>
                    <a:pt x="25135" y="4198"/>
                  </a:lnTo>
                  <a:lnTo>
                    <a:pt x="42633" y="3339"/>
                  </a:lnTo>
                  <a:lnTo>
                    <a:pt x="50478" y="199"/>
                  </a:lnTo>
                  <a:lnTo>
                    <a:pt x="59969" y="3312"/>
                  </a:lnTo>
                  <a:lnTo>
                    <a:pt x="50746" y="10147"/>
                  </a:lnTo>
                  <a:lnTo>
                    <a:pt x="24599" y="21185"/>
                  </a:lnTo>
                  <a:lnTo>
                    <a:pt x="3594" y="28440"/>
                  </a:lnTo>
                  <a:lnTo>
                    <a:pt x="3138" y="2078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/>
            <p:cNvSpPr/>
            <p:nvPr/>
          </p:nvSpPr>
          <p:spPr>
            <a:xfrm>
              <a:off x="7154545" y="3479282"/>
              <a:ext cx="352247" cy="240902"/>
            </a:xfrm>
            <a:custGeom>
              <a:avLst/>
              <a:gdLst>
                <a:gd name="connsiteX0" fmla="*/ 218935 w 352247"/>
                <a:gd name="connsiteY0" fmla="*/ 229414 h 240902"/>
                <a:gd name="connsiteX1" fmla="*/ 216734 w 352247"/>
                <a:gd name="connsiteY1" fmla="*/ 203418 h 240902"/>
                <a:gd name="connsiteX2" fmla="*/ 198038 w 352247"/>
                <a:gd name="connsiteY2" fmla="*/ 202300 h 240902"/>
                <a:gd name="connsiteX3" fmla="*/ 169377 w 352247"/>
                <a:gd name="connsiteY3" fmla="*/ 174614 h 240902"/>
                <a:gd name="connsiteX4" fmla="*/ 149348 w 352247"/>
                <a:gd name="connsiteY4" fmla="*/ 171179 h 240902"/>
                <a:gd name="connsiteX5" fmla="*/ 121608 w 352247"/>
                <a:gd name="connsiteY5" fmla="*/ 155157 h 240902"/>
                <a:gd name="connsiteX6" fmla="*/ 103770 w 352247"/>
                <a:gd name="connsiteY6" fmla="*/ 152232 h 240902"/>
                <a:gd name="connsiteX7" fmla="*/ 92758 w 352247"/>
                <a:gd name="connsiteY7" fmla="*/ 158145 h 240902"/>
                <a:gd name="connsiteX8" fmla="*/ 75986 w 352247"/>
                <a:gd name="connsiteY8" fmla="*/ 157224 h 240902"/>
                <a:gd name="connsiteX9" fmla="*/ 58149 w 352247"/>
                <a:gd name="connsiteY9" fmla="*/ 175267 h 240902"/>
                <a:gd name="connsiteX10" fmla="*/ 36106 w 352247"/>
                <a:gd name="connsiteY10" fmla="*/ 181341 h 240902"/>
                <a:gd name="connsiteX11" fmla="*/ 31446 w 352247"/>
                <a:gd name="connsiteY11" fmla="*/ 159058 h 240902"/>
                <a:gd name="connsiteX12" fmla="*/ 35087 w 352247"/>
                <a:gd name="connsiteY12" fmla="*/ 125709 h 240902"/>
                <a:gd name="connsiteX13" fmla="*/ 15532 w 352247"/>
                <a:gd name="connsiteY13" fmla="*/ 114804 h 240902"/>
                <a:gd name="connsiteX14" fmla="*/ 21964 w 352247"/>
                <a:gd name="connsiteY14" fmla="*/ 92592 h 240902"/>
                <a:gd name="connsiteX15" fmla="*/ 5316 w 352247"/>
                <a:gd name="connsiteY15" fmla="*/ 90696 h 240902"/>
                <a:gd name="connsiteX16" fmla="*/ 10863 w 352247"/>
                <a:gd name="connsiteY16" fmla="*/ 63018 h 240902"/>
                <a:gd name="connsiteX17" fmla="*/ 34523 w 352247"/>
                <a:gd name="connsiteY17" fmla="*/ 71114 h 240902"/>
                <a:gd name="connsiteX18" fmla="*/ 56556 w 352247"/>
                <a:gd name="connsiteY18" fmla="*/ 60550 h 240902"/>
                <a:gd name="connsiteX19" fmla="*/ 38289 w 352247"/>
                <a:gd name="connsiteY19" fmla="*/ 40610 h 240902"/>
                <a:gd name="connsiteX20" fmla="*/ 31097 w 352247"/>
                <a:gd name="connsiteY20" fmla="*/ 21422 h 240902"/>
                <a:gd name="connsiteX21" fmla="*/ 10907 w 352247"/>
                <a:gd name="connsiteY21" fmla="*/ 30001 h 240902"/>
                <a:gd name="connsiteX22" fmla="*/ 8349 w 352247"/>
                <a:gd name="connsiteY22" fmla="*/ 54449 h 240902"/>
                <a:gd name="connsiteX23" fmla="*/ 512 w 352247"/>
                <a:gd name="connsiteY23" fmla="*/ 32845 h 240902"/>
                <a:gd name="connsiteX24" fmla="*/ 11596 w 352247"/>
                <a:gd name="connsiteY24" fmla="*/ 21664 h 240902"/>
                <a:gd name="connsiteX25" fmla="*/ 40069 w 352247"/>
                <a:gd name="connsiteY25" fmla="*/ 14641 h 240902"/>
                <a:gd name="connsiteX26" fmla="*/ 57021 w 352247"/>
                <a:gd name="connsiteY26" fmla="*/ 24088 h 240902"/>
                <a:gd name="connsiteX27" fmla="*/ 74573 w 352247"/>
                <a:gd name="connsiteY27" fmla="*/ 50316 h 240902"/>
                <a:gd name="connsiteX28" fmla="*/ 87445 w 352247"/>
                <a:gd name="connsiteY28" fmla="*/ 48688 h 240902"/>
                <a:gd name="connsiteX29" fmla="*/ 115740 w 352247"/>
                <a:gd name="connsiteY29" fmla="*/ 48232 h 240902"/>
                <a:gd name="connsiteX30" fmla="*/ 111625 w 352247"/>
                <a:gd name="connsiteY30" fmla="*/ 31414 h 240902"/>
                <a:gd name="connsiteX31" fmla="*/ 133049 w 352247"/>
                <a:gd name="connsiteY31" fmla="*/ 19830 h 240902"/>
                <a:gd name="connsiteX32" fmla="*/ 154178 w 352247"/>
                <a:gd name="connsiteY32" fmla="*/ 141 h 240902"/>
                <a:gd name="connsiteX33" fmla="*/ 187975 w 352247"/>
                <a:gd name="connsiteY33" fmla="*/ 18050 h 240902"/>
                <a:gd name="connsiteX34" fmla="*/ 190658 w 352247"/>
                <a:gd name="connsiteY34" fmla="*/ 44815 h 240902"/>
                <a:gd name="connsiteX35" fmla="*/ 200257 w 352247"/>
                <a:gd name="connsiteY35" fmla="*/ 51622 h 240902"/>
                <a:gd name="connsiteX36" fmla="*/ 227371 w 352247"/>
                <a:gd name="connsiteY36" fmla="*/ 50092 h 240902"/>
                <a:gd name="connsiteX37" fmla="*/ 235788 w 352247"/>
                <a:gd name="connsiteY37" fmla="*/ 56122 h 240902"/>
                <a:gd name="connsiteX38" fmla="*/ 248124 w 352247"/>
                <a:gd name="connsiteY38" fmla="*/ 90034 h 240902"/>
                <a:gd name="connsiteX39" fmla="*/ 276803 w 352247"/>
                <a:gd name="connsiteY39" fmla="*/ 112460 h 240902"/>
                <a:gd name="connsiteX40" fmla="*/ 293165 w 352247"/>
                <a:gd name="connsiteY40" fmla="*/ 127623 h 240902"/>
                <a:gd name="connsiteX41" fmla="*/ 319393 w 352247"/>
                <a:gd name="connsiteY41" fmla="*/ 143287 h 240902"/>
                <a:gd name="connsiteX42" fmla="*/ 352759 w 352247"/>
                <a:gd name="connsiteY42" fmla="*/ 156884 h 240902"/>
                <a:gd name="connsiteX43" fmla="*/ 352071 w 352247"/>
                <a:gd name="connsiteY43" fmla="*/ 176197 h 240902"/>
                <a:gd name="connsiteX44" fmla="*/ 344512 w 352247"/>
                <a:gd name="connsiteY44" fmla="*/ 175222 h 240902"/>
                <a:gd name="connsiteX45" fmla="*/ 332677 w 352247"/>
                <a:gd name="connsiteY45" fmla="*/ 166804 h 240902"/>
                <a:gd name="connsiteX46" fmla="*/ 328741 w 352247"/>
                <a:gd name="connsiteY46" fmla="*/ 178004 h 240902"/>
                <a:gd name="connsiteX47" fmla="*/ 307603 w 352247"/>
                <a:gd name="connsiteY47" fmla="*/ 184069 h 240902"/>
                <a:gd name="connsiteX48" fmla="*/ 302593 w 352247"/>
                <a:gd name="connsiteY48" fmla="*/ 208982 h 240902"/>
                <a:gd name="connsiteX49" fmla="*/ 288459 w 352247"/>
                <a:gd name="connsiteY49" fmla="*/ 218393 h 240902"/>
                <a:gd name="connsiteX50" fmla="*/ 268663 w 352247"/>
                <a:gd name="connsiteY50" fmla="*/ 223036 h 240902"/>
                <a:gd name="connsiteX51" fmla="*/ 263430 w 352247"/>
                <a:gd name="connsiteY51" fmla="*/ 236964 h 240902"/>
                <a:gd name="connsiteX52" fmla="*/ 244510 w 352247"/>
                <a:gd name="connsiteY52" fmla="*/ 241043 h 24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52247" h="240902">
                  <a:moveTo>
                    <a:pt x="218935" y="229414"/>
                  </a:moveTo>
                  <a:lnTo>
                    <a:pt x="216734" y="203418"/>
                  </a:lnTo>
                  <a:lnTo>
                    <a:pt x="198038" y="202300"/>
                  </a:lnTo>
                  <a:lnTo>
                    <a:pt x="169377" y="174614"/>
                  </a:lnTo>
                  <a:lnTo>
                    <a:pt x="149348" y="171179"/>
                  </a:lnTo>
                  <a:lnTo>
                    <a:pt x="121608" y="155157"/>
                  </a:lnTo>
                  <a:lnTo>
                    <a:pt x="103770" y="152232"/>
                  </a:lnTo>
                  <a:lnTo>
                    <a:pt x="92758" y="158145"/>
                  </a:lnTo>
                  <a:lnTo>
                    <a:pt x="75986" y="157224"/>
                  </a:lnTo>
                  <a:lnTo>
                    <a:pt x="58149" y="175267"/>
                  </a:lnTo>
                  <a:lnTo>
                    <a:pt x="36106" y="181341"/>
                  </a:lnTo>
                  <a:lnTo>
                    <a:pt x="31446" y="159058"/>
                  </a:lnTo>
                  <a:lnTo>
                    <a:pt x="35087" y="125709"/>
                  </a:lnTo>
                  <a:lnTo>
                    <a:pt x="15532" y="114804"/>
                  </a:lnTo>
                  <a:lnTo>
                    <a:pt x="21964" y="92592"/>
                  </a:lnTo>
                  <a:lnTo>
                    <a:pt x="5316" y="90696"/>
                  </a:lnTo>
                  <a:lnTo>
                    <a:pt x="10863" y="63018"/>
                  </a:lnTo>
                  <a:lnTo>
                    <a:pt x="34523" y="71114"/>
                  </a:lnTo>
                  <a:lnTo>
                    <a:pt x="56556" y="60550"/>
                  </a:lnTo>
                  <a:lnTo>
                    <a:pt x="38289" y="40610"/>
                  </a:lnTo>
                  <a:lnTo>
                    <a:pt x="31097" y="21422"/>
                  </a:lnTo>
                  <a:lnTo>
                    <a:pt x="10907" y="30001"/>
                  </a:lnTo>
                  <a:lnTo>
                    <a:pt x="8349" y="54449"/>
                  </a:lnTo>
                  <a:lnTo>
                    <a:pt x="512" y="32845"/>
                  </a:lnTo>
                  <a:lnTo>
                    <a:pt x="11596" y="21664"/>
                  </a:lnTo>
                  <a:lnTo>
                    <a:pt x="40069" y="14641"/>
                  </a:lnTo>
                  <a:lnTo>
                    <a:pt x="57021" y="24088"/>
                  </a:lnTo>
                  <a:lnTo>
                    <a:pt x="74573" y="50316"/>
                  </a:lnTo>
                  <a:lnTo>
                    <a:pt x="87445" y="48688"/>
                  </a:lnTo>
                  <a:lnTo>
                    <a:pt x="115740" y="48232"/>
                  </a:lnTo>
                  <a:lnTo>
                    <a:pt x="111625" y="31414"/>
                  </a:lnTo>
                  <a:lnTo>
                    <a:pt x="133049" y="19830"/>
                  </a:lnTo>
                  <a:lnTo>
                    <a:pt x="154178" y="141"/>
                  </a:lnTo>
                  <a:lnTo>
                    <a:pt x="187975" y="18050"/>
                  </a:lnTo>
                  <a:lnTo>
                    <a:pt x="190658" y="44815"/>
                  </a:lnTo>
                  <a:lnTo>
                    <a:pt x="200257" y="51622"/>
                  </a:lnTo>
                  <a:lnTo>
                    <a:pt x="227371" y="50092"/>
                  </a:lnTo>
                  <a:lnTo>
                    <a:pt x="235788" y="56122"/>
                  </a:lnTo>
                  <a:lnTo>
                    <a:pt x="248124" y="90034"/>
                  </a:lnTo>
                  <a:lnTo>
                    <a:pt x="276803" y="112460"/>
                  </a:lnTo>
                  <a:lnTo>
                    <a:pt x="293165" y="127623"/>
                  </a:lnTo>
                  <a:lnTo>
                    <a:pt x="319393" y="143287"/>
                  </a:lnTo>
                  <a:lnTo>
                    <a:pt x="352759" y="156884"/>
                  </a:lnTo>
                  <a:lnTo>
                    <a:pt x="352071" y="176197"/>
                  </a:lnTo>
                  <a:lnTo>
                    <a:pt x="344512" y="175222"/>
                  </a:lnTo>
                  <a:lnTo>
                    <a:pt x="332677" y="166804"/>
                  </a:lnTo>
                  <a:lnTo>
                    <a:pt x="328741" y="178004"/>
                  </a:lnTo>
                  <a:lnTo>
                    <a:pt x="307603" y="184069"/>
                  </a:lnTo>
                  <a:lnTo>
                    <a:pt x="302593" y="208982"/>
                  </a:lnTo>
                  <a:lnTo>
                    <a:pt x="288459" y="218393"/>
                  </a:lnTo>
                  <a:lnTo>
                    <a:pt x="268663" y="223036"/>
                  </a:lnTo>
                  <a:lnTo>
                    <a:pt x="263430" y="236964"/>
                  </a:lnTo>
                  <a:lnTo>
                    <a:pt x="244510" y="24104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/>
            <p:cNvSpPr/>
            <p:nvPr/>
          </p:nvSpPr>
          <p:spPr>
            <a:xfrm>
              <a:off x="6026420" y="3655741"/>
              <a:ext cx="99429" cy="211909"/>
            </a:xfrm>
            <a:custGeom>
              <a:avLst/>
              <a:gdLst>
                <a:gd name="connsiteX0" fmla="*/ 49548 w 99429"/>
                <a:gd name="connsiteY0" fmla="*/ 212058 h 211909"/>
                <a:gd name="connsiteX1" fmla="*/ 38858 w 99429"/>
                <a:gd name="connsiteY1" fmla="*/ 159664 h 211909"/>
                <a:gd name="connsiteX2" fmla="*/ 23391 w 99429"/>
                <a:gd name="connsiteY2" fmla="*/ 147749 h 211909"/>
                <a:gd name="connsiteX3" fmla="*/ 23176 w 99429"/>
                <a:gd name="connsiteY3" fmla="*/ 140574 h 211909"/>
                <a:gd name="connsiteX4" fmla="*/ 2664 w 99429"/>
                <a:gd name="connsiteY4" fmla="*/ 122827 h 211909"/>
                <a:gd name="connsiteX5" fmla="*/ 455 w 99429"/>
                <a:gd name="connsiteY5" fmla="*/ 100221 h 211909"/>
                <a:gd name="connsiteX6" fmla="*/ 15913 w 99429"/>
                <a:gd name="connsiteY6" fmla="*/ 83341 h 211909"/>
                <a:gd name="connsiteX7" fmla="*/ 21817 w 99429"/>
                <a:gd name="connsiteY7" fmla="*/ 58186 h 211909"/>
                <a:gd name="connsiteX8" fmla="*/ 17836 w 99429"/>
                <a:gd name="connsiteY8" fmla="*/ 28773 h 211909"/>
                <a:gd name="connsiteX9" fmla="*/ 22935 w 99429"/>
                <a:gd name="connsiteY9" fmla="*/ 12788 h 211909"/>
                <a:gd name="connsiteX10" fmla="*/ 50245 w 99429"/>
                <a:gd name="connsiteY10" fmla="*/ 148 h 211909"/>
                <a:gd name="connsiteX11" fmla="*/ 67806 w 99429"/>
                <a:gd name="connsiteY11" fmla="*/ 3914 h 211909"/>
                <a:gd name="connsiteX12" fmla="*/ 67072 w 99429"/>
                <a:gd name="connsiteY12" fmla="*/ 19730 h 211909"/>
                <a:gd name="connsiteX13" fmla="*/ 88344 w 99429"/>
                <a:gd name="connsiteY13" fmla="*/ 8235 h 211909"/>
                <a:gd name="connsiteX14" fmla="*/ 90134 w 99429"/>
                <a:gd name="connsiteY14" fmla="*/ 14246 h 211909"/>
                <a:gd name="connsiteX15" fmla="*/ 77592 w 99429"/>
                <a:gd name="connsiteY15" fmla="*/ 29498 h 211909"/>
                <a:gd name="connsiteX16" fmla="*/ 77422 w 99429"/>
                <a:gd name="connsiteY16" fmla="*/ 43802 h 211909"/>
                <a:gd name="connsiteX17" fmla="*/ 86108 w 99429"/>
                <a:gd name="connsiteY17" fmla="*/ 51459 h 211909"/>
                <a:gd name="connsiteX18" fmla="*/ 82807 w 99429"/>
                <a:gd name="connsiteY18" fmla="*/ 77929 h 211909"/>
                <a:gd name="connsiteX19" fmla="*/ 66294 w 99429"/>
                <a:gd name="connsiteY19" fmla="*/ 93172 h 211909"/>
                <a:gd name="connsiteX20" fmla="*/ 71062 w 99429"/>
                <a:gd name="connsiteY20" fmla="*/ 109596 h 211909"/>
                <a:gd name="connsiteX21" fmla="*/ 84033 w 99429"/>
                <a:gd name="connsiteY21" fmla="*/ 110106 h 211909"/>
                <a:gd name="connsiteX22" fmla="*/ 90339 w 99429"/>
                <a:gd name="connsiteY22" fmla="*/ 124347 h 211909"/>
                <a:gd name="connsiteX23" fmla="*/ 99884 w 99429"/>
                <a:gd name="connsiteY23" fmla="*/ 129008 h 211909"/>
                <a:gd name="connsiteX24" fmla="*/ 98462 w 99429"/>
                <a:gd name="connsiteY24" fmla="*/ 151810 h 211909"/>
                <a:gd name="connsiteX25" fmla="*/ 86233 w 99429"/>
                <a:gd name="connsiteY25" fmla="*/ 160281 h 211909"/>
                <a:gd name="connsiteX26" fmla="*/ 78513 w 99429"/>
                <a:gd name="connsiteY26" fmla="*/ 169701 h 211909"/>
                <a:gd name="connsiteX27" fmla="*/ 61293 w 99429"/>
                <a:gd name="connsiteY27" fmla="*/ 180990 h 211909"/>
                <a:gd name="connsiteX28" fmla="*/ 63959 w 99429"/>
                <a:gd name="connsiteY28" fmla="*/ 193076 h 211909"/>
                <a:gd name="connsiteX29" fmla="*/ 61794 w 99429"/>
                <a:gd name="connsiteY29" fmla="*/ 205349 h 21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9429" h="211909">
                  <a:moveTo>
                    <a:pt x="49548" y="212058"/>
                  </a:moveTo>
                  <a:lnTo>
                    <a:pt x="38858" y="159664"/>
                  </a:lnTo>
                  <a:lnTo>
                    <a:pt x="23391" y="147749"/>
                  </a:lnTo>
                  <a:lnTo>
                    <a:pt x="23176" y="140574"/>
                  </a:lnTo>
                  <a:lnTo>
                    <a:pt x="2664" y="122827"/>
                  </a:lnTo>
                  <a:lnTo>
                    <a:pt x="455" y="100221"/>
                  </a:lnTo>
                  <a:lnTo>
                    <a:pt x="15913" y="83341"/>
                  </a:lnTo>
                  <a:lnTo>
                    <a:pt x="21817" y="58186"/>
                  </a:lnTo>
                  <a:lnTo>
                    <a:pt x="17836" y="28773"/>
                  </a:lnTo>
                  <a:lnTo>
                    <a:pt x="22935" y="12788"/>
                  </a:lnTo>
                  <a:lnTo>
                    <a:pt x="50245" y="148"/>
                  </a:lnTo>
                  <a:lnTo>
                    <a:pt x="67806" y="3914"/>
                  </a:lnTo>
                  <a:lnTo>
                    <a:pt x="67072" y="19730"/>
                  </a:lnTo>
                  <a:lnTo>
                    <a:pt x="88344" y="8235"/>
                  </a:lnTo>
                  <a:lnTo>
                    <a:pt x="90134" y="14246"/>
                  </a:lnTo>
                  <a:lnTo>
                    <a:pt x="77592" y="29498"/>
                  </a:lnTo>
                  <a:lnTo>
                    <a:pt x="77422" y="43802"/>
                  </a:lnTo>
                  <a:lnTo>
                    <a:pt x="86108" y="51459"/>
                  </a:lnTo>
                  <a:lnTo>
                    <a:pt x="82807" y="77929"/>
                  </a:lnTo>
                  <a:lnTo>
                    <a:pt x="66294" y="93172"/>
                  </a:lnTo>
                  <a:lnTo>
                    <a:pt x="71062" y="109596"/>
                  </a:lnTo>
                  <a:lnTo>
                    <a:pt x="84033" y="110106"/>
                  </a:lnTo>
                  <a:lnTo>
                    <a:pt x="90339" y="124347"/>
                  </a:lnTo>
                  <a:lnTo>
                    <a:pt x="99884" y="129008"/>
                  </a:lnTo>
                  <a:lnTo>
                    <a:pt x="98462" y="151810"/>
                  </a:lnTo>
                  <a:lnTo>
                    <a:pt x="86233" y="160281"/>
                  </a:lnTo>
                  <a:lnTo>
                    <a:pt x="78513" y="169701"/>
                  </a:lnTo>
                  <a:lnTo>
                    <a:pt x="61293" y="180990"/>
                  </a:lnTo>
                  <a:lnTo>
                    <a:pt x="63959" y="193076"/>
                  </a:lnTo>
                  <a:lnTo>
                    <a:pt x="61794" y="20534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/>
            <p:cNvSpPr/>
            <p:nvPr/>
          </p:nvSpPr>
          <p:spPr>
            <a:xfrm>
              <a:off x="6490906" y="3499946"/>
              <a:ext cx="470291" cy="203340"/>
            </a:xfrm>
            <a:custGeom>
              <a:avLst/>
              <a:gdLst>
                <a:gd name="connsiteX0" fmla="*/ 273117 w 470291"/>
                <a:gd name="connsiteY0" fmla="*/ 27138 h 203340"/>
                <a:gd name="connsiteX1" fmla="*/ 309095 w 470291"/>
                <a:gd name="connsiteY1" fmla="*/ 39975 h 203340"/>
                <a:gd name="connsiteX2" fmla="*/ 338311 w 470291"/>
                <a:gd name="connsiteY2" fmla="*/ 34867 h 203340"/>
                <a:gd name="connsiteX3" fmla="*/ 359905 w 470291"/>
                <a:gd name="connsiteY3" fmla="*/ 37819 h 203340"/>
                <a:gd name="connsiteX4" fmla="*/ 389524 w 470291"/>
                <a:gd name="connsiteY4" fmla="*/ 20465 h 203340"/>
                <a:gd name="connsiteX5" fmla="*/ 416245 w 470291"/>
                <a:gd name="connsiteY5" fmla="*/ 18882 h 203340"/>
                <a:gd name="connsiteX6" fmla="*/ 440406 w 470291"/>
                <a:gd name="connsiteY6" fmla="*/ 35225 h 203340"/>
                <a:gd name="connsiteX7" fmla="*/ 444664 w 470291"/>
                <a:gd name="connsiteY7" fmla="*/ 46863 h 203340"/>
                <a:gd name="connsiteX8" fmla="*/ 442249 w 470291"/>
                <a:gd name="connsiteY8" fmla="*/ 62858 h 203340"/>
                <a:gd name="connsiteX9" fmla="*/ 460901 w 470291"/>
                <a:gd name="connsiteY9" fmla="*/ 70980 h 203340"/>
                <a:gd name="connsiteX10" fmla="*/ 470776 w 470291"/>
                <a:gd name="connsiteY10" fmla="*/ 80489 h 203340"/>
                <a:gd name="connsiteX11" fmla="*/ 453601 w 470291"/>
                <a:gd name="connsiteY11" fmla="*/ 89721 h 203340"/>
                <a:gd name="connsiteX12" fmla="*/ 461428 w 470291"/>
                <a:gd name="connsiteY12" fmla="*/ 126505 h 203340"/>
                <a:gd name="connsiteX13" fmla="*/ 456517 w 470291"/>
                <a:gd name="connsiteY13" fmla="*/ 136345 h 203340"/>
                <a:gd name="connsiteX14" fmla="*/ 470240 w 470291"/>
                <a:gd name="connsiteY14" fmla="*/ 161589 h 203340"/>
                <a:gd name="connsiteX15" fmla="*/ 458216 w 470291"/>
                <a:gd name="connsiteY15" fmla="*/ 166876 h 203340"/>
                <a:gd name="connsiteX16" fmla="*/ 449405 w 470291"/>
                <a:gd name="connsiteY16" fmla="*/ 158897 h 203340"/>
                <a:gd name="connsiteX17" fmla="*/ 420234 w 470291"/>
                <a:gd name="connsiteY17" fmla="*/ 154844 h 203340"/>
                <a:gd name="connsiteX18" fmla="*/ 409464 w 470291"/>
                <a:gd name="connsiteY18" fmla="*/ 159720 h 203340"/>
                <a:gd name="connsiteX19" fmla="*/ 380936 w 470291"/>
                <a:gd name="connsiteY19" fmla="*/ 164586 h 203340"/>
                <a:gd name="connsiteX20" fmla="*/ 367420 w 470291"/>
                <a:gd name="connsiteY20" fmla="*/ 164058 h 203340"/>
                <a:gd name="connsiteX21" fmla="*/ 338553 w 470291"/>
                <a:gd name="connsiteY21" fmla="*/ 175777 h 203340"/>
                <a:gd name="connsiteX22" fmla="*/ 317916 w 470291"/>
                <a:gd name="connsiteY22" fmla="*/ 175875 h 203340"/>
                <a:gd name="connsiteX23" fmla="*/ 304569 w 470291"/>
                <a:gd name="connsiteY23" fmla="*/ 170007 h 203340"/>
                <a:gd name="connsiteX24" fmla="*/ 276954 w 470291"/>
                <a:gd name="connsiteY24" fmla="*/ 178675 h 203340"/>
                <a:gd name="connsiteX25" fmla="*/ 268751 w 470291"/>
                <a:gd name="connsiteY25" fmla="*/ 172619 h 203340"/>
                <a:gd name="connsiteX26" fmla="*/ 267391 w 470291"/>
                <a:gd name="connsiteY26" fmla="*/ 189955 h 203340"/>
                <a:gd name="connsiteX27" fmla="*/ 260673 w 470291"/>
                <a:gd name="connsiteY27" fmla="*/ 196727 h 203340"/>
                <a:gd name="connsiteX28" fmla="*/ 253955 w 470291"/>
                <a:gd name="connsiteY28" fmla="*/ 203481 h 203340"/>
                <a:gd name="connsiteX29" fmla="*/ 244732 w 470291"/>
                <a:gd name="connsiteY29" fmla="*/ 189472 h 203340"/>
                <a:gd name="connsiteX30" fmla="*/ 254232 w 470291"/>
                <a:gd name="connsiteY30" fmla="*/ 177807 h 203340"/>
                <a:gd name="connsiteX31" fmla="*/ 238936 w 470291"/>
                <a:gd name="connsiteY31" fmla="*/ 180455 h 203340"/>
                <a:gd name="connsiteX32" fmla="*/ 217958 w 470291"/>
                <a:gd name="connsiteY32" fmla="*/ 173290 h 203340"/>
                <a:gd name="connsiteX33" fmla="*/ 200712 w 470291"/>
                <a:gd name="connsiteY33" fmla="*/ 191172 h 203340"/>
                <a:gd name="connsiteX34" fmla="*/ 162649 w 470291"/>
                <a:gd name="connsiteY34" fmla="*/ 194652 h 203340"/>
                <a:gd name="connsiteX35" fmla="*/ 142342 w 470291"/>
                <a:gd name="connsiteY35" fmla="*/ 178004 h 203340"/>
                <a:gd name="connsiteX36" fmla="*/ 115309 w 470291"/>
                <a:gd name="connsiteY36" fmla="*/ 176957 h 203340"/>
                <a:gd name="connsiteX37" fmla="*/ 109530 w 470291"/>
                <a:gd name="connsiteY37" fmla="*/ 189839 h 203340"/>
                <a:gd name="connsiteX38" fmla="*/ 92193 w 470291"/>
                <a:gd name="connsiteY38" fmla="*/ 193516 h 203340"/>
                <a:gd name="connsiteX39" fmla="*/ 67942 w 470291"/>
                <a:gd name="connsiteY39" fmla="*/ 176993 h 203340"/>
                <a:gd name="connsiteX40" fmla="*/ 40560 w 470291"/>
                <a:gd name="connsiteY40" fmla="*/ 177557 h 203340"/>
                <a:gd name="connsiteX41" fmla="*/ 25702 w 470291"/>
                <a:gd name="connsiteY41" fmla="*/ 146391 h 203340"/>
                <a:gd name="connsiteX42" fmla="*/ 7382 w 470291"/>
                <a:gd name="connsiteY42" fmla="*/ 128822 h 203340"/>
                <a:gd name="connsiteX43" fmla="*/ 19583 w 470291"/>
                <a:gd name="connsiteY43" fmla="*/ 103971 h 203340"/>
                <a:gd name="connsiteX44" fmla="*/ 3687 w 470291"/>
                <a:gd name="connsiteY44" fmla="*/ 88558 h 203340"/>
                <a:gd name="connsiteX45" fmla="*/ 31507 w 470291"/>
                <a:gd name="connsiteY45" fmla="*/ 57392 h 203340"/>
                <a:gd name="connsiteX46" fmla="*/ 70134 w 470291"/>
                <a:gd name="connsiteY46" fmla="*/ 56077 h 203340"/>
                <a:gd name="connsiteX47" fmla="*/ 80672 w 470291"/>
                <a:gd name="connsiteY47" fmla="*/ 30976 h 203340"/>
                <a:gd name="connsiteX48" fmla="*/ 128477 w 470291"/>
                <a:gd name="connsiteY48" fmla="*/ 35368 h 203340"/>
                <a:gd name="connsiteX49" fmla="*/ 158632 w 470291"/>
                <a:gd name="connsiteY49" fmla="*/ 13756 h 203340"/>
                <a:gd name="connsiteX50" fmla="*/ 187857 w 470291"/>
                <a:gd name="connsiteY50" fmla="*/ 4265 h 203340"/>
                <a:gd name="connsiteX51" fmla="*/ 229355 w 470291"/>
                <a:gd name="connsiteY51" fmla="*/ 3549 h 203340"/>
                <a:gd name="connsiteX52" fmla="*/ 273117 w 470291"/>
                <a:gd name="connsiteY52" fmla="*/ 27138 h 203340"/>
                <a:gd name="connsiteX53" fmla="*/ 29307 w 470291"/>
                <a:gd name="connsiteY53" fmla="*/ 48491 h 203340"/>
                <a:gd name="connsiteX54" fmla="*/ 8374 w 470291"/>
                <a:gd name="connsiteY54" fmla="*/ 66168 h 203340"/>
                <a:gd name="connsiteX55" fmla="*/ 485 w 470291"/>
                <a:gd name="connsiteY55" fmla="*/ 50889 h 203340"/>
                <a:gd name="connsiteX56" fmla="*/ 834 w 470291"/>
                <a:gd name="connsiteY56" fmla="*/ 44081 h 203340"/>
                <a:gd name="connsiteX57" fmla="*/ 6791 w 470291"/>
                <a:gd name="connsiteY57" fmla="*/ 40378 h 203340"/>
                <a:gd name="connsiteX58" fmla="*/ 14556 w 470291"/>
                <a:gd name="connsiteY58" fmla="*/ 19579 h 203340"/>
                <a:gd name="connsiteX59" fmla="*/ 2336 w 470291"/>
                <a:gd name="connsiteY59" fmla="*/ 10723 h 203340"/>
                <a:gd name="connsiteX60" fmla="*/ 27885 w 470291"/>
                <a:gd name="connsiteY60" fmla="*/ 141 h 203340"/>
                <a:gd name="connsiteX61" fmla="*/ 49479 w 470291"/>
                <a:gd name="connsiteY61" fmla="*/ 4658 h 203340"/>
                <a:gd name="connsiteX62" fmla="*/ 52458 w 470291"/>
                <a:gd name="connsiteY62" fmla="*/ 17549 h 203340"/>
                <a:gd name="connsiteX63" fmla="*/ 74347 w 470291"/>
                <a:gd name="connsiteY63" fmla="*/ 28319 h 203340"/>
                <a:gd name="connsiteX64" fmla="*/ 69785 w 470291"/>
                <a:gd name="connsiteY64" fmla="*/ 36451 h 203340"/>
                <a:gd name="connsiteX65" fmla="*/ 39997 w 470291"/>
                <a:gd name="connsiteY65" fmla="*/ 38275 h 203340"/>
                <a:gd name="connsiteX66" fmla="*/ 29307 w 470291"/>
                <a:gd name="connsiteY66" fmla="*/ 48491 h 20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470291" h="203340">
                  <a:moveTo>
                    <a:pt x="273117" y="27138"/>
                  </a:moveTo>
                  <a:lnTo>
                    <a:pt x="309095" y="39975"/>
                  </a:lnTo>
                  <a:lnTo>
                    <a:pt x="338311" y="34867"/>
                  </a:lnTo>
                  <a:lnTo>
                    <a:pt x="359905" y="37819"/>
                  </a:lnTo>
                  <a:lnTo>
                    <a:pt x="389524" y="20465"/>
                  </a:lnTo>
                  <a:lnTo>
                    <a:pt x="416245" y="18882"/>
                  </a:lnTo>
                  <a:lnTo>
                    <a:pt x="440406" y="35225"/>
                  </a:lnTo>
                  <a:lnTo>
                    <a:pt x="444664" y="46863"/>
                  </a:lnTo>
                  <a:lnTo>
                    <a:pt x="442249" y="62858"/>
                  </a:lnTo>
                  <a:lnTo>
                    <a:pt x="460901" y="70980"/>
                  </a:lnTo>
                  <a:lnTo>
                    <a:pt x="470776" y="80489"/>
                  </a:lnTo>
                  <a:lnTo>
                    <a:pt x="453601" y="89721"/>
                  </a:lnTo>
                  <a:lnTo>
                    <a:pt x="461428" y="126505"/>
                  </a:lnTo>
                  <a:lnTo>
                    <a:pt x="456517" y="136345"/>
                  </a:lnTo>
                  <a:lnTo>
                    <a:pt x="470240" y="161589"/>
                  </a:lnTo>
                  <a:lnTo>
                    <a:pt x="458216" y="166876"/>
                  </a:lnTo>
                  <a:lnTo>
                    <a:pt x="449405" y="158897"/>
                  </a:lnTo>
                  <a:lnTo>
                    <a:pt x="420234" y="154844"/>
                  </a:lnTo>
                  <a:lnTo>
                    <a:pt x="409464" y="159720"/>
                  </a:lnTo>
                  <a:lnTo>
                    <a:pt x="380936" y="164586"/>
                  </a:lnTo>
                  <a:lnTo>
                    <a:pt x="367420" y="164058"/>
                  </a:lnTo>
                  <a:lnTo>
                    <a:pt x="338553" y="175777"/>
                  </a:lnTo>
                  <a:lnTo>
                    <a:pt x="317916" y="175875"/>
                  </a:lnTo>
                  <a:lnTo>
                    <a:pt x="304569" y="170007"/>
                  </a:lnTo>
                  <a:lnTo>
                    <a:pt x="276954" y="178675"/>
                  </a:lnTo>
                  <a:lnTo>
                    <a:pt x="268751" y="172619"/>
                  </a:lnTo>
                  <a:lnTo>
                    <a:pt x="267391" y="189955"/>
                  </a:lnTo>
                  <a:lnTo>
                    <a:pt x="260673" y="196727"/>
                  </a:lnTo>
                  <a:lnTo>
                    <a:pt x="253955" y="203481"/>
                  </a:lnTo>
                  <a:lnTo>
                    <a:pt x="244732" y="189472"/>
                  </a:lnTo>
                  <a:lnTo>
                    <a:pt x="254232" y="177807"/>
                  </a:lnTo>
                  <a:lnTo>
                    <a:pt x="238936" y="180455"/>
                  </a:lnTo>
                  <a:lnTo>
                    <a:pt x="217958" y="173290"/>
                  </a:lnTo>
                  <a:lnTo>
                    <a:pt x="200712" y="191172"/>
                  </a:lnTo>
                  <a:lnTo>
                    <a:pt x="162649" y="194652"/>
                  </a:lnTo>
                  <a:lnTo>
                    <a:pt x="142342" y="178004"/>
                  </a:lnTo>
                  <a:lnTo>
                    <a:pt x="115309" y="176957"/>
                  </a:lnTo>
                  <a:lnTo>
                    <a:pt x="109530" y="189839"/>
                  </a:lnTo>
                  <a:lnTo>
                    <a:pt x="92193" y="193516"/>
                  </a:lnTo>
                  <a:lnTo>
                    <a:pt x="67942" y="176993"/>
                  </a:lnTo>
                  <a:lnTo>
                    <a:pt x="40560" y="177557"/>
                  </a:lnTo>
                  <a:lnTo>
                    <a:pt x="25702" y="146391"/>
                  </a:lnTo>
                  <a:lnTo>
                    <a:pt x="7382" y="128822"/>
                  </a:lnTo>
                  <a:lnTo>
                    <a:pt x="19583" y="103971"/>
                  </a:lnTo>
                  <a:lnTo>
                    <a:pt x="3687" y="88558"/>
                  </a:lnTo>
                  <a:lnTo>
                    <a:pt x="31507" y="57392"/>
                  </a:lnTo>
                  <a:lnTo>
                    <a:pt x="70134" y="56077"/>
                  </a:lnTo>
                  <a:lnTo>
                    <a:pt x="80672" y="30976"/>
                  </a:lnTo>
                  <a:lnTo>
                    <a:pt x="128477" y="35368"/>
                  </a:lnTo>
                  <a:lnTo>
                    <a:pt x="158632" y="13756"/>
                  </a:lnTo>
                  <a:lnTo>
                    <a:pt x="187857" y="4265"/>
                  </a:lnTo>
                  <a:lnTo>
                    <a:pt x="229355" y="3549"/>
                  </a:lnTo>
                  <a:lnTo>
                    <a:pt x="273117" y="27138"/>
                  </a:lnTo>
                  <a:close/>
                  <a:moveTo>
                    <a:pt x="29307" y="48491"/>
                  </a:moveTo>
                  <a:lnTo>
                    <a:pt x="8374" y="66168"/>
                  </a:lnTo>
                  <a:lnTo>
                    <a:pt x="485" y="50889"/>
                  </a:lnTo>
                  <a:lnTo>
                    <a:pt x="834" y="44081"/>
                  </a:lnTo>
                  <a:lnTo>
                    <a:pt x="6791" y="40378"/>
                  </a:lnTo>
                  <a:lnTo>
                    <a:pt x="14556" y="19579"/>
                  </a:lnTo>
                  <a:lnTo>
                    <a:pt x="2336" y="10723"/>
                  </a:lnTo>
                  <a:lnTo>
                    <a:pt x="27885" y="141"/>
                  </a:lnTo>
                  <a:lnTo>
                    <a:pt x="49479" y="4658"/>
                  </a:lnTo>
                  <a:lnTo>
                    <a:pt x="52458" y="17549"/>
                  </a:lnTo>
                  <a:lnTo>
                    <a:pt x="74347" y="28319"/>
                  </a:lnTo>
                  <a:lnTo>
                    <a:pt x="69785" y="36451"/>
                  </a:lnTo>
                  <a:lnTo>
                    <a:pt x="39997" y="38275"/>
                  </a:lnTo>
                  <a:lnTo>
                    <a:pt x="29307" y="4849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/>
            <p:cNvSpPr/>
            <p:nvPr/>
          </p:nvSpPr>
          <p:spPr>
            <a:xfrm>
              <a:off x="4283863" y="4388127"/>
              <a:ext cx="26460" cy="22551"/>
            </a:xfrm>
            <a:custGeom>
              <a:avLst/>
              <a:gdLst>
                <a:gd name="connsiteX0" fmla="*/ 7155 w 26460"/>
                <a:gd name="connsiteY0" fmla="*/ 3478 h 22551"/>
                <a:gd name="connsiteX1" fmla="*/ 21566 w 26460"/>
                <a:gd name="connsiteY1" fmla="*/ 177 h 22551"/>
                <a:gd name="connsiteX2" fmla="*/ 26835 w 26460"/>
                <a:gd name="connsiteY2" fmla="*/ 1063 h 22551"/>
                <a:gd name="connsiteX3" fmla="*/ 25833 w 26460"/>
                <a:gd name="connsiteY3" fmla="*/ 19947 h 22551"/>
                <a:gd name="connsiteX4" fmla="*/ 4891 w 26460"/>
                <a:gd name="connsiteY4" fmla="*/ 22729 h 22551"/>
                <a:gd name="connsiteX5" fmla="*/ 374 w 26460"/>
                <a:gd name="connsiteY5" fmla="*/ 20448 h 22551"/>
                <a:gd name="connsiteX6" fmla="*/ 7647 w 26460"/>
                <a:gd name="connsiteY6" fmla="*/ 13488 h 2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60" h="22551">
                  <a:moveTo>
                    <a:pt x="7155" y="3478"/>
                  </a:moveTo>
                  <a:lnTo>
                    <a:pt x="21566" y="177"/>
                  </a:lnTo>
                  <a:lnTo>
                    <a:pt x="26835" y="1063"/>
                  </a:lnTo>
                  <a:lnTo>
                    <a:pt x="25833" y="19947"/>
                  </a:lnTo>
                  <a:lnTo>
                    <a:pt x="4891" y="22729"/>
                  </a:lnTo>
                  <a:lnTo>
                    <a:pt x="374" y="20448"/>
                  </a:lnTo>
                  <a:lnTo>
                    <a:pt x="7647" y="13488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/>
            <p:cNvSpPr/>
            <p:nvPr/>
          </p:nvSpPr>
          <p:spPr>
            <a:xfrm>
              <a:off x="8850174" y="4009088"/>
              <a:ext cx="46284" cy="90537"/>
            </a:xfrm>
            <a:custGeom>
              <a:avLst/>
              <a:gdLst>
                <a:gd name="connsiteX0" fmla="*/ 42510 w 46284"/>
                <a:gd name="connsiteY0" fmla="*/ 24931 h 90537"/>
                <a:gd name="connsiteX1" fmla="*/ 27411 w 46284"/>
                <a:gd name="connsiteY1" fmla="*/ 68576 h 90537"/>
                <a:gd name="connsiteX2" fmla="*/ 16658 w 46284"/>
                <a:gd name="connsiteY2" fmla="*/ 90699 h 90537"/>
                <a:gd name="connsiteX3" fmla="*/ 3436 w 46284"/>
                <a:gd name="connsiteY3" fmla="*/ 67923 h 90537"/>
                <a:gd name="connsiteX4" fmla="*/ 583 w 46284"/>
                <a:gd name="connsiteY4" fmla="*/ 47805 h 90537"/>
                <a:gd name="connsiteX5" fmla="*/ 15343 w 46284"/>
                <a:gd name="connsiteY5" fmla="*/ 20987 h 90537"/>
                <a:gd name="connsiteX6" fmla="*/ 35416 w 46284"/>
                <a:gd name="connsiteY6" fmla="*/ 161 h 90537"/>
                <a:gd name="connsiteX7" fmla="*/ 46867 w 46284"/>
                <a:gd name="connsiteY7" fmla="*/ 8373 h 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4" h="90537">
                  <a:moveTo>
                    <a:pt x="42510" y="24931"/>
                  </a:moveTo>
                  <a:lnTo>
                    <a:pt x="27411" y="68576"/>
                  </a:lnTo>
                  <a:lnTo>
                    <a:pt x="16658" y="90699"/>
                  </a:lnTo>
                  <a:lnTo>
                    <a:pt x="3436" y="67923"/>
                  </a:lnTo>
                  <a:lnTo>
                    <a:pt x="583" y="47805"/>
                  </a:lnTo>
                  <a:lnTo>
                    <a:pt x="15343" y="20987"/>
                  </a:lnTo>
                  <a:lnTo>
                    <a:pt x="35416" y="161"/>
                  </a:lnTo>
                  <a:lnTo>
                    <a:pt x="46867" y="837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/>
            <p:cNvSpPr/>
            <p:nvPr/>
          </p:nvSpPr>
          <p:spPr>
            <a:xfrm>
              <a:off x="6573589" y="4684778"/>
              <a:ext cx="275315" cy="270431"/>
            </a:xfrm>
            <a:custGeom>
              <a:avLst/>
              <a:gdLst>
                <a:gd name="connsiteX0" fmla="*/ 114951 w 275315"/>
                <a:gd name="connsiteY0" fmla="*/ 196 h 270431"/>
                <a:gd name="connsiteX1" fmla="*/ 119191 w 275315"/>
                <a:gd name="connsiteY1" fmla="*/ 2934 h 270431"/>
                <a:gd name="connsiteX2" fmla="*/ 210140 w 275315"/>
                <a:gd name="connsiteY2" fmla="*/ 53726 h 270431"/>
                <a:gd name="connsiteX3" fmla="*/ 211848 w 275315"/>
                <a:gd name="connsiteY3" fmla="*/ 68200 h 270431"/>
                <a:gd name="connsiteX4" fmla="*/ 247845 w 275315"/>
                <a:gd name="connsiteY4" fmla="*/ 93176 h 270431"/>
                <a:gd name="connsiteX5" fmla="*/ 236269 w 275315"/>
                <a:gd name="connsiteY5" fmla="*/ 124011 h 270431"/>
                <a:gd name="connsiteX6" fmla="*/ 237754 w 275315"/>
                <a:gd name="connsiteY6" fmla="*/ 138208 h 270431"/>
                <a:gd name="connsiteX7" fmla="*/ 253811 w 275315"/>
                <a:gd name="connsiteY7" fmla="*/ 147350 h 270431"/>
                <a:gd name="connsiteX8" fmla="*/ 254563 w 275315"/>
                <a:gd name="connsiteY8" fmla="*/ 153880 h 270431"/>
                <a:gd name="connsiteX9" fmla="*/ 247657 w 275315"/>
                <a:gd name="connsiteY9" fmla="*/ 169052 h 270431"/>
                <a:gd name="connsiteX10" fmla="*/ 249097 w 275315"/>
                <a:gd name="connsiteY10" fmla="*/ 176700 h 270431"/>
                <a:gd name="connsiteX11" fmla="*/ 247451 w 275315"/>
                <a:gd name="connsiteY11" fmla="*/ 188723 h 270431"/>
                <a:gd name="connsiteX12" fmla="*/ 256209 w 275315"/>
                <a:gd name="connsiteY12" fmla="*/ 204529 h 270431"/>
                <a:gd name="connsiteX13" fmla="*/ 266595 w 275315"/>
                <a:gd name="connsiteY13" fmla="*/ 229452 h 270431"/>
                <a:gd name="connsiteX14" fmla="*/ 275799 w 275315"/>
                <a:gd name="connsiteY14" fmla="*/ 234989 h 270431"/>
                <a:gd name="connsiteX15" fmla="*/ 255842 w 275315"/>
                <a:gd name="connsiteY15" fmla="*/ 249686 h 270431"/>
                <a:gd name="connsiteX16" fmla="*/ 228415 w 275315"/>
                <a:gd name="connsiteY16" fmla="*/ 259544 h 270431"/>
                <a:gd name="connsiteX17" fmla="*/ 213369 w 275315"/>
                <a:gd name="connsiteY17" fmla="*/ 259133 h 270431"/>
                <a:gd name="connsiteX18" fmla="*/ 204433 w 275315"/>
                <a:gd name="connsiteY18" fmla="*/ 266754 h 270431"/>
                <a:gd name="connsiteX19" fmla="*/ 186971 w 275315"/>
                <a:gd name="connsiteY19" fmla="*/ 267407 h 270431"/>
                <a:gd name="connsiteX20" fmla="*/ 180423 w 275315"/>
                <a:gd name="connsiteY20" fmla="*/ 270628 h 270431"/>
                <a:gd name="connsiteX21" fmla="*/ 150285 w 275315"/>
                <a:gd name="connsiteY21" fmla="*/ 263462 h 270431"/>
                <a:gd name="connsiteX22" fmla="*/ 131410 w 275315"/>
                <a:gd name="connsiteY22" fmla="*/ 265511 h 270431"/>
                <a:gd name="connsiteX23" fmla="*/ 124388 w 275315"/>
                <a:gd name="connsiteY23" fmla="*/ 231008 h 270431"/>
                <a:gd name="connsiteX24" fmla="*/ 115881 w 275315"/>
                <a:gd name="connsiteY24" fmla="*/ 219209 h 270431"/>
                <a:gd name="connsiteX25" fmla="*/ 110836 w 275315"/>
                <a:gd name="connsiteY25" fmla="*/ 212223 h 270431"/>
                <a:gd name="connsiteX26" fmla="*/ 86244 w 275315"/>
                <a:gd name="connsiteY26" fmla="*/ 207517 h 270431"/>
                <a:gd name="connsiteX27" fmla="*/ 72012 w 275315"/>
                <a:gd name="connsiteY27" fmla="*/ 199932 h 270431"/>
                <a:gd name="connsiteX28" fmla="*/ 56071 w 275315"/>
                <a:gd name="connsiteY28" fmla="*/ 195691 h 270431"/>
                <a:gd name="connsiteX29" fmla="*/ 46079 w 275315"/>
                <a:gd name="connsiteY29" fmla="*/ 191469 h 270431"/>
                <a:gd name="connsiteX30" fmla="*/ 35595 w 275315"/>
                <a:gd name="connsiteY30" fmla="*/ 185055 h 270431"/>
                <a:gd name="connsiteX31" fmla="*/ 22052 w 275315"/>
                <a:gd name="connsiteY31" fmla="*/ 153379 h 270431"/>
                <a:gd name="connsiteX32" fmla="*/ 7506 w 275315"/>
                <a:gd name="connsiteY32" fmla="*/ 139326 h 270431"/>
                <a:gd name="connsiteX33" fmla="*/ 2488 w 275315"/>
                <a:gd name="connsiteY33" fmla="*/ 124780 h 270431"/>
                <a:gd name="connsiteX34" fmla="*/ 4992 w 275315"/>
                <a:gd name="connsiteY34" fmla="*/ 111765 h 270431"/>
                <a:gd name="connsiteX35" fmla="*/ 484 w 275315"/>
                <a:gd name="connsiteY35" fmla="*/ 88757 h 270431"/>
                <a:gd name="connsiteX36" fmla="*/ 10852 w 275315"/>
                <a:gd name="connsiteY36" fmla="*/ 87567 h 270431"/>
                <a:gd name="connsiteX37" fmla="*/ 19958 w 275315"/>
                <a:gd name="connsiteY37" fmla="*/ 78514 h 270431"/>
                <a:gd name="connsiteX38" fmla="*/ 29718 w 275315"/>
                <a:gd name="connsiteY38" fmla="*/ 65498 h 270431"/>
                <a:gd name="connsiteX39" fmla="*/ 35908 w 275315"/>
                <a:gd name="connsiteY39" fmla="*/ 60274 h 270431"/>
                <a:gd name="connsiteX40" fmla="*/ 35676 w 275315"/>
                <a:gd name="connsiteY40" fmla="*/ 52161 h 270431"/>
                <a:gd name="connsiteX41" fmla="*/ 30273 w 275315"/>
                <a:gd name="connsiteY41" fmla="*/ 46507 h 270431"/>
                <a:gd name="connsiteX42" fmla="*/ 28823 w 275315"/>
                <a:gd name="connsiteY42" fmla="*/ 36685 h 270431"/>
                <a:gd name="connsiteX43" fmla="*/ 36060 w 275315"/>
                <a:gd name="connsiteY43" fmla="*/ 33527 h 270431"/>
                <a:gd name="connsiteX44" fmla="*/ 37509 w 275315"/>
                <a:gd name="connsiteY44" fmla="*/ 18866 h 270431"/>
                <a:gd name="connsiteX45" fmla="*/ 27544 w 275315"/>
                <a:gd name="connsiteY45" fmla="*/ 4794 h 270431"/>
                <a:gd name="connsiteX46" fmla="*/ 36346 w 275315"/>
                <a:gd name="connsiteY46" fmla="*/ 1807 h 270431"/>
                <a:gd name="connsiteX47" fmla="*/ 63845 w 275315"/>
                <a:gd name="connsiteY47" fmla="*/ 2129 h 2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75315" h="270431">
                  <a:moveTo>
                    <a:pt x="114951" y="196"/>
                  </a:moveTo>
                  <a:lnTo>
                    <a:pt x="119191" y="2934"/>
                  </a:lnTo>
                  <a:lnTo>
                    <a:pt x="210140" y="53726"/>
                  </a:lnTo>
                  <a:lnTo>
                    <a:pt x="211848" y="68200"/>
                  </a:lnTo>
                  <a:lnTo>
                    <a:pt x="247845" y="93176"/>
                  </a:lnTo>
                  <a:lnTo>
                    <a:pt x="236269" y="124011"/>
                  </a:lnTo>
                  <a:lnTo>
                    <a:pt x="237754" y="138208"/>
                  </a:lnTo>
                  <a:lnTo>
                    <a:pt x="253811" y="147350"/>
                  </a:lnTo>
                  <a:lnTo>
                    <a:pt x="254563" y="153880"/>
                  </a:lnTo>
                  <a:lnTo>
                    <a:pt x="247657" y="169052"/>
                  </a:lnTo>
                  <a:lnTo>
                    <a:pt x="249097" y="176700"/>
                  </a:lnTo>
                  <a:lnTo>
                    <a:pt x="247451" y="188723"/>
                  </a:lnTo>
                  <a:lnTo>
                    <a:pt x="256209" y="204529"/>
                  </a:lnTo>
                  <a:lnTo>
                    <a:pt x="266595" y="229452"/>
                  </a:lnTo>
                  <a:lnTo>
                    <a:pt x="275799" y="234989"/>
                  </a:lnTo>
                  <a:lnTo>
                    <a:pt x="255842" y="249686"/>
                  </a:lnTo>
                  <a:lnTo>
                    <a:pt x="228415" y="259544"/>
                  </a:lnTo>
                  <a:lnTo>
                    <a:pt x="213369" y="259133"/>
                  </a:lnTo>
                  <a:lnTo>
                    <a:pt x="204433" y="266754"/>
                  </a:lnTo>
                  <a:lnTo>
                    <a:pt x="186971" y="267407"/>
                  </a:lnTo>
                  <a:lnTo>
                    <a:pt x="180423" y="270628"/>
                  </a:lnTo>
                  <a:lnTo>
                    <a:pt x="150285" y="263462"/>
                  </a:lnTo>
                  <a:lnTo>
                    <a:pt x="131410" y="265511"/>
                  </a:lnTo>
                  <a:lnTo>
                    <a:pt x="124388" y="231008"/>
                  </a:lnTo>
                  <a:lnTo>
                    <a:pt x="115881" y="219209"/>
                  </a:lnTo>
                  <a:lnTo>
                    <a:pt x="110836" y="212223"/>
                  </a:lnTo>
                  <a:lnTo>
                    <a:pt x="86244" y="207517"/>
                  </a:lnTo>
                  <a:lnTo>
                    <a:pt x="72012" y="199932"/>
                  </a:lnTo>
                  <a:lnTo>
                    <a:pt x="56071" y="195691"/>
                  </a:lnTo>
                  <a:lnTo>
                    <a:pt x="46079" y="191469"/>
                  </a:lnTo>
                  <a:lnTo>
                    <a:pt x="35595" y="185055"/>
                  </a:lnTo>
                  <a:lnTo>
                    <a:pt x="22052" y="153379"/>
                  </a:lnTo>
                  <a:lnTo>
                    <a:pt x="7506" y="139326"/>
                  </a:lnTo>
                  <a:lnTo>
                    <a:pt x="2488" y="124780"/>
                  </a:lnTo>
                  <a:lnTo>
                    <a:pt x="4992" y="111765"/>
                  </a:lnTo>
                  <a:lnTo>
                    <a:pt x="484" y="88757"/>
                  </a:lnTo>
                  <a:lnTo>
                    <a:pt x="10852" y="87567"/>
                  </a:lnTo>
                  <a:lnTo>
                    <a:pt x="19958" y="78514"/>
                  </a:lnTo>
                  <a:lnTo>
                    <a:pt x="29718" y="65498"/>
                  </a:lnTo>
                  <a:lnTo>
                    <a:pt x="35908" y="60274"/>
                  </a:lnTo>
                  <a:lnTo>
                    <a:pt x="35676" y="52161"/>
                  </a:lnTo>
                  <a:lnTo>
                    <a:pt x="30273" y="46507"/>
                  </a:lnTo>
                  <a:lnTo>
                    <a:pt x="28823" y="36685"/>
                  </a:lnTo>
                  <a:lnTo>
                    <a:pt x="36060" y="33527"/>
                  </a:lnTo>
                  <a:lnTo>
                    <a:pt x="37509" y="18866"/>
                  </a:lnTo>
                  <a:lnTo>
                    <a:pt x="27544" y="4794"/>
                  </a:lnTo>
                  <a:lnTo>
                    <a:pt x="36346" y="1807"/>
                  </a:lnTo>
                  <a:lnTo>
                    <a:pt x="63845" y="212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/>
            <p:cNvSpPr/>
            <p:nvPr/>
          </p:nvSpPr>
          <p:spPr>
            <a:xfrm>
              <a:off x="6391637" y="3122867"/>
              <a:ext cx="451354" cy="300890"/>
            </a:xfrm>
            <a:custGeom>
              <a:avLst/>
              <a:gdLst>
                <a:gd name="connsiteX0" fmla="*/ 243779 w 451354"/>
                <a:gd name="connsiteY0" fmla="*/ 9661 h 300890"/>
                <a:gd name="connsiteX1" fmla="*/ 253145 w 451354"/>
                <a:gd name="connsiteY1" fmla="*/ 11308 h 300890"/>
                <a:gd name="connsiteX2" fmla="*/ 259488 w 451354"/>
                <a:gd name="connsiteY2" fmla="*/ 2031 h 300890"/>
                <a:gd name="connsiteX3" fmla="*/ 267100 w 451354"/>
                <a:gd name="connsiteY3" fmla="*/ 4080 h 300890"/>
                <a:gd name="connsiteX4" fmla="*/ 293114 w 451354"/>
                <a:gd name="connsiteY4" fmla="*/ 126 h 300890"/>
                <a:gd name="connsiteX5" fmla="*/ 309135 w 451354"/>
                <a:gd name="connsiteY5" fmla="*/ 23160 h 300890"/>
                <a:gd name="connsiteX6" fmla="*/ 302873 w 451354"/>
                <a:gd name="connsiteY6" fmla="*/ 31327 h 300890"/>
                <a:gd name="connsiteX7" fmla="*/ 304949 w 451354"/>
                <a:gd name="connsiteY7" fmla="*/ 43780 h 300890"/>
                <a:gd name="connsiteX8" fmla="*/ 324951 w 451354"/>
                <a:gd name="connsiteY8" fmla="*/ 45712 h 300890"/>
                <a:gd name="connsiteX9" fmla="*/ 333870 w 451354"/>
                <a:gd name="connsiteY9" fmla="*/ 62950 h 300890"/>
                <a:gd name="connsiteX10" fmla="*/ 333324 w 451354"/>
                <a:gd name="connsiteY10" fmla="*/ 70715 h 300890"/>
                <a:gd name="connsiteX11" fmla="*/ 365179 w 451354"/>
                <a:gd name="connsiteY11" fmla="*/ 84508 h 300890"/>
                <a:gd name="connsiteX12" fmla="*/ 384430 w 451354"/>
                <a:gd name="connsiteY12" fmla="*/ 78309 h 300890"/>
                <a:gd name="connsiteX13" fmla="*/ 399905 w 451354"/>
                <a:gd name="connsiteY13" fmla="*/ 96585 h 300890"/>
                <a:gd name="connsiteX14" fmla="*/ 414567 w 451354"/>
                <a:gd name="connsiteY14" fmla="*/ 96174 h 300890"/>
                <a:gd name="connsiteX15" fmla="*/ 451539 w 451354"/>
                <a:gd name="connsiteY15" fmla="*/ 108769 h 300890"/>
                <a:gd name="connsiteX16" fmla="*/ 451834 w 451354"/>
                <a:gd name="connsiteY16" fmla="*/ 120067 h 300890"/>
                <a:gd name="connsiteX17" fmla="*/ 441645 w 451354"/>
                <a:gd name="connsiteY17" fmla="*/ 140042 h 300890"/>
                <a:gd name="connsiteX18" fmla="*/ 447182 w 451354"/>
                <a:gd name="connsiteY18" fmla="*/ 160858 h 300890"/>
                <a:gd name="connsiteX19" fmla="*/ 443237 w 451354"/>
                <a:gd name="connsiteY19" fmla="*/ 173337 h 300890"/>
                <a:gd name="connsiteX20" fmla="*/ 418968 w 451354"/>
                <a:gd name="connsiteY20" fmla="*/ 176075 h 300890"/>
                <a:gd name="connsiteX21" fmla="*/ 406042 w 451354"/>
                <a:gd name="connsiteY21" fmla="*/ 186443 h 300890"/>
                <a:gd name="connsiteX22" fmla="*/ 405246 w 451354"/>
                <a:gd name="connsiteY22" fmla="*/ 202831 h 300890"/>
                <a:gd name="connsiteX23" fmla="*/ 385226 w 451354"/>
                <a:gd name="connsiteY23" fmla="*/ 205765 h 300890"/>
                <a:gd name="connsiteX24" fmla="*/ 368534 w 451354"/>
                <a:gd name="connsiteY24" fmla="*/ 217591 h 300890"/>
                <a:gd name="connsiteX25" fmla="*/ 345052 w 451354"/>
                <a:gd name="connsiteY25" fmla="*/ 219514 h 300890"/>
                <a:gd name="connsiteX26" fmla="*/ 323448 w 451354"/>
                <a:gd name="connsiteY26" fmla="*/ 233049 h 300890"/>
                <a:gd name="connsiteX27" fmla="*/ 311604 w 451354"/>
                <a:gd name="connsiteY27" fmla="*/ 242262 h 300890"/>
                <a:gd name="connsiteX28" fmla="*/ 324915 w 451354"/>
                <a:gd name="connsiteY28" fmla="*/ 255412 h 300890"/>
                <a:gd name="connsiteX29" fmla="*/ 337188 w 451354"/>
                <a:gd name="connsiteY29" fmla="*/ 264027 h 300890"/>
                <a:gd name="connsiteX30" fmla="*/ 362772 w 451354"/>
                <a:gd name="connsiteY30" fmla="*/ 261880 h 300890"/>
                <a:gd name="connsiteX31" fmla="*/ 357871 w 451354"/>
                <a:gd name="connsiteY31" fmla="*/ 274565 h 300890"/>
                <a:gd name="connsiteX32" fmla="*/ 330417 w 451354"/>
                <a:gd name="connsiteY32" fmla="*/ 280692 h 300890"/>
                <a:gd name="connsiteX33" fmla="*/ 296361 w 451354"/>
                <a:gd name="connsiteY33" fmla="*/ 301016 h 300890"/>
                <a:gd name="connsiteX34" fmla="*/ 282415 w 451354"/>
                <a:gd name="connsiteY34" fmla="*/ 293896 h 300890"/>
                <a:gd name="connsiteX35" fmla="*/ 287943 w 451354"/>
                <a:gd name="connsiteY35" fmla="*/ 277338 h 300890"/>
                <a:gd name="connsiteX36" fmla="*/ 260543 w 451354"/>
                <a:gd name="connsiteY36" fmla="*/ 266961 h 300890"/>
                <a:gd name="connsiteX37" fmla="*/ 264971 w 451354"/>
                <a:gd name="connsiteY37" fmla="*/ 260135 h 300890"/>
                <a:gd name="connsiteX38" fmla="*/ 293266 w 451354"/>
                <a:gd name="connsiteY38" fmla="*/ 245501 h 300890"/>
                <a:gd name="connsiteX39" fmla="*/ 289751 w 451354"/>
                <a:gd name="connsiteY39" fmla="*/ 238201 h 300890"/>
                <a:gd name="connsiteX40" fmla="*/ 285707 w 451354"/>
                <a:gd name="connsiteY40" fmla="*/ 241878 h 300890"/>
                <a:gd name="connsiteX41" fmla="*/ 281717 w 451354"/>
                <a:gd name="connsiteY41" fmla="*/ 239999 h 300890"/>
                <a:gd name="connsiteX42" fmla="*/ 242733 w 451354"/>
                <a:gd name="connsiteY42" fmla="*/ 230866 h 300890"/>
                <a:gd name="connsiteX43" fmla="*/ 241006 w 451354"/>
                <a:gd name="connsiteY43" fmla="*/ 217322 h 300890"/>
                <a:gd name="connsiteX44" fmla="*/ 217766 w 451354"/>
                <a:gd name="connsiteY44" fmla="*/ 221804 h 300890"/>
                <a:gd name="connsiteX45" fmla="*/ 208454 w 451354"/>
                <a:gd name="connsiteY45" fmla="*/ 241735 h 300890"/>
                <a:gd name="connsiteX46" fmla="*/ 189033 w 451354"/>
                <a:gd name="connsiteY46" fmla="*/ 268178 h 300890"/>
                <a:gd name="connsiteX47" fmla="*/ 177655 w 451354"/>
                <a:gd name="connsiteY47" fmla="*/ 262068 h 300890"/>
                <a:gd name="connsiteX48" fmla="*/ 165873 w 451354"/>
                <a:gd name="connsiteY48" fmla="*/ 267793 h 300890"/>
                <a:gd name="connsiteX49" fmla="*/ 154683 w 451354"/>
                <a:gd name="connsiteY49" fmla="*/ 261236 h 300890"/>
                <a:gd name="connsiteX50" fmla="*/ 160998 w 451354"/>
                <a:gd name="connsiteY50" fmla="*/ 257362 h 300890"/>
                <a:gd name="connsiteX51" fmla="*/ 165372 w 451354"/>
                <a:gd name="connsiteY51" fmla="*/ 245062 h 300890"/>
                <a:gd name="connsiteX52" fmla="*/ 172243 w 451354"/>
                <a:gd name="connsiteY52" fmla="*/ 233559 h 300890"/>
                <a:gd name="connsiteX53" fmla="*/ 170471 w 451354"/>
                <a:gd name="connsiteY53" fmla="*/ 227082 h 300890"/>
                <a:gd name="connsiteX54" fmla="*/ 175714 w 451354"/>
                <a:gd name="connsiteY54" fmla="*/ 224184 h 300890"/>
                <a:gd name="connsiteX55" fmla="*/ 178182 w 451354"/>
                <a:gd name="connsiteY55" fmla="*/ 229202 h 300890"/>
                <a:gd name="connsiteX56" fmla="*/ 192960 w 451354"/>
                <a:gd name="connsiteY56" fmla="*/ 230267 h 300890"/>
                <a:gd name="connsiteX57" fmla="*/ 199607 w 451354"/>
                <a:gd name="connsiteY57" fmla="*/ 227583 h 300890"/>
                <a:gd name="connsiteX58" fmla="*/ 194928 w 451354"/>
                <a:gd name="connsiteY58" fmla="*/ 223906 h 300890"/>
                <a:gd name="connsiteX59" fmla="*/ 196699 w 451354"/>
                <a:gd name="connsiteY59" fmla="*/ 218476 h 300890"/>
                <a:gd name="connsiteX60" fmla="*/ 187942 w 451354"/>
                <a:gd name="connsiteY60" fmla="*/ 209191 h 300890"/>
                <a:gd name="connsiteX61" fmla="*/ 184319 w 451354"/>
                <a:gd name="connsiteY61" fmla="*/ 193832 h 300890"/>
                <a:gd name="connsiteX62" fmla="*/ 175186 w 451354"/>
                <a:gd name="connsiteY62" fmla="*/ 187784 h 300890"/>
                <a:gd name="connsiteX63" fmla="*/ 176984 w 451354"/>
                <a:gd name="connsiteY63" fmla="*/ 175198 h 300890"/>
                <a:gd name="connsiteX64" fmla="*/ 165650 w 451354"/>
                <a:gd name="connsiteY64" fmla="*/ 165143 h 300890"/>
                <a:gd name="connsiteX65" fmla="*/ 155336 w 451354"/>
                <a:gd name="connsiteY65" fmla="*/ 163739 h 300890"/>
                <a:gd name="connsiteX66" fmla="*/ 136845 w 451354"/>
                <a:gd name="connsiteY66" fmla="*/ 152029 h 300890"/>
                <a:gd name="connsiteX67" fmla="*/ 120180 w 451354"/>
                <a:gd name="connsiteY67" fmla="*/ 155759 h 300890"/>
                <a:gd name="connsiteX68" fmla="*/ 114195 w 451354"/>
                <a:gd name="connsiteY68" fmla="*/ 161297 h 300890"/>
                <a:gd name="connsiteX69" fmla="*/ 103612 w 451354"/>
                <a:gd name="connsiteY69" fmla="*/ 161288 h 300890"/>
                <a:gd name="connsiteX70" fmla="*/ 97297 w 451354"/>
                <a:gd name="connsiteY70" fmla="*/ 170045 h 300890"/>
                <a:gd name="connsiteX71" fmla="*/ 78789 w 451354"/>
                <a:gd name="connsiteY71" fmla="*/ 173633 h 300890"/>
                <a:gd name="connsiteX72" fmla="*/ 70228 w 451354"/>
                <a:gd name="connsiteY72" fmla="*/ 179349 h 300890"/>
                <a:gd name="connsiteX73" fmla="*/ 58581 w 451354"/>
                <a:gd name="connsiteY73" fmla="*/ 170242 h 300890"/>
                <a:gd name="connsiteX74" fmla="*/ 42497 w 451354"/>
                <a:gd name="connsiteY74" fmla="*/ 170108 h 300890"/>
                <a:gd name="connsiteX75" fmla="*/ 26985 w 451354"/>
                <a:gd name="connsiteY75" fmla="*/ 165957 h 300890"/>
                <a:gd name="connsiteX76" fmla="*/ 16152 w 451354"/>
                <a:gd name="connsiteY76" fmla="*/ 173963 h 300890"/>
                <a:gd name="connsiteX77" fmla="*/ 14399 w 451354"/>
                <a:gd name="connsiteY77" fmla="*/ 163945 h 300890"/>
                <a:gd name="connsiteX78" fmla="*/ 480 w 451354"/>
                <a:gd name="connsiteY78" fmla="*/ 153720 h 300890"/>
                <a:gd name="connsiteX79" fmla="*/ 5373 w 451354"/>
                <a:gd name="connsiteY79" fmla="*/ 138468 h 300890"/>
                <a:gd name="connsiteX80" fmla="*/ 12324 w 451354"/>
                <a:gd name="connsiteY80" fmla="*/ 128556 h 300890"/>
                <a:gd name="connsiteX81" fmla="*/ 17807 w 451354"/>
                <a:gd name="connsiteY81" fmla="*/ 130775 h 300890"/>
                <a:gd name="connsiteX82" fmla="*/ 11340 w 451354"/>
                <a:gd name="connsiteY82" fmla="*/ 113555 h 300890"/>
                <a:gd name="connsiteX83" fmla="*/ 34115 w 451354"/>
                <a:gd name="connsiteY83" fmla="*/ 81270 h 300890"/>
                <a:gd name="connsiteX84" fmla="*/ 46558 w 451354"/>
                <a:gd name="connsiteY84" fmla="*/ 76699 h 300890"/>
                <a:gd name="connsiteX85" fmla="*/ 49242 w 451354"/>
                <a:gd name="connsiteY85" fmla="*/ 65651 h 300890"/>
                <a:gd name="connsiteX86" fmla="*/ 36629 w 451354"/>
                <a:gd name="connsiteY86" fmla="*/ 30844 h 300890"/>
                <a:gd name="connsiteX87" fmla="*/ 48625 w 451354"/>
                <a:gd name="connsiteY87" fmla="*/ 29279 h 300890"/>
                <a:gd name="connsiteX88" fmla="*/ 62365 w 451354"/>
                <a:gd name="connsiteY88" fmla="*/ 18321 h 300890"/>
                <a:gd name="connsiteX89" fmla="*/ 81803 w 451354"/>
                <a:gd name="connsiteY89" fmla="*/ 17417 h 300890"/>
                <a:gd name="connsiteX90" fmla="*/ 107137 w 451354"/>
                <a:gd name="connsiteY90" fmla="*/ 20593 h 300890"/>
                <a:gd name="connsiteX91" fmla="*/ 135127 w 451354"/>
                <a:gd name="connsiteY91" fmla="*/ 30290 h 300890"/>
                <a:gd name="connsiteX92" fmla="*/ 154879 w 451354"/>
                <a:gd name="connsiteY92" fmla="*/ 31095 h 300890"/>
                <a:gd name="connsiteX93" fmla="*/ 164317 w 451354"/>
                <a:gd name="connsiteY93" fmla="*/ 36901 h 300890"/>
                <a:gd name="connsiteX94" fmla="*/ 173718 w 451354"/>
                <a:gd name="connsiteY94" fmla="*/ 29896 h 300890"/>
                <a:gd name="connsiteX95" fmla="*/ 180293 w 451354"/>
                <a:gd name="connsiteY95" fmla="*/ 39289 h 300890"/>
                <a:gd name="connsiteX96" fmla="*/ 202934 w 451354"/>
                <a:gd name="connsiteY96" fmla="*/ 37366 h 300890"/>
                <a:gd name="connsiteX97" fmla="*/ 212909 w 451354"/>
                <a:gd name="connsiteY97" fmla="*/ 41239 h 300890"/>
                <a:gd name="connsiteX98" fmla="*/ 214519 w 451354"/>
                <a:gd name="connsiteY98" fmla="*/ 20978 h 300890"/>
                <a:gd name="connsiteX99" fmla="*/ 222248 w 451354"/>
                <a:gd name="connsiteY99" fmla="*/ 12077 h 30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51354" h="300890">
                  <a:moveTo>
                    <a:pt x="243779" y="9661"/>
                  </a:moveTo>
                  <a:lnTo>
                    <a:pt x="253145" y="11308"/>
                  </a:lnTo>
                  <a:lnTo>
                    <a:pt x="259488" y="2031"/>
                  </a:lnTo>
                  <a:lnTo>
                    <a:pt x="267100" y="4080"/>
                  </a:lnTo>
                  <a:lnTo>
                    <a:pt x="293114" y="126"/>
                  </a:lnTo>
                  <a:lnTo>
                    <a:pt x="309135" y="23160"/>
                  </a:lnTo>
                  <a:lnTo>
                    <a:pt x="302873" y="31327"/>
                  </a:lnTo>
                  <a:lnTo>
                    <a:pt x="304949" y="43780"/>
                  </a:lnTo>
                  <a:lnTo>
                    <a:pt x="324951" y="45712"/>
                  </a:lnTo>
                  <a:lnTo>
                    <a:pt x="333870" y="62950"/>
                  </a:lnTo>
                  <a:lnTo>
                    <a:pt x="333324" y="70715"/>
                  </a:lnTo>
                  <a:lnTo>
                    <a:pt x="365179" y="84508"/>
                  </a:lnTo>
                  <a:lnTo>
                    <a:pt x="384430" y="78309"/>
                  </a:lnTo>
                  <a:lnTo>
                    <a:pt x="399905" y="96585"/>
                  </a:lnTo>
                  <a:lnTo>
                    <a:pt x="414567" y="96174"/>
                  </a:lnTo>
                  <a:lnTo>
                    <a:pt x="451539" y="108769"/>
                  </a:lnTo>
                  <a:lnTo>
                    <a:pt x="451834" y="120067"/>
                  </a:lnTo>
                  <a:lnTo>
                    <a:pt x="441645" y="140042"/>
                  </a:lnTo>
                  <a:lnTo>
                    <a:pt x="447182" y="160858"/>
                  </a:lnTo>
                  <a:lnTo>
                    <a:pt x="443237" y="173337"/>
                  </a:lnTo>
                  <a:lnTo>
                    <a:pt x="418968" y="176075"/>
                  </a:lnTo>
                  <a:lnTo>
                    <a:pt x="406042" y="186443"/>
                  </a:lnTo>
                  <a:lnTo>
                    <a:pt x="405246" y="202831"/>
                  </a:lnTo>
                  <a:lnTo>
                    <a:pt x="385226" y="205765"/>
                  </a:lnTo>
                  <a:lnTo>
                    <a:pt x="368534" y="217591"/>
                  </a:lnTo>
                  <a:lnTo>
                    <a:pt x="345052" y="219514"/>
                  </a:lnTo>
                  <a:lnTo>
                    <a:pt x="323448" y="233049"/>
                  </a:lnTo>
                  <a:lnTo>
                    <a:pt x="311604" y="242262"/>
                  </a:lnTo>
                  <a:lnTo>
                    <a:pt x="324915" y="255412"/>
                  </a:lnTo>
                  <a:lnTo>
                    <a:pt x="337188" y="264027"/>
                  </a:lnTo>
                  <a:lnTo>
                    <a:pt x="362772" y="261880"/>
                  </a:lnTo>
                  <a:lnTo>
                    <a:pt x="357871" y="274565"/>
                  </a:lnTo>
                  <a:lnTo>
                    <a:pt x="330417" y="280692"/>
                  </a:lnTo>
                  <a:lnTo>
                    <a:pt x="296361" y="301016"/>
                  </a:lnTo>
                  <a:lnTo>
                    <a:pt x="282415" y="293896"/>
                  </a:lnTo>
                  <a:lnTo>
                    <a:pt x="287943" y="277338"/>
                  </a:lnTo>
                  <a:lnTo>
                    <a:pt x="260543" y="266961"/>
                  </a:lnTo>
                  <a:lnTo>
                    <a:pt x="264971" y="260135"/>
                  </a:lnTo>
                  <a:lnTo>
                    <a:pt x="293266" y="245501"/>
                  </a:lnTo>
                  <a:lnTo>
                    <a:pt x="289751" y="238201"/>
                  </a:lnTo>
                  <a:lnTo>
                    <a:pt x="285707" y="241878"/>
                  </a:lnTo>
                  <a:lnTo>
                    <a:pt x="281717" y="239999"/>
                  </a:lnTo>
                  <a:lnTo>
                    <a:pt x="242733" y="230866"/>
                  </a:lnTo>
                  <a:lnTo>
                    <a:pt x="241006" y="217322"/>
                  </a:lnTo>
                  <a:lnTo>
                    <a:pt x="217766" y="221804"/>
                  </a:lnTo>
                  <a:lnTo>
                    <a:pt x="208454" y="241735"/>
                  </a:lnTo>
                  <a:lnTo>
                    <a:pt x="189033" y="268178"/>
                  </a:lnTo>
                  <a:lnTo>
                    <a:pt x="177655" y="262068"/>
                  </a:lnTo>
                  <a:lnTo>
                    <a:pt x="165873" y="267793"/>
                  </a:lnTo>
                  <a:lnTo>
                    <a:pt x="154683" y="261236"/>
                  </a:lnTo>
                  <a:lnTo>
                    <a:pt x="160998" y="257362"/>
                  </a:lnTo>
                  <a:lnTo>
                    <a:pt x="165372" y="245062"/>
                  </a:lnTo>
                  <a:lnTo>
                    <a:pt x="172243" y="233559"/>
                  </a:lnTo>
                  <a:lnTo>
                    <a:pt x="170471" y="227082"/>
                  </a:lnTo>
                  <a:lnTo>
                    <a:pt x="175714" y="224184"/>
                  </a:lnTo>
                  <a:lnTo>
                    <a:pt x="178182" y="229202"/>
                  </a:lnTo>
                  <a:lnTo>
                    <a:pt x="192960" y="230267"/>
                  </a:lnTo>
                  <a:lnTo>
                    <a:pt x="199607" y="227583"/>
                  </a:lnTo>
                  <a:lnTo>
                    <a:pt x="194928" y="223906"/>
                  </a:lnTo>
                  <a:lnTo>
                    <a:pt x="196699" y="218476"/>
                  </a:lnTo>
                  <a:lnTo>
                    <a:pt x="187942" y="209191"/>
                  </a:lnTo>
                  <a:lnTo>
                    <a:pt x="184319" y="193832"/>
                  </a:lnTo>
                  <a:lnTo>
                    <a:pt x="175186" y="187784"/>
                  </a:lnTo>
                  <a:lnTo>
                    <a:pt x="176984" y="175198"/>
                  </a:lnTo>
                  <a:lnTo>
                    <a:pt x="165650" y="165143"/>
                  </a:lnTo>
                  <a:lnTo>
                    <a:pt x="155336" y="163739"/>
                  </a:lnTo>
                  <a:lnTo>
                    <a:pt x="136845" y="152029"/>
                  </a:lnTo>
                  <a:lnTo>
                    <a:pt x="120180" y="155759"/>
                  </a:lnTo>
                  <a:lnTo>
                    <a:pt x="114195" y="161297"/>
                  </a:lnTo>
                  <a:lnTo>
                    <a:pt x="103612" y="161288"/>
                  </a:lnTo>
                  <a:lnTo>
                    <a:pt x="97297" y="170045"/>
                  </a:lnTo>
                  <a:lnTo>
                    <a:pt x="78789" y="173633"/>
                  </a:lnTo>
                  <a:lnTo>
                    <a:pt x="70228" y="179349"/>
                  </a:lnTo>
                  <a:lnTo>
                    <a:pt x="58581" y="170242"/>
                  </a:lnTo>
                  <a:lnTo>
                    <a:pt x="42497" y="170108"/>
                  </a:lnTo>
                  <a:lnTo>
                    <a:pt x="26985" y="165957"/>
                  </a:lnTo>
                  <a:lnTo>
                    <a:pt x="16152" y="173963"/>
                  </a:lnTo>
                  <a:lnTo>
                    <a:pt x="14399" y="163945"/>
                  </a:lnTo>
                  <a:lnTo>
                    <a:pt x="480" y="153720"/>
                  </a:lnTo>
                  <a:lnTo>
                    <a:pt x="5373" y="138468"/>
                  </a:lnTo>
                  <a:lnTo>
                    <a:pt x="12324" y="128556"/>
                  </a:lnTo>
                  <a:lnTo>
                    <a:pt x="17807" y="130775"/>
                  </a:lnTo>
                  <a:lnTo>
                    <a:pt x="11340" y="113555"/>
                  </a:lnTo>
                  <a:lnTo>
                    <a:pt x="34115" y="81270"/>
                  </a:lnTo>
                  <a:lnTo>
                    <a:pt x="46558" y="76699"/>
                  </a:lnTo>
                  <a:lnTo>
                    <a:pt x="49242" y="65651"/>
                  </a:lnTo>
                  <a:lnTo>
                    <a:pt x="36629" y="30844"/>
                  </a:lnTo>
                  <a:lnTo>
                    <a:pt x="48625" y="29279"/>
                  </a:lnTo>
                  <a:lnTo>
                    <a:pt x="62365" y="18321"/>
                  </a:lnTo>
                  <a:lnTo>
                    <a:pt x="81803" y="17417"/>
                  </a:lnTo>
                  <a:lnTo>
                    <a:pt x="107137" y="20593"/>
                  </a:lnTo>
                  <a:lnTo>
                    <a:pt x="135127" y="30290"/>
                  </a:lnTo>
                  <a:lnTo>
                    <a:pt x="154879" y="31095"/>
                  </a:lnTo>
                  <a:lnTo>
                    <a:pt x="164317" y="36901"/>
                  </a:lnTo>
                  <a:lnTo>
                    <a:pt x="173718" y="29896"/>
                  </a:lnTo>
                  <a:lnTo>
                    <a:pt x="180293" y="39289"/>
                  </a:lnTo>
                  <a:lnTo>
                    <a:pt x="202934" y="37366"/>
                  </a:lnTo>
                  <a:lnTo>
                    <a:pt x="212909" y="41239"/>
                  </a:lnTo>
                  <a:lnTo>
                    <a:pt x="214519" y="20978"/>
                  </a:lnTo>
                  <a:lnTo>
                    <a:pt x="222248" y="1207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/>
            <p:cNvSpPr/>
            <p:nvPr/>
          </p:nvSpPr>
          <p:spPr>
            <a:xfrm>
              <a:off x="6579591" y="4555130"/>
              <a:ext cx="136866" cy="141938"/>
            </a:xfrm>
            <a:custGeom>
              <a:avLst/>
              <a:gdLst>
                <a:gd name="connsiteX0" fmla="*/ 57840 w 136866"/>
                <a:gd name="connsiteY0" fmla="*/ 131767 h 141938"/>
                <a:gd name="connsiteX1" fmla="*/ 30341 w 136866"/>
                <a:gd name="connsiteY1" fmla="*/ 131445 h 141938"/>
                <a:gd name="connsiteX2" fmla="*/ 21539 w 136866"/>
                <a:gd name="connsiteY2" fmla="*/ 134433 h 141938"/>
                <a:gd name="connsiteX3" fmla="*/ 6555 w 136866"/>
                <a:gd name="connsiteY3" fmla="*/ 142126 h 141938"/>
                <a:gd name="connsiteX4" fmla="*/ 481 w 136866"/>
                <a:gd name="connsiteY4" fmla="*/ 139585 h 141938"/>
                <a:gd name="connsiteX5" fmla="*/ 696 w 136866"/>
                <a:gd name="connsiteY5" fmla="*/ 120800 h 141938"/>
                <a:gd name="connsiteX6" fmla="*/ 6501 w 136866"/>
                <a:gd name="connsiteY6" fmla="*/ 111282 h 141938"/>
                <a:gd name="connsiteX7" fmla="*/ 7923 w 136866"/>
                <a:gd name="connsiteY7" fmla="*/ 91280 h 141938"/>
                <a:gd name="connsiteX8" fmla="*/ 13192 w 136866"/>
                <a:gd name="connsiteY8" fmla="*/ 79695 h 141938"/>
                <a:gd name="connsiteX9" fmla="*/ 22782 w 136866"/>
                <a:gd name="connsiteY9" fmla="*/ 66706 h 141938"/>
                <a:gd name="connsiteX10" fmla="*/ 32416 w 136866"/>
                <a:gd name="connsiteY10" fmla="*/ 60078 h 141938"/>
                <a:gd name="connsiteX11" fmla="*/ 40485 w 136866"/>
                <a:gd name="connsiteY11" fmla="*/ 51231 h 141938"/>
                <a:gd name="connsiteX12" fmla="*/ 30430 w 136866"/>
                <a:gd name="connsiteY12" fmla="*/ 47858 h 141938"/>
                <a:gd name="connsiteX13" fmla="*/ 31951 w 136866"/>
                <a:gd name="connsiteY13" fmla="*/ 18678 h 141938"/>
                <a:gd name="connsiteX14" fmla="*/ 42274 w 136866"/>
                <a:gd name="connsiteY14" fmla="*/ 11879 h 141938"/>
                <a:gd name="connsiteX15" fmla="*/ 58224 w 136866"/>
                <a:gd name="connsiteY15" fmla="*/ 17461 h 141938"/>
                <a:gd name="connsiteX16" fmla="*/ 78414 w 136866"/>
                <a:gd name="connsiteY16" fmla="*/ 11611 h 141938"/>
                <a:gd name="connsiteX17" fmla="*/ 96064 w 136866"/>
                <a:gd name="connsiteY17" fmla="*/ 11674 h 141938"/>
                <a:gd name="connsiteX18" fmla="*/ 111486 w 136866"/>
                <a:gd name="connsiteY18" fmla="*/ 188 h 141938"/>
                <a:gd name="connsiteX19" fmla="*/ 123374 w 136866"/>
                <a:gd name="connsiteY19" fmla="*/ 17524 h 141938"/>
                <a:gd name="connsiteX20" fmla="*/ 126308 w 136866"/>
                <a:gd name="connsiteY20" fmla="*/ 30048 h 141938"/>
                <a:gd name="connsiteX21" fmla="*/ 137347 w 136866"/>
                <a:gd name="connsiteY21" fmla="*/ 58673 h 141938"/>
                <a:gd name="connsiteX22" fmla="*/ 128214 w 136866"/>
                <a:gd name="connsiteY22" fmla="*/ 76842 h 141938"/>
                <a:gd name="connsiteX23" fmla="*/ 115878 w 136866"/>
                <a:gd name="connsiteY23" fmla="*/ 93337 h 141938"/>
                <a:gd name="connsiteX24" fmla="*/ 108695 w 136866"/>
                <a:gd name="connsiteY24" fmla="*/ 103428 h 141938"/>
                <a:gd name="connsiteX25" fmla="*/ 108945 w 136866"/>
                <a:gd name="connsiteY25" fmla="*/ 129835 h 14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866" h="141938">
                  <a:moveTo>
                    <a:pt x="57840" y="131767"/>
                  </a:moveTo>
                  <a:lnTo>
                    <a:pt x="30341" y="131445"/>
                  </a:lnTo>
                  <a:lnTo>
                    <a:pt x="21539" y="134433"/>
                  </a:lnTo>
                  <a:lnTo>
                    <a:pt x="6555" y="142126"/>
                  </a:lnTo>
                  <a:lnTo>
                    <a:pt x="481" y="139585"/>
                  </a:lnTo>
                  <a:lnTo>
                    <a:pt x="696" y="120800"/>
                  </a:lnTo>
                  <a:lnTo>
                    <a:pt x="6501" y="111282"/>
                  </a:lnTo>
                  <a:lnTo>
                    <a:pt x="7923" y="91280"/>
                  </a:lnTo>
                  <a:lnTo>
                    <a:pt x="13192" y="79695"/>
                  </a:lnTo>
                  <a:lnTo>
                    <a:pt x="22782" y="66706"/>
                  </a:lnTo>
                  <a:lnTo>
                    <a:pt x="32416" y="60078"/>
                  </a:lnTo>
                  <a:lnTo>
                    <a:pt x="40485" y="51231"/>
                  </a:lnTo>
                  <a:lnTo>
                    <a:pt x="30430" y="47858"/>
                  </a:lnTo>
                  <a:lnTo>
                    <a:pt x="31951" y="18678"/>
                  </a:lnTo>
                  <a:lnTo>
                    <a:pt x="42274" y="11879"/>
                  </a:lnTo>
                  <a:lnTo>
                    <a:pt x="58224" y="17461"/>
                  </a:lnTo>
                  <a:lnTo>
                    <a:pt x="78414" y="11611"/>
                  </a:lnTo>
                  <a:lnTo>
                    <a:pt x="96064" y="11674"/>
                  </a:lnTo>
                  <a:lnTo>
                    <a:pt x="111486" y="188"/>
                  </a:lnTo>
                  <a:lnTo>
                    <a:pt x="123374" y="17524"/>
                  </a:lnTo>
                  <a:lnTo>
                    <a:pt x="126308" y="30048"/>
                  </a:lnTo>
                  <a:lnTo>
                    <a:pt x="137347" y="58673"/>
                  </a:lnTo>
                  <a:lnTo>
                    <a:pt x="128214" y="76842"/>
                  </a:lnTo>
                  <a:lnTo>
                    <a:pt x="115878" y="93337"/>
                  </a:lnTo>
                  <a:lnTo>
                    <a:pt x="108695" y="103428"/>
                  </a:lnTo>
                  <a:lnTo>
                    <a:pt x="108945" y="129835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/>
            <p:cNvSpPr/>
            <p:nvPr/>
          </p:nvSpPr>
          <p:spPr>
            <a:xfrm>
              <a:off x="1586312" y="2073309"/>
              <a:ext cx="2571696" cy="2107613"/>
            </a:xfrm>
            <a:custGeom>
              <a:avLst/>
              <a:gdLst>
                <a:gd name="connsiteX0" fmla="*/ 977595 w 2571696"/>
                <a:gd name="connsiteY0" fmla="*/ 945658 h 2107613"/>
                <a:gd name="connsiteX1" fmla="*/ 977595 w 2571696"/>
                <a:gd name="connsiteY1" fmla="*/ 945658 h 2107613"/>
                <a:gd name="connsiteX2" fmla="*/ 963801 w 2571696"/>
                <a:gd name="connsiteY2" fmla="*/ 929252 h 2107613"/>
                <a:gd name="connsiteX3" fmla="*/ 941697 w 2571696"/>
                <a:gd name="connsiteY3" fmla="*/ 915217 h 2107613"/>
                <a:gd name="connsiteX4" fmla="*/ 934603 w 2571696"/>
                <a:gd name="connsiteY4" fmla="*/ 876250 h 2107613"/>
                <a:gd name="connsiteX5" fmla="*/ 902265 w 2571696"/>
                <a:gd name="connsiteY5" fmla="*/ 839296 h 2107613"/>
                <a:gd name="connsiteX6" fmla="*/ 888749 w 2571696"/>
                <a:gd name="connsiteY6" fmla="*/ 795123 h 2107613"/>
                <a:gd name="connsiteX7" fmla="*/ 864667 w 2571696"/>
                <a:gd name="connsiteY7" fmla="*/ 792055 h 2107613"/>
                <a:gd name="connsiteX8" fmla="*/ 824788 w 2571696"/>
                <a:gd name="connsiteY8" fmla="*/ 790892 h 2107613"/>
                <a:gd name="connsiteX9" fmla="*/ 795393 w 2571696"/>
                <a:gd name="connsiteY9" fmla="*/ 777161 h 2107613"/>
                <a:gd name="connsiteX10" fmla="*/ 743536 w 2571696"/>
                <a:gd name="connsiteY10" fmla="*/ 726681 h 2107613"/>
                <a:gd name="connsiteX11" fmla="*/ 719518 w 2571696"/>
                <a:gd name="connsiteY11" fmla="*/ 717289 h 2107613"/>
                <a:gd name="connsiteX12" fmla="*/ 675640 w 2571696"/>
                <a:gd name="connsiteY12" fmla="*/ 699460 h 2107613"/>
                <a:gd name="connsiteX13" fmla="*/ 640914 w 2571696"/>
                <a:gd name="connsiteY13" fmla="*/ 703736 h 2107613"/>
                <a:gd name="connsiteX14" fmla="*/ 591588 w 2571696"/>
                <a:gd name="connsiteY14" fmla="*/ 680567 h 2107613"/>
                <a:gd name="connsiteX15" fmla="*/ 561773 w 2571696"/>
                <a:gd name="connsiteY15" fmla="*/ 658785 h 2107613"/>
                <a:gd name="connsiteX16" fmla="*/ 533934 w 2571696"/>
                <a:gd name="connsiteY16" fmla="*/ 669636 h 2107613"/>
                <a:gd name="connsiteX17" fmla="*/ 539105 w 2571696"/>
                <a:gd name="connsiteY17" fmla="*/ 704774 h 2107613"/>
                <a:gd name="connsiteX18" fmla="*/ 525239 w 2571696"/>
                <a:gd name="connsiteY18" fmla="*/ 707976 h 2107613"/>
                <a:gd name="connsiteX19" fmla="*/ 496220 w 2571696"/>
                <a:gd name="connsiteY19" fmla="*/ 718362 h 2107613"/>
                <a:gd name="connsiteX20" fmla="*/ 474143 w 2571696"/>
                <a:gd name="connsiteY20" fmla="*/ 735028 h 2107613"/>
                <a:gd name="connsiteX21" fmla="*/ 446349 w 2571696"/>
                <a:gd name="connsiteY21" fmla="*/ 745431 h 2107613"/>
                <a:gd name="connsiteX22" fmla="*/ 442762 w 2571696"/>
                <a:gd name="connsiteY22" fmla="*/ 716403 h 2107613"/>
                <a:gd name="connsiteX23" fmla="*/ 454042 w 2571696"/>
                <a:gd name="connsiteY23" fmla="*/ 666926 h 2107613"/>
                <a:gd name="connsiteX24" fmla="*/ 480691 w 2571696"/>
                <a:gd name="connsiteY24" fmla="*/ 651083 h 2107613"/>
                <a:gd name="connsiteX25" fmla="*/ 473812 w 2571696"/>
                <a:gd name="connsiteY25" fmla="*/ 638058 h 2107613"/>
                <a:gd name="connsiteX26" fmla="*/ 441841 w 2571696"/>
                <a:gd name="connsiteY26" fmla="*/ 666845 h 2107613"/>
                <a:gd name="connsiteX27" fmla="*/ 424719 w 2571696"/>
                <a:gd name="connsiteY27" fmla="*/ 700578 h 2107613"/>
                <a:gd name="connsiteX28" fmla="*/ 388579 w 2571696"/>
                <a:gd name="connsiteY28" fmla="*/ 735886 h 2107613"/>
                <a:gd name="connsiteX29" fmla="*/ 406935 w 2571696"/>
                <a:gd name="connsiteY29" fmla="*/ 759565 h 2107613"/>
                <a:gd name="connsiteX30" fmla="*/ 383230 w 2571696"/>
                <a:gd name="connsiteY30" fmla="*/ 793996 h 2107613"/>
                <a:gd name="connsiteX31" fmla="*/ 356268 w 2571696"/>
                <a:gd name="connsiteY31" fmla="*/ 813739 h 2107613"/>
                <a:gd name="connsiteX32" fmla="*/ 331167 w 2571696"/>
                <a:gd name="connsiteY32" fmla="*/ 827980 h 2107613"/>
                <a:gd name="connsiteX33" fmla="*/ 324959 w 2571696"/>
                <a:gd name="connsiteY33" fmla="*/ 848439 h 2107613"/>
                <a:gd name="connsiteX34" fmla="*/ 285804 w 2571696"/>
                <a:gd name="connsiteY34" fmla="*/ 872001 h 2107613"/>
                <a:gd name="connsiteX35" fmla="*/ 277878 w 2571696"/>
                <a:gd name="connsiteY35" fmla="*/ 893139 h 2107613"/>
                <a:gd name="connsiteX36" fmla="*/ 248528 w 2571696"/>
                <a:gd name="connsiteY36" fmla="*/ 912166 h 2107613"/>
                <a:gd name="connsiteX37" fmla="*/ 231317 w 2571696"/>
                <a:gd name="connsiteY37" fmla="*/ 908758 h 2107613"/>
                <a:gd name="connsiteX38" fmla="*/ 207907 w 2571696"/>
                <a:gd name="connsiteY38" fmla="*/ 921076 h 2107613"/>
                <a:gd name="connsiteX39" fmla="*/ 182457 w 2571696"/>
                <a:gd name="connsiteY39" fmla="*/ 936006 h 2107613"/>
                <a:gd name="connsiteX40" fmla="*/ 161596 w 2571696"/>
                <a:gd name="connsiteY40" fmla="*/ 950551 h 2107613"/>
                <a:gd name="connsiteX41" fmla="*/ 118550 w 2571696"/>
                <a:gd name="connsiteY41" fmla="*/ 962869 h 2107613"/>
                <a:gd name="connsiteX42" fmla="*/ 114623 w 2571696"/>
                <a:gd name="connsiteY42" fmla="*/ 955633 h 2107613"/>
                <a:gd name="connsiteX43" fmla="*/ 142059 w 2571696"/>
                <a:gd name="connsiteY43" fmla="*/ 935344 h 2107613"/>
                <a:gd name="connsiteX44" fmla="*/ 166596 w 2571696"/>
                <a:gd name="connsiteY44" fmla="*/ 921810 h 2107613"/>
                <a:gd name="connsiteX45" fmla="*/ 193335 w 2571696"/>
                <a:gd name="connsiteY45" fmla="*/ 897567 h 2107613"/>
                <a:gd name="connsiteX46" fmla="*/ 224447 w 2571696"/>
                <a:gd name="connsiteY46" fmla="*/ 892513 h 2107613"/>
                <a:gd name="connsiteX47" fmla="*/ 236819 w 2571696"/>
                <a:gd name="connsiteY47" fmla="*/ 874058 h 2107613"/>
                <a:gd name="connsiteX48" fmla="*/ 271581 w 2571696"/>
                <a:gd name="connsiteY48" fmla="*/ 846748 h 2107613"/>
                <a:gd name="connsiteX49" fmla="*/ 277181 w 2571696"/>
                <a:gd name="connsiteY49" fmla="*/ 837516 h 2107613"/>
                <a:gd name="connsiteX50" fmla="*/ 295698 w 2571696"/>
                <a:gd name="connsiteY50" fmla="*/ 821119 h 2107613"/>
                <a:gd name="connsiteX51" fmla="*/ 300028 w 2571696"/>
                <a:gd name="connsiteY51" fmla="*/ 785337 h 2107613"/>
                <a:gd name="connsiteX52" fmla="*/ 312784 w 2571696"/>
                <a:gd name="connsiteY52" fmla="*/ 756944 h 2107613"/>
                <a:gd name="connsiteX53" fmla="*/ 283863 w 2571696"/>
                <a:gd name="connsiteY53" fmla="*/ 771579 h 2107613"/>
                <a:gd name="connsiteX54" fmla="*/ 275776 w 2571696"/>
                <a:gd name="connsiteY54" fmla="*/ 763286 h 2107613"/>
                <a:gd name="connsiteX55" fmla="*/ 262197 w 2571696"/>
                <a:gd name="connsiteY55" fmla="*/ 780766 h 2107613"/>
                <a:gd name="connsiteX56" fmla="*/ 245818 w 2571696"/>
                <a:gd name="connsiteY56" fmla="*/ 756345 h 2107613"/>
                <a:gd name="connsiteX57" fmla="*/ 239055 w 2571696"/>
                <a:gd name="connsiteY57" fmla="*/ 773663 h 2107613"/>
                <a:gd name="connsiteX58" fmla="*/ 229680 w 2571696"/>
                <a:gd name="connsiteY58" fmla="*/ 749555 h 2107613"/>
                <a:gd name="connsiteX59" fmla="*/ 204606 w 2571696"/>
                <a:gd name="connsiteY59" fmla="*/ 768940 h 2107613"/>
                <a:gd name="connsiteX60" fmla="*/ 189211 w 2571696"/>
                <a:gd name="connsiteY60" fmla="*/ 768904 h 2107613"/>
                <a:gd name="connsiteX61" fmla="*/ 187046 w 2571696"/>
                <a:gd name="connsiteY61" fmla="*/ 739992 h 2107613"/>
                <a:gd name="connsiteX62" fmla="*/ 191581 w 2571696"/>
                <a:gd name="connsiteY62" fmla="*/ 721922 h 2107613"/>
                <a:gd name="connsiteX63" fmla="*/ 175426 w 2571696"/>
                <a:gd name="connsiteY63" fmla="*/ 704192 h 2107613"/>
                <a:gd name="connsiteX64" fmla="*/ 142810 w 2571696"/>
                <a:gd name="connsiteY64" fmla="*/ 713764 h 2107613"/>
                <a:gd name="connsiteX65" fmla="*/ 121645 w 2571696"/>
                <a:gd name="connsiteY65" fmla="*/ 690229 h 2107613"/>
                <a:gd name="connsiteX66" fmla="*/ 104488 w 2571696"/>
                <a:gd name="connsiteY66" fmla="*/ 678072 h 2107613"/>
                <a:gd name="connsiteX67" fmla="*/ 104381 w 2571696"/>
                <a:gd name="connsiteY67" fmla="*/ 648999 h 2107613"/>
                <a:gd name="connsiteX68" fmla="*/ 85049 w 2571696"/>
                <a:gd name="connsiteY68" fmla="*/ 626787 h 2107613"/>
                <a:gd name="connsiteX69" fmla="*/ 94755 w 2571696"/>
                <a:gd name="connsiteY69" fmla="*/ 596328 h 2107613"/>
                <a:gd name="connsiteX70" fmla="*/ 115205 w 2571696"/>
                <a:gd name="connsiteY70" fmla="*/ 566199 h 2107613"/>
                <a:gd name="connsiteX71" fmla="*/ 124150 w 2571696"/>
                <a:gd name="connsiteY71" fmla="*/ 537985 h 2107613"/>
                <a:gd name="connsiteX72" fmla="*/ 144447 w 2571696"/>
                <a:gd name="connsiteY72" fmla="*/ 533924 h 2107613"/>
                <a:gd name="connsiteX73" fmla="*/ 161659 w 2571696"/>
                <a:gd name="connsiteY73" fmla="*/ 542798 h 2107613"/>
                <a:gd name="connsiteX74" fmla="*/ 181893 w 2571696"/>
                <a:gd name="connsiteY74" fmla="*/ 515899 h 2107613"/>
                <a:gd name="connsiteX75" fmla="*/ 200106 w 2571696"/>
                <a:gd name="connsiteY75" fmla="*/ 520738 h 2107613"/>
                <a:gd name="connsiteX76" fmla="*/ 219223 w 2571696"/>
                <a:gd name="connsiteY76" fmla="*/ 503250 h 2107613"/>
                <a:gd name="connsiteX77" fmla="*/ 214562 w 2571696"/>
                <a:gd name="connsiteY77" fmla="*/ 477156 h 2107613"/>
                <a:gd name="connsiteX78" fmla="*/ 200518 w 2571696"/>
                <a:gd name="connsiteY78" fmla="*/ 466752 h 2107613"/>
                <a:gd name="connsiteX79" fmla="*/ 219089 w 2571696"/>
                <a:gd name="connsiteY79" fmla="*/ 444218 h 2107613"/>
                <a:gd name="connsiteX80" fmla="*/ 203684 w 2571696"/>
                <a:gd name="connsiteY80" fmla="*/ 444889 h 2107613"/>
                <a:gd name="connsiteX81" fmla="*/ 177072 w 2571696"/>
                <a:gd name="connsiteY81" fmla="*/ 457646 h 2107613"/>
                <a:gd name="connsiteX82" fmla="*/ 169432 w 2571696"/>
                <a:gd name="connsiteY82" fmla="*/ 470473 h 2107613"/>
                <a:gd name="connsiteX83" fmla="*/ 149654 w 2571696"/>
                <a:gd name="connsiteY83" fmla="*/ 457663 h 2107613"/>
                <a:gd name="connsiteX84" fmla="*/ 114176 w 2571696"/>
                <a:gd name="connsiteY84" fmla="*/ 464185 h 2107613"/>
                <a:gd name="connsiteX85" fmla="*/ 77446 w 2571696"/>
                <a:gd name="connsiteY85" fmla="*/ 450203 h 2107613"/>
                <a:gd name="connsiteX86" fmla="*/ 66917 w 2571696"/>
                <a:gd name="connsiteY86" fmla="*/ 426461 h 2107613"/>
                <a:gd name="connsiteX87" fmla="*/ 35178 w 2571696"/>
                <a:gd name="connsiteY87" fmla="*/ 391520 h 2107613"/>
                <a:gd name="connsiteX88" fmla="*/ 70423 w 2571696"/>
                <a:gd name="connsiteY88" fmla="*/ 365874 h 2107613"/>
                <a:gd name="connsiteX89" fmla="*/ 126369 w 2571696"/>
                <a:gd name="connsiteY89" fmla="*/ 335396 h 2107613"/>
                <a:gd name="connsiteX90" fmla="*/ 146988 w 2571696"/>
                <a:gd name="connsiteY90" fmla="*/ 335396 h 2107613"/>
                <a:gd name="connsiteX91" fmla="*/ 143571 w 2571696"/>
                <a:gd name="connsiteY91" fmla="*/ 366562 h 2107613"/>
                <a:gd name="connsiteX92" fmla="*/ 196510 w 2571696"/>
                <a:gd name="connsiteY92" fmla="*/ 364156 h 2107613"/>
                <a:gd name="connsiteX93" fmla="*/ 176150 w 2571696"/>
                <a:gd name="connsiteY93" fmla="*/ 325342 h 2107613"/>
                <a:gd name="connsiteX94" fmla="*/ 145297 w 2571696"/>
                <a:gd name="connsiteY94" fmla="*/ 300992 h 2107613"/>
                <a:gd name="connsiteX95" fmla="*/ 127460 w 2571696"/>
                <a:gd name="connsiteY95" fmla="*/ 268439 h 2107613"/>
                <a:gd name="connsiteX96" fmla="*/ 103397 w 2571696"/>
                <a:gd name="connsiteY96" fmla="*/ 240118 h 2107613"/>
                <a:gd name="connsiteX97" fmla="*/ 68929 w 2571696"/>
                <a:gd name="connsiteY97" fmla="*/ 218783 h 2107613"/>
                <a:gd name="connsiteX98" fmla="*/ 82965 w 2571696"/>
                <a:gd name="connsiteY98" fmla="*/ 182750 h 2107613"/>
                <a:gd name="connsiteX99" fmla="*/ 127460 w 2571696"/>
                <a:gd name="connsiteY99" fmla="*/ 180487 h 2107613"/>
                <a:gd name="connsiteX100" fmla="*/ 159118 w 2571696"/>
                <a:gd name="connsiteY100" fmla="*/ 148417 h 2107613"/>
                <a:gd name="connsiteX101" fmla="*/ 165085 w 2571696"/>
                <a:gd name="connsiteY101" fmla="*/ 113378 h 2107613"/>
                <a:gd name="connsiteX102" fmla="*/ 190705 w 2571696"/>
                <a:gd name="connsiteY102" fmla="*/ 78392 h 2107613"/>
                <a:gd name="connsiteX103" fmla="*/ 215135 w 2571696"/>
                <a:gd name="connsiteY103" fmla="*/ 69849 h 2107613"/>
                <a:gd name="connsiteX104" fmla="*/ 262680 w 2571696"/>
                <a:gd name="connsiteY104" fmla="*/ 36232 h 2107613"/>
                <a:gd name="connsiteX105" fmla="*/ 285742 w 2571696"/>
                <a:gd name="connsiteY105" fmla="*/ 41349 h 2107613"/>
                <a:gd name="connsiteX106" fmla="*/ 324341 w 2571696"/>
                <a:gd name="connsiteY106" fmla="*/ 119 h 2107613"/>
                <a:gd name="connsiteX107" fmla="*/ 362288 w 2571696"/>
                <a:gd name="connsiteY107" fmla="*/ 16498 h 2107613"/>
                <a:gd name="connsiteX108" fmla="*/ 380439 w 2571696"/>
                <a:gd name="connsiteY108" fmla="*/ 51108 h 2107613"/>
                <a:gd name="connsiteX109" fmla="*/ 391585 w 2571696"/>
                <a:gd name="connsiteY109" fmla="*/ 36366 h 2107613"/>
                <a:gd name="connsiteX110" fmla="*/ 433968 w 2571696"/>
                <a:gd name="connsiteY110" fmla="*/ 40955 h 2107613"/>
                <a:gd name="connsiteX111" fmla="*/ 432466 w 2571696"/>
                <a:gd name="connsiteY111" fmla="*/ 58408 h 2107613"/>
                <a:gd name="connsiteX112" fmla="*/ 470842 w 2571696"/>
                <a:gd name="connsiteY112" fmla="*/ 71182 h 2107613"/>
                <a:gd name="connsiteX113" fmla="*/ 496426 w 2571696"/>
                <a:gd name="connsiteY113" fmla="*/ 63686 h 2107613"/>
                <a:gd name="connsiteX114" fmla="*/ 549267 w 2571696"/>
                <a:gd name="connsiteY114" fmla="*/ 87257 h 2107613"/>
                <a:gd name="connsiteX115" fmla="*/ 597510 w 2571696"/>
                <a:gd name="connsiteY115" fmla="*/ 94199 h 2107613"/>
                <a:gd name="connsiteX116" fmla="*/ 616823 w 2571696"/>
                <a:gd name="connsiteY116" fmla="*/ 103753 h 2107613"/>
                <a:gd name="connsiteX117" fmla="*/ 650199 w 2571696"/>
                <a:gd name="connsiteY117" fmla="*/ 91810 h 2107613"/>
                <a:gd name="connsiteX118" fmla="*/ 688244 w 2571696"/>
                <a:gd name="connsiteY118" fmla="*/ 113834 h 2107613"/>
                <a:gd name="connsiteX119" fmla="*/ 715492 w 2571696"/>
                <a:gd name="connsiteY119" fmla="*/ 123987 h 2107613"/>
                <a:gd name="connsiteX120" fmla="*/ 715322 w 2571696"/>
                <a:gd name="connsiteY120" fmla="*/ 371313 h 2107613"/>
                <a:gd name="connsiteX121" fmla="*/ 715188 w 2571696"/>
                <a:gd name="connsiteY121" fmla="*/ 688251 h 2107613"/>
                <a:gd name="connsiteX122" fmla="*/ 739887 w 2571696"/>
                <a:gd name="connsiteY122" fmla="*/ 689745 h 2107613"/>
                <a:gd name="connsiteX123" fmla="*/ 764317 w 2571696"/>
                <a:gd name="connsiteY123" fmla="*/ 703665 h 2107613"/>
                <a:gd name="connsiteX124" fmla="*/ 781832 w 2571696"/>
                <a:gd name="connsiteY124" fmla="*/ 725456 h 2107613"/>
                <a:gd name="connsiteX125" fmla="*/ 804115 w 2571696"/>
                <a:gd name="connsiteY125" fmla="*/ 757624 h 2107613"/>
                <a:gd name="connsiteX126" fmla="*/ 828519 w 2571696"/>
                <a:gd name="connsiteY126" fmla="*/ 730304 h 2107613"/>
                <a:gd name="connsiteX127" fmla="*/ 853700 w 2571696"/>
                <a:gd name="connsiteY127" fmla="*/ 714265 h 2107613"/>
                <a:gd name="connsiteX128" fmla="*/ 867011 w 2571696"/>
                <a:gd name="connsiteY128" fmla="*/ 739804 h 2107613"/>
                <a:gd name="connsiteX129" fmla="*/ 883909 w 2571696"/>
                <a:gd name="connsiteY129" fmla="*/ 759744 h 2107613"/>
                <a:gd name="connsiteX130" fmla="*/ 906872 w 2571696"/>
                <a:gd name="connsiteY130" fmla="*/ 781428 h 2107613"/>
                <a:gd name="connsiteX131" fmla="*/ 922554 w 2571696"/>
                <a:gd name="connsiteY131" fmla="*/ 815367 h 2107613"/>
                <a:gd name="connsiteX132" fmla="*/ 948200 w 2571696"/>
                <a:gd name="connsiteY132" fmla="*/ 867976 h 2107613"/>
                <a:gd name="connsiteX133" fmla="*/ 990844 w 2571696"/>
                <a:gd name="connsiteY133" fmla="*/ 896637 h 2107613"/>
                <a:gd name="connsiteX134" fmla="*/ 991541 w 2571696"/>
                <a:gd name="connsiteY134" fmla="*/ 924583 h 2107613"/>
                <a:gd name="connsiteX135" fmla="*/ 977595 w 2571696"/>
                <a:gd name="connsiteY135" fmla="*/ 945658 h 2107613"/>
                <a:gd name="connsiteX136" fmla="*/ 2551377 w 2571696"/>
                <a:gd name="connsiteY136" fmla="*/ 1253696 h 2107613"/>
                <a:gd name="connsiteX137" fmla="*/ 2540240 w 2571696"/>
                <a:gd name="connsiteY137" fmla="*/ 1243078 h 2107613"/>
                <a:gd name="connsiteX138" fmla="*/ 2523422 w 2571696"/>
                <a:gd name="connsiteY138" fmla="*/ 1249340 h 2107613"/>
                <a:gd name="connsiteX139" fmla="*/ 2515085 w 2571696"/>
                <a:gd name="connsiteY139" fmla="*/ 1239652 h 2107613"/>
                <a:gd name="connsiteX140" fmla="*/ 2495951 w 2571696"/>
                <a:gd name="connsiteY140" fmla="*/ 1267356 h 2107613"/>
                <a:gd name="connsiteX141" fmla="*/ 2488302 w 2571696"/>
                <a:gd name="connsiteY141" fmla="*/ 1295517 h 2107613"/>
                <a:gd name="connsiteX142" fmla="*/ 2479402 w 2571696"/>
                <a:gd name="connsiteY142" fmla="*/ 1311798 h 2107613"/>
                <a:gd name="connsiteX143" fmla="*/ 2468747 w 2571696"/>
                <a:gd name="connsiteY143" fmla="*/ 1317308 h 2107613"/>
                <a:gd name="connsiteX144" fmla="*/ 2460724 w 2571696"/>
                <a:gd name="connsiteY144" fmla="*/ 1319097 h 2107613"/>
                <a:gd name="connsiteX145" fmla="*/ 2458210 w 2571696"/>
                <a:gd name="connsiteY145" fmla="*/ 1327846 h 2107613"/>
                <a:gd name="connsiteX146" fmla="*/ 2411988 w 2571696"/>
                <a:gd name="connsiteY146" fmla="*/ 1327873 h 2107613"/>
                <a:gd name="connsiteX147" fmla="*/ 2373881 w 2571696"/>
                <a:gd name="connsiteY147" fmla="*/ 1328114 h 2107613"/>
                <a:gd name="connsiteX148" fmla="*/ 2362564 w 2571696"/>
                <a:gd name="connsiteY148" fmla="*/ 1334609 h 2107613"/>
                <a:gd name="connsiteX149" fmla="*/ 2336891 w 2571696"/>
                <a:gd name="connsiteY149" fmla="*/ 1359030 h 2107613"/>
                <a:gd name="connsiteX150" fmla="*/ 2339458 w 2571696"/>
                <a:gd name="connsiteY150" fmla="*/ 1363896 h 2107613"/>
                <a:gd name="connsiteX151" fmla="*/ 2340943 w 2571696"/>
                <a:gd name="connsiteY151" fmla="*/ 1377368 h 2107613"/>
                <a:gd name="connsiteX152" fmla="*/ 2322131 w 2571696"/>
                <a:gd name="connsiteY152" fmla="*/ 1388729 h 2107613"/>
                <a:gd name="connsiteX153" fmla="*/ 2301583 w 2571696"/>
                <a:gd name="connsiteY153" fmla="*/ 1385884 h 2107613"/>
                <a:gd name="connsiteX154" fmla="*/ 2281867 w 2571696"/>
                <a:gd name="connsiteY154" fmla="*/ 1384605 h 2107613"/>
                <a:gd name="connsiteX155" fmla="*/ 2269988 w 2571696"/>
                <a:gd name="connsiteY155" fmla="*/ 1388532 h 2107613"/>
                <a:gd name="connsiteX156" fmla="*/ 2272215 w 2571696"/>
                <a:gd name="connsiteY156" fmla="*/ 1398819 h 2107613"/>
                <a:gd name="connsiteX157" fmla="*/ 2272215 w 2571696"/>
                <a:gd name="connsiteY157" fmla="*/ 1398837 h 2107613"/>
                <a:gd name="connsiteX158" fmla="*/ 2272707 w 2571696"/>
                <a:gd name="connsiteY158" fmla="*/ 1402174 h 2107613"/>
                <a:gd name="connsiteX159" fmla="*/ 2251095 w 2571696"/>
                <a:gd name="connsiteY159" fmla="*/ 1422435 h 2107613"/>
                <a:gd name="connsiteX160" fmla="*/ 2232175 w 2571696"/>
                <a:gd name="connsiteY160" fmla="*/ 1432177 h 2107613"/>
                <a:gd name="connsiteX161" fmla="*/ 2219266 w 2571696"/>
                <a:gd name="connsiteY161" fmla="*/ 1436704 h 2107613"/>
                <a:gd name="connsiteX162" fmla="*/ 2204408 w 2571696"/>
                <a:gd name="connsiteY162" fmla="*/ 1445962 h 2107613"/>
                <a:gd name="connsiteX163" fmla="*/ 2186249 w 2571696"/>
                <a:gd name="connsiteY163" fmla="*/ 1450399 h 2107613"/>
                <a:gd name="connsiteX164" fmla="*/ 2173743 w 2571696"/>
                <a:gd name="connsiteY164" fmla="*/ 1448690 h 2107613"/>
                <a:gd name="connsiteX165" fmla="*/ 2158276 w 2571696"/>
                <a:gd name="connsiteY165" fmla="*/ 1441785 h 2107613"/>
                <a:gd name="connsiteX166" fmla="*/ 2166873 w 2571696"/>
                <a:gd name="connsiteY166" fmla="*/ 1428823 h 2107613"/>
                <a:gd name="connsiteX167" fmla="*/ 2172392 w 2571696"/>
                <a:gd name="connsiteY167" fmla="*/ 1417006 h 2107613"/>
                <a:gd name="connsiteX168" fmla="*/ 2184182 w 2571696"/>
                <a:gd name="connsiteY168" fmla="*/ 1398301 h 2107613"/>
                <a:gd name="connsiteX169" fmla="*/ 2182930 w 2571696"/>
                <a:gd name="connsiteY169" fmla="*/ 1384247 h 2107613"/>
                <a:gd name="connsiteX170" fmla="*/ 2178412 w 2571696"/>
                <a:gd name="connsiteY170" fmla="*/ 1364200 h 2107613"/>
                <a:gd name="connsiteX171" fmla="*/ 2169136 w 2571696"/>
                <a:gd name="connsiteY171" fmla="*/ 1360730 h 2107613"/>
                <a:gd name="connsiteX172" fmla="*/ 2153589 w 2571696"/>
                <a:gd name="connsiteY172" fmla="*/ 1375982 h 2107613"/>
                <a:gd name="connsiteX173" fmla="*/ 2148606 w 2571696"/>
                <a:gd name="connsiteY173" fmla="*/ 1375695 h 2107613"/>
                <a:gd name="connsiteX174" fmla="*/ 2147318 w 2571696"/>
                <a:gd name="connsiteY174" fmla="*/ 1366982 h 2107613"/>
                <a:gd name="connsiteX175" fmla="*/ 2161112 w 2571696"/>
                <a:gd name="connsiteY175" fmla="*/ 1353063 h 2107613"/>
                <a:gd name="connsiteX176" fmla="*/ 2163402 w 2571696"/>
                <a:gd name="connsiteY176" fmla="*/ 1337087 h 2107613"/>
                <a:gd name="connsiteX177" fmla="*/ 2161362 w 2571696"/>
                <a:gd name="connsiteY177" fmla="*/ 1321038 h 2107613"/>
                <a:gd name="connsiteX178" fmla="*/ 2142800 w 2571696"/>
                <a:gd name="connsiteY178" fmla="*/ 1307155 h 2107613"/>
                <a:gd name="connsiteX179" fmla="*/ 2121483 w 2571696"/>
                <a:gd name="connsiteY179" fmla="*/ 1299999 h 2107613"/>
                <a:gd name="connsiteX180" fmla="*/ 2117977 w 2571696"/>
                <a:gd name="connsiteY180" fmla="*/ 1313578 h 2107613"/>
                <a:gd name="connsiteX181" fmla="*/ 2112448 w 2571696"/>
                <a:gd name="connsiteY181" fmla="*/ 1317201 h 2107613"/>
                <a:gd name="connsiteX182" fmla="*/ 2108011 w 2571696"/>
                <a:gd name="connsiteY182" fmla="*/ 1334671 h 2107613"/>
                <a:gd name="connsiteX183" fmla="*/ 2105686 w 2571696"/>
                <a:gd name="connsiteY183" fmla="*/ 1322818 h 2107613"/>
                <a:gd name="connsiteX184" fmla="*/ 2095658 w 2571696"/>
                <a:gd name="connsiteY184" fmla="*/ 1331290 h 2107613"/>
                <a:gd name="connsiteX185" fmla="*/ 2089396 w 2571696"/>
                <a:gd name="connsiteY185" fmla="*/ 1343107 h 2107613"/>
                <a:gd name="connsiteX186" fmla="*/ 2082857 w 2571696"/>
                <a:gd name="connsiteY186" fmla="*/ 1360246 h 2107613"/>
                <a:gd name="connsiteX187" fmla="*/ 2081604 w 2571696"/>
                <a:gd name="connsiteY187" fmla="*/ 1374962 h 2107613"/>
                <a:gd name="connsiteX188" fmla="*/ 2089923 w 2571696"/>
                <a:gd name="connsiteY188" fmla="*/ 1396216 h 2107613"/>
                <a:gd name="connsiteX189" fmla="*/ 2089235 w 2571696"/>
                <a:gd name="connsiteY189" fmla="*/ 1418651 h 2107613"/>
                <a:gd name="connsiteX190" fmla="*/ 2079055 w 2571696"/>
                <a:gd name="connsiteY190" fmla="*/ 1435075 h 2107613"/>
                <a:gd name="connsiteX191" fmla="*/ 2073974 w 2571696"/>
                <a:gd name="connsiteY191" fmla="*/ 1439709 h 2107613"/>
                <a:gd name="connsiteX192" fmla="*/ 2067202 w 2571696"/>
                <a:gd name="connsiteY192" fmla="*/ 1443395 h 2107613"/>
                <a:gd name="connsiteX193" fmla="*/ 2058677 w 2571696"/>
                <a:gd name="connsiteY193" fmla="*/ 1443583 h 2107613"/>
                <a:gd name="connsiteX194" fmla="*/ 2056369 w 2571696"/>
                <a:gd name="connsiteY194" fmla="*/ 1441320 h 2107613"/>
                <a:gd name="connsiteX195" fmla="*/ 2049615 w 2571696"/>
                <a:gd name="connsiteY195" fmla="*/ 1423652 h 2107613"/>
                <a:gd name="connsiteX196" fmla="*/ 2049418 w 2571696"/>
                <a:gd name="connsiteY196" fmla="*/ 1414868 h 2107613"/>
                <a:gd name="connsiteX197" fmla="*/ 2050089 w 2571696"/>
                <a:gd name="connsiteY197" fmla="*/ 1406486 h 2107613"/>
                <a:gd name="connsiteX198" fmla="*/ 2046940 w 2571696"/>
                <a:gd name="connsiteY198" fmla="*/ 1389758 h 2107613"/>
                <a:gd name="connsiteX199" fmla="*/ 2051708 w 2571696"/>
                <a:gd name="connsiteY199" fmla="*/ 1370248 h 2107613"/>
                <a:gd name="connsiteX200" fmla="*/ 2057371 w 2571696"/>
                <a:gd name="connsiteY200" fmla="*/ 1345978 h 2107613"/>
                <a:gd name="connsiteX201" fmla="*/ 2070387 w 2571696"/>
                <a:gd name="connsiteY201" fmla="*/ 1318829 h 2107613"/>
                <a:gd name="connsiteX202" fmla="*/ 2066612 w 2571696"/>
                <a:gd name="connsiteY202" fmla="*/ 1318954 h 2107613"/>
                <a:gd name="connsiteX203" fmla="*/ 2048184 w 2571696"/>
                <a:gd name="connsiteY203" fmla="*/ 1341702 h 2107613"/>
                <a:gd name="connsiteX204" fmla="*/ 2044785 w 2571696"/>
                <a:gd name="connsiteY204" fmla="*/ 1337552 h 2107613"/>
                <a:gd name="connsiteX205" fmla="*/ 2054616 w 2571696"/>
                <a:gd name="connsiteY205" fmla="*/ 1324831 h 2107613"/>
                <a:gd name="connsiteX206" fmla="*/ 2069573 w 2571696"/>
                <a:gd name="connsiteY206" fmla="*/ 1301815 h 2107613"/>
                <a:gd name="connsiteX207" fmla="*/ 2086632 w 2571696"/>
                <a:gd name="connsiteY207" fmla="*/ 1298585 h 2107613"/>
                <a:gd name="connsiteX208" fmla="*/ 2106195 w 2571696"/>
                <a:gd name="connsiteY208" fmla="*/ 1291393 h 2107613"/>
                <a:gd name="connsiteX209" fmla="*/ 2125920 w 2571696"/>
                <a:gd name="connsiteY209" fmla="*/ 1295186 h 2107613"/>
                <a:gd name="connsiteX210" fmla="*/ 2126761 w 2571696"/>
                <a:gd name="connsiteY210" fmla="*/ 1295347 h 2107613"/>
                <a:gd name="connsiteX211" fmla="*/ 2148857 w 2571696"/>
                <a:gd name="connsiteY211" fmla="*/ 1292100 h 2107613"/>
                <a:gd name="connsiteX212" fmla="*/ 2136378 w 2571696"/>
                <a:gd name="connsiteY212" fmla="*/ 1277706 h 2107613"/>
                <a:gd name="connsiteX213" fmla="*/ 2129651 w 2571696"/>
                <a:gd name="connsiteY213" fmla="*/ 1276588 h 2107613"/>
                <a:gd name="connsiteX214" fmla="*/ 2122002 w 2571696"/>
                <a:gd name="connsiteY214" fmla="*/ 1275121 h 2107613"/>
                <a:gd name="connsiteX215" fmla="*/ 2116733 w 2571696"/>
                <a:gd name="connsiteY215" fmla="*/ 1264923 h 2107613"/>
                <a:gd name="connsiteX216" fmla="*/ 2092088 w 2571696"/>
                <a:gd name="connsiteY216" fmla="*/ 1268108 h 2107613"/>
                <a:gd name="connsiteX217" fmla="*/ 2069832 w 2571696"/>
                <a:gd name="connsiteY217" fmla="*/ 1276204 h 2107613"/>
                <a:gd name="connsiteX218" fmla="*/ 2052165 w 2571696"/>
                <a:gd name="connsiteY218" fmla="*/ 1262329 h 2107613"/>
                <a:gd name="connsiteX219" fmla="*/ 2037950 w 2571696"/>
                <a:gd name="connsiteY219" fmla="*/ 1257668 h 2107613"/>
                <a:gd name="connsiteX220" fmla="*/ 2046010 w 2571696"/>
                <a:gd name="connsiteY220" fmla="*/ 1238257 h 2107613"/>
                <a:gd name="connsiteX221" fmla="*/ 2023870 w 2571696"/>
                <a:gd name="connsiteY221" fmla="*/ 1250467 h 2107613"/>
                <a:gd name="connsiteX222" fmla="*/ 2003743 w 2571696"/>
                <a:gd name="connsiteY222" fmla="*/ 1262347 h 2107613"/>
                <a:gd name="connsiteX223" fmla="*/ 1984376 w 2571696"/>
                <a:gd name="connsiteY223" fmla="*/ 1271623 h 2107613"/>
                <a:gd name="connsiteX224" fmla="*/ 1968998 w 2571696"/>
                <a:gd name="connsiteY224" fmla="*/ 1259091 h 2107613"/>
                <a:gd name="connsiteX225" fmla="*/ 1943870 w 2571696"/>
                <a:gd name="connsiteY225" fmla="*/ 1266703 h 2107613"/>
                <a:gd name="connsiteX226" fmla="*/ 1943951 w 2571696"/>
                <a:gd name="connsiteY226" fmla="*/ 1261345 h 2107613"/>
                <a:gd name="connsiteX227" fmla="*/ 1960974 w 2571696"/>
                <a:gd name="connsiteY227" fmla="*/ 1245869 h 2107613"/>
                <a:gd name="connsiteX228" fmla="*/ 1978785 w 2571696"/>
                <a:gd name="connsiteY228" fmla="*/ 1231073 h 2107613"/>
                <a:gd name="connsiteX229" fmla="*/ 2004369 w 2571696"/>
                <a:gd name="connsiteY229" fmla="*/ 1218773 h 2107613"/>
                <a:gd name="connsiteX230" fmla="*/ 1973516 w 2571696"/>
                <a:gd name="connsiteY230" fmla="*/ 1209032 h 2107613"/>
                <a:gd name="connsiteX231" fmla="*/ 1953200 w 2571696"/>
                <a:gd name="connsiteY231" fmla="*/ 1213907 h 2107613"/>
                <a:gd name="connsiteX232" fmla="*/ 1928869 w 2571696"/>
                <a:gd name="connsiteY232" fmla="*/ 1202251 h 2107613"/>
                <a:gd name="connsiteX233" fmla="*/ 1903258 w 2571696"/>
                <a:gd name="connsiteY233" fmla="*/ 1196240 h 2107613"/>
                <a:gd name="connsiteX234" fmla="*/ 1885742 w 2571696"/>
                <a:gd name="connsiteY234" fmla="*/ 1193914 h 2107613"/>
                <a:gd name="connsiteX235" fmla="*/ 1877942 w 2571696"/>
                <a:gd name="connsiteY235" fmla="*/ 1187491 h 2107613"/>
                <a:gd name="connsiteX236" fmla="*/ 1873487 w 2571696"/>
                <a:gd name="connsiteY236" fmla="*/ 1166514 h 2107613"/>
                <a:gd name="connsiteX237" fmla="*/ 1864998 w 2571696"/>
                <a:gd name="connsiteY237" fmla="*/ 1166702 h 2107613"/>
                <a:gd name="connsiteX238" fmla="*/ 1864926 w 2571696"/>
                <a:gd name="connsiteY238" fmla="*/ 1181408 h 2107613"/>
                <a:gd name="connsiteX239" fmla="*/ 1813016 w 2571696"/>
                <a:gd name="connsiteY239" fmla="*/ 1181381 h 2107613"/>
                <a:gd name="connsiteX240" fmla="*/ 1727201 w 2571696"/>
                <a:gd name="connsiteY240" fmla="*/ 1181408 h 2107613"/>
                <a:gd name="connsiteX241" fmla="*/ 1641969 w 2571696"/>
                <a:gd name="connsiteY241" fmla="*/ 1181408 h 2107613"/>
                <a:gd name="connsiteX242" fmla="*/ 1566674 w 2571696"/>
                <a:gd name="connsiteY242" fmla="*/ 1181408 h 2107613"/>
                <a:gd name="connsiteX243" fmla="*/ 1491425 w 2571696"/>
                <a:gd name="connsiteY243" fmla="*/ 1181408 h 2107613"/>
                <a:gd name="connsiteX244" fmla="*/ 1417437 w 2571696"/>
                <a:gd name="connsiteY244" fmla="*/ 1181408 h 2107613"/>
                <a:gd name="connsiteX245" fmla="*/ 1340988 w 2571696"/>
                <a:gd name="connsiteY245" fmla="*/ 1181408 h 2107613"/>
                <a:gd name="connsiteX246" fmla="*/ 1316335 w 2571696"/>
                <a:gd name="connsiteY246" fmla="*/ 1181408 h 2107613"/>
                <a:gd name="connsiteX247" fmla="*/ 1241872 w 2571696"/>
                <a:gd name="connsiteY247" fmla="*/ 1181408 h 2107613"/>
                <a:gd name="connsiteX248" fmla="*/ 1170639 w 2571696"/>
                <a:gd name="connsiteY248" fmla="*/ 1181408 h 2107613"/>
                <a:gd name="connsiteX249" fmla="*/ 1179173 w 2571696"/>
                <a:gd name="connsiteY249" fmla="*/ 1212413 h 2107613"/>
                <a:gd name="connsiteX250" fmla="*/ 1183181 w 2571696"/>
                <a:gd name="connsiteY250" fmla="*/ 1242917 h 2107613"/>
                <a:gd name="connsiteX251" fmla="*/ 1176982 w 2571696"/>
                <a:gd name="connsiteY251" fmla="*/ 1252641 h 2107613"/>
                <a:gd name="connsiteX252" fmla="*/ 1163617 w 2571696"/>
                <a:gd name="connsiteY252" fmla="*/ 1217655 h 2107613"/>
                <a:gd name="connsiteX253" fmla="*/ 1127343 w 2571696"/>
                <a:gd name="connsiteY253" fmla="*/ 1204908 h 2107613"/>
                <a:gd name="connsiteX254" fmla="*/ 1124311 w 2571696"/>
                <a:gd name="connsiteY254" fmla="*/ 1212243 h 2107613"/>
                <a:gd name="connsiteX255" fmla="*/ 1131619 w 2571696"/>
                <a:gd name="connsiteY255" fmla="*/ 1229580 h 2107613"/>
                <a:gd name="connsiteX256" fmla="*/ 1139545 w 2571696"/>
                <a:gd name="connsiteY256" fmla="*/ 1261112 h 2107613"/>
                <a:gd name="connsiteX257" fmla="*/ 1144071 w 2571696"/>
                <a:gd name="connsiteY257" fmla="*/ 1309561 h 2107613"/>
                <a:gd name="connsiteX258" fmla="*/ 1141021 w 2571696"/>
                <a:gd name="connsiteY258" fmla="*/ 1341685 h 2107613"/>
                <a:gd name="connsiteX259" fmla="*/ 1137970 w 2571696"/>
                <a:gd name="connsiteY259" fmla="*/ 1373307 h 2107613"/>
                <a:gd name="connsiteX260" fmla="*/ 1128166 w 2571696"/>
                <a:gd name="connsiteY260" fmla="*/ 1405636 h 2107613"/>
                <a:gd name="connsiteX261" fmla="*/ 1136172 w 2571696"/>
                <a:gd name="connsiteY261" fmla="*/ 1431560 h 2107613"/>
                <a:gd name="connsiteX262" fmla="*/ 1137049 w 2571696"/>
                <a:gd name="connsiteY262" fmla="*/ 1460203 h 2107613"/>
                <a:gd name="connsiteX263" fmla="*/ 1131547 w 2571696"/>
                <a:gd name="connsiteY263" fmla="*/ 1487532 h 2107613"/>
                <a:gd name="connsiteX264" fmla="*/ 1144912 w 2571696"/>
                <a:gd name="connsiteY264" fmla="*/ 1505351 h 2107613"/>
                <a:gd name="connsiteX265" fmla="*/ 1148374 w 2571696"/>
                <a:gd name="connsiteY265" fmla="*/ 1531696 h 2107613"/>
                <a:gd name="connsiteX266" fmla="*/ 1167786 w 2571696"/>
                <a:gd name="connsiteY266" fmla="*/ 1558452 h 2107613"/>
                <a:gd name="connsiteX267" fmla="*/ 1178851 w 2571696"/>
                <a:gd name="connsiteY267" fmla="*/ 1568909 h 2107613"/>
                <a:gd name="connsiteX268" fmla="*/ 1177957 w 2571696"/>
                <a:gd name="connsiteY268" fmla="*/ 1576218 h 2107613"/>
                <a:gd name="connsiteX269" fmla="*/ 1198844 w 2571696"/>
                <a:gd name="connsiteY269" fmla="*/ 1619612 h 2107613"/>
                <a:gd name="connsiteX270" fmla="*/ 1223176 w 2571696"/>
                <a:gd name="connsiteY270" fmla="*/ 1650492 h 2107613"/>
                <a:gd name="connsiteX271" fmla="*/ 1226227 w 2571696"/>
                <a:gd name="connsiteY271" fmla="*/ 1667184 h 2107613"/>
                <a:gd name="connsiteX272" fmla="*/ 1232623 w 2571696"/>
                <a:gd name="connsiteY272" fmla="*/ 1672078 h 2107613"/>
                <a:gd name="connsiteX273" fmla="*/ 1255926 w 2571696"/>
                <a:gd name="connsiteY273" fmla="*/ 1675057 h 2107613"/>
                <a:gd name="connsiteX274" fmla="*/ 1264898 w 2571696"/>
                <a:gd name="connsiteY274" fmla="*/ 1683224 h 2107613"/>
                <a:gd name="connsiteX275" fmla="*/ 1278969 w 2571696"/>
                <a:gd name="connsiteY275" fmla="*/ 1684736 h 2107613"/>
                <a:gd name="connsiteX276" fmla="*/ 1281716 w 2571696"/>
                <a:gd name="connsiteY276" fmla="*/ 1693368 h 2107613"/>
                <a:gd name="connsiteX277" fmla="*/ 1293416 w 2571696"/>
                <a:gd name="connsiteY277" fmla="*/ 1696955 h 2107613"/>
                <a:gd name="connsiteX278" fmla="*/ 1309670 w 2571696"/>
                <a:gd name="connsiteY278" fmla="*/ 1714130 h 2107613"/>
                <a:gd name="connsiteX279" fmla="*/ 1313893 w 2571696"/>
                <a:gd name="connsiteY279" fmla="*/ 1729302 h 2107613"/>
                <a:gd name="connsiteX280" fmla="*/ 1342393 w 2571696"/>
                <a:gd name="connsiteY280" fmla="*/ 1727021 h 2107613"/>
                <a:gd name="connsiteX281" fmla="*/ 1374248 w 2571696"/>
                <a:gd name="connsiteY281" fmla="*/ 1723809 h 2107613"/>
                <a:gd name="connsiteX282" fmla="*/ 1371895 w 2571696"/>
                <a:gd name="connsiteY282" fmla="*/ 1729606 h 2107613"/>
                <a:gd name="connsiteX283" fmla="*/ 1409770 w 2571696"/>
                <a:gd name="connsiteY283" fmla="*/ 1743955 h 2107613"/>
                <a:gd name="connsiteX284" fmla="*/ 1466986 w 2571696"/>
                <a:gd name="connsiteY284" fmla="*/ 1764619 h 2107613"/>
                <a:gd name="connsiteX285" fmla="*/ 1516866 w 2571696"/>
                <a:gd name="connsiteY285" fmla="*/ 1764413 h 2107613"/>
                <a:gd name="connsiteX286" fmla="*/ 1536752 w 2571696"/>
                <a:gd name="connsiteY286" fmla="*/ 1764404 h 2107613"/>
                <a:gd name="connsiteX287" fmla="*/ 1536805 w 2571696"/>
                <a:gd name="connsiteY287" fmla="*/ 1752319 h 2107613"/>
                <a:gd name="connsiteX288" fmla="*/ 1580254 w 2571696"/>
                <a:gd name="connsiteY288" fmla="*/ 1752328 h 2107613"/>
                <a:gd name="connsiteX289" fmla="*/ 1589396 w 2571696"/>
                <a:gd name="connsiteY289" fmla="*/ 1762722 h 2107613"/>
                <a:gd name="connsiteX290" fmla="*/ 1602224 w 2571696"/>
                <a:gd name="connsiteY290" fmla="*/ 1771954 h 2107613"/>
                <a:gd name="connsiteX291" fmla="*/ 1617127 w 2571696"/>
                <a:gd name="connsiteY291" fmla="*/ 1784737 h 2107613"/>
                <a:gd name="connsiteX292" fmla="*/ 1625446 w 2571696"/>
                <a:gd name="connsiteY292" fmla="*/ 1799846 h 2107613"/>
                <a:gd name="connsiteX293" fmla="*/ 1631690 w 2571696"/>
                <a:gd name="connsiteY293" fmla="*/ 1815671 h 2107613"/>
                <a:gd name="connsiteX294" fmla="*/ 1644652 w 2571696"/>
                <a:gd name="connsiteY294" fmla="*/ 1824321 h 2107613"/>
                <a:gd name="connsiteX295" fmla="*/ 1665477 w 2571696"/>
                <a:gd name="connsiteY295" fmla="*/ 1832891 h 2107613"/>
                <a:gd name="connsiteX296" fmla="*/ 1681275 w 2571696"/>
                <a:gd name="connsiteY296" fmla="*/ 1810277 h 2107613"/>
                <a:gd name="connsiteX297" fmla="*/ 1701778 w 2571696"/>
                <a:gd name="connsiteY297" fmla="*/ 1809713 h 2107613"/>
                <a:gd name="connsiteX298" fmla="*/ 1719455 w 2571696"/>
                <a:gd name="connsiteY298" fmla="*/ 1821154 h 2107613"/>
                <a:gd name="connsiteX299" fmla="*/ 1732041 w 2571696"/>
                <a:gd name="connsiteY299" fmla="*/ 1840691 h 2107613"/>
                <a:gd name="connsiteX300" fmla="*/ 1740709 w 2571696"/>
                <a:gd name="connsiteY300" fmla="*/ 1857321 h 2107613"/>
                <a:gd name="connsiteX301" fmla="*/ 1755505 w 2571696"/>
                <a:gd name="connsiteY301" fmla="*/ 1873396 h 2107613"/>
                <a:gd name="connsiteX302" fmla="*/ 1761024 w 2571696"/>
                <a:gd name="connsiteY302" fmla="*/ 1893031 h 2107613"/>
                <a:gd name="connsiteX303" fmla="*/ 1768047 w 2571696"/>
                <a:gd name="connsiteY303" fmla="*/ 1906145 h 2107613"/>
                <a:gd name="connsiteX304" fmla="*/ 1787610 w 2571696"/>
                <a:gd name="connsiteY304" fmla="*/ 1914760 h 2107613"/>
                <a:gd name="connsiteX305" fmla="*/ 1805421 w 2571696"/>
                <a:gd name="connsiteY305" fmla="*/ 1920861 h 2107613"/>
                <a:gd name="connsiteX306" fmla="*/ 1815198 w 2571696"/>
                <a:gd name="connsiteY306" fmla="*/ 1920029 h 2107613"/>
                <a:gd name="connsiteX307" fmla="*/ 1810430 w 2571696"/>
                <a:gd name="connsiteY307" fmla="*/ 1910591 h 2107613"/>
                <a:gd name="connsiteX308" fmla="*/ 1809178 w 2571696"/>
                <a:gd name="connsiteY308" fmla="*/ 1897218 h 2107613"/>
                <a:gd name="connsiteX309" fmla="*/ 1809429 w 2571696"/>
                <a:gd name="connsiteY309" fmla="*/ 1877887 h 2107613"/>
                <a:gd name="connsiteX310" fmla="*/ 1815198 w 2571696"/>
                <a:gd name="connsiteY310" fmla="*/ 1865220 h 2107613"/>
                <a:gd name="connsiteX311" fmla="*/ 1828894 w 2571696"/>
                <a:gd name="connsiteY311" fmla="*/ 1851721 h 2107613"/>
                <a:gd name="connsiteX312" fmla="*/ 1853825 w 2571696"/>
                <a:gd name="connsiteY312" fmla="*/ 1839475 h 2107613"/>
                <a:gd name="connsiteX313" fmla="*/ 1876654 w 2571696"/>
                <a:gd name="connsiteY313" fmla="*/ 1818301 h 2107613"/>
                <a:gd name="connsiteX314" fmla="*/ 1897756 w 2571696"/>
                <a:gd name="connsiteY314" fmla="*/ 1811592 h 2107613"/>
                <a:gd name="connsiteX315" fmla="*/ 1913357 w 2571696"/>
                <a:gd name="connsiteY315" fmla="*/ 1809579 h 2107613"/>
                <a:gd name="connsiteX316" fmla="*/ 1931606 w 2571696"/>
                <a:gd name="connsiteY316" fmla="*/ 1816225 h 2107613"/>
                <a:gd name="connsiteX317" fmla="*/ 1953478 w 2571696"/>
                <a:gd name="connsiteY317" fmla="*/ 1812647 h 2107613"/>
                <a:gd name="connsiteX318" fmla="*/ 1972201 w 2571696"/>
                <a:gd name="connsiteY318" fmla="*/ 1827783 h 2107613"/>
                <a:gd name="connsiteX319" fmla="*/ 1990405 w 2571696"/>
                <a:gd name="connsiteY319" fmla="*/ 1828677 h 2107613"/>
                <a:gd name="connsiteX320" fmla="*/ 1999815 w 2571696"/>
                <a:gd name="connsiteY320" fmla="*/ 1823256 h 2107613"/>
                <a:gd name="connsiteX321" fmla="*/ 2009128 w 2571696"/>
                <a:gd name="connsiteY321" fmla="*/ 1827479 h 2107613"/>
                <a:gd name="connsiteX322" fmla="*/ 2013905 w 2571696"/>
                <a:gd name="connsiteY322" fmla="*/ 1823722 h 2107613"/>
                <a:gd name="connsiteX323" fmla="*/ 2008582 w 2571696"/>
                <a:gd name="connsiteY323" fmla="*/ 1818068 h 2107613"/>
                <a:gd name="connsiteX324" fmla="*/ 2008985 w 2571696"/>
                <a:gd name="connsiteY324" fmla="*/ 1806421 h 2107613"/>
                <a:gd name="connsiteX325" fmla="*/ 2004467 w 2571696"/>
                <a:gd name="connsiteY325" fmla="*/ 1798764 h 2107613"/>
                <a:gd name="connsiteX326" fmla="*/ 2014835 w 2571696"/>
                <a:gd name="connsiteY326" fmla="*/ 1794255 h 2107613"/>
                <a:gd name="connsiteX327" fmla="*/ 2033960 w 2571696"/>
                <a:gd name="connsiteY327" fmla="*/ 1792260 h 2107613"/>
                <a:gd name="connsiteX328" fmla="*/ 2056217 w 2571696"/>
                <a:gd name="connsiteY328" fmla="*/ 1795454 h 2107613"/>
                <a:gd name="connsiteX329" fmla="*/ 2084565 w 2571696"/>
                <a:gd name="connsiteY329" fmla="*/ 1791822 h 2107613"/>
                <a:gd name="connsiteX330" fmla="*/ 2100291 w 2571696"/>
                <a:gd name="connsiteY330" fmla="*/ 1798969 h 2107613"/>
                <a:gd name="connsiteX331" fmla="*/ 2112466 w 2571696"/>
                <a:gd name="connsiteY331" fmla="*/ 1812405 h 2107613"/>
                <a:gd name="connsiteX332" fmla="*/ 2116957 w 2571696"/>
                <a:gd name="connsiteY332" fmla="*/ 1813837 h 2107613"/>
                <a:gd name="connsiteX333" fmla="*/ 2142264 w 2571696"/>
                <a:gd name="connsiteY333" fmla="*/ 1800776 h 2107613"/>
                <a:gd name="connsiteX334" fmla="*/ 2152050 w 2571696"/>
                <a:gd name="connsiteY334" fmla="*/ 1805195 h 2107613"/>
                <a:gd name="connsiteX335" fmla="*/ 2171605 w 2571696"/>
                <a:gd name="connsiteY335" fmla="*/ 1829187 h 2107613"/>
                <a:gd name="connsiteX336" fmla="*/ 2178627 w 2571696"/>
                <a:gd name="connsiteY336" fmla="*/ 1844851 h 2107613"/>
                <a:gd name="connsiteX337" fmla="*/ 2173475 w 2571696"/>
                <a:gd name="connsiteY337" fmla="*/ 1863646 h 2107613"/>
                <a:gd name="connsiteX338" fmla="*/ 2177241 w 2571696"/>
                <a:gd name="connsiteY338" fmla="*/ 1874666 h 2107613"/>
                <a:gd name="connsiteX339" fmla="*/ 2188906 w 2571696"/>
                <a:gd name="connsiteY339" fmla="*/ 1896109 h 2107613"/>
                <a:gd name="connsiteX340" fmla="*/ 2202199 w 2571696"/>
                <a:gd name="connsiteY340" fmla="*/ 1920038 h 2107613"/>
                <a:gd name="connsiteX341" fmla="*/ 2211726 w 2571696"/>
                <a:gd name="connsiteY341" fmla="*/ 1926407 h 2107613"/>
                <a:gd name="connsiteX342" fmla="*/ 2215679 w 2571696"/>
                <a:gd name="connsiteY342" fmla="*/ 1938519 h 2107613"/>
                <a:gd name="connsiteX343" fmla="*/ 2228024 w 2571696"/>
                <a:gd name="connsiteY343" fmla="*/ 1941865 h 2107613"/>
                <a:gd name="connsiteX344" fmla="*/ 2235520 w 2571696"/>
                <a:gd name="connsiteY344" fmla="*/ 1938385 h 2107613"/>
                <a:gd name="connsiteX345" fmla="*/ 2241773 w 2571696"/>
                <a:gd name="connsiteY345" fmla="*/ 1921505 h 2107613"/>
                <a:gd name="connsiteX346" fmla="*/ 2242865 w 2571696"/>
                <a:gd name="connsiteY346" fmla="*/ 1910708 h 2107613"/>
                <a:gd name="connsiteX347" fmla="*/ 2243652 w 2571696"/>
                <a:gd name="connsiteY347" fmla="*/ 1891904 h 2107613"/>
                <a:gd name="connsiteX348" fmla="*/ 2231772 w 2571696"/>
                <a:gd name="connsiteY348" fmla="*/ 1859289 h 2107613"/>
                <a:gd name="connsiteX349" fmla="*/ 2231629 w 2571696"/>
                <a:gd name="connsiteY349" fmla="*/ 1847043 h 2107613"/>
                <a:gd name="connsiteX350" fmla="*/ 2220483 w 2571696"/>
                <a:gd name="connsiteY350" fmla="*/ 1826888 h 2107613"/>
                <a:gd name="connsiteX351" fmla="*/ 2212110 w 2571696"/>
                <a:gd name="connsiteY351" fmla="*/ 1802333 h 2107613"/>
                <a:gd name="connsiteX352" fmla="*/ 2207673 w 2571696"/>
                <a:gd name="connsiteY352" fmla="*/ 1782241 h 2107613"/>
                <a:gd name="connsiteX353" fmla="*/ 2211547 w 2571696"/>
                <a:gd name="connsiteY353" fmla="*/ 1761533 h 2107613"/>
                <a:gd name="connsiteX354" fmla="*/ 2223364 w 2571696"/>
                <a:gd name="connsiteY354" fmla="*/ 1744134 h 2107613"/>
                <a:gd name="connsiteX355" fmla="*/ 2237506 w 2571696"/>
                <a:gd name="connsiteY355" fmla="*/ 1730080 h 2107613"/>
                <a:gd name="connsiteX356" fmla="*/ 2265041 w 2571696"/>
                <a:gd name="connsiteY356" fmla="*/ 1710794 h 2107613"/>
                <a:gd name="connsiteX357" fmla="*/ 2268628 w 2571696"/>
                <a:gd name="connsiteY357" fmla="*/ 1700766 h 2107613"/>
                <a:gd name="connsiteX358" fmla="*/ 2281322 w 2571696"/>
                <a:gd name="connsiteY358" fmla="*/ 1689745 h 2107613"/>
                <a:gd name="connsiteX359" fmla="*/ 2293845 w 2571696"/>
                <a:gd name="connsiteY359" fmla="*/ 1687822 h 2107613"/>
                <a:gd name="connsiteX360" fmla="*/ 2310332 w 2571696"/>
                <a:gd name="connsiteY360" fmla="*/ 1670110 h 2107613"/>
                <a:gd name="connsiteX361" fmla="*/ 2336283 w 2571696"/>
                <a:gd name="connsiteY361" fmla="*/ 1661110 h 2107613"/>
                <a:gd name="connsiteX362" fmla="*/ 2352223 w 2571696"/>
                <a:gd name="connsiteY362" fmla="*/ 1638442 h 2107613"/>
                <a:gd name="connsiteX363" fmla="*/ 2348699 w 2571696"/>
                <a:gd name="connsiteY363" fmla="*/ 1607536 h 2107613"/>
                <a:gd name="connsiteX364" fmla="*/ 2346096 w 2571696"/>
                <a:gd name="connsiteY364" fmla="*/ 1596756 h 2107613"/>
                <a:gd name="connsiteX365" fmla="*/ 2338895 w 2571696"/>
                <a:gd name="connsiteY365" fmla="*/ 1594601 h 2107613"/>
                <a:gd name="connsiteX366" fmla="*/ 2337821 w 2571696"/>
                <a:gd name="connsiteY366" fmla="*/ 1564669 h 2107613"/>
                <a:gd name="connsiteX367" fmla="*/ 2320557 w 2571696"/>
                <a:gd name="connsiteY367" fmla="*/ 1554444 h 2107613"/>
                <a:gd name="connsiteX368" fmla="*/ 2337132 w 2571696"/>
                <a:gd name="connsiteY368" fmla="*/ 1559427 h 2107613"/>
                <a:gd name="connsiteX369" fmla="*/ 2331783 w 2571696"/>
                <a:gd name="connsiteY369" fmla="*/ 1539210 h 2107613"/>
                <a:gd name="connsiteX370" fmla="*/ 2336614 w 2571696"/>
                <a:gd name="connsiteY370" fmla="*/ 1525327 h 2107613"/>
                <a:gd name="connsiteX371" fmla="*/ 2339557 w 2571696"/>
                <a:gd name="connsiteY371" fmla="*/ 1551931 h 2107613"/>
                <a:gd name="connsiteX372" fmla="*/ 2352367 w 2571696"/>
                <a:gd name="connsiteY372" fmla="*/ 1564061 h 2107613"/>
                <a:gd name="connsiteX373" fmla="*/ 2344611 w 2571696"/>
                <a:gd name="connsiteY373" fmla="*/ 1585512 h 2107613"/>
                <a:gd name="connsiteX374" fmla="*/ 2346892 w 2571696"/>
                <a:gd name="connsiteY374" fmla="*/ 1586755 h 2107613"/>
                <a:gd name="connsiteX375" fmla="*/ 2361008 w 2571696"/>
                <a:gd name="connsiteY375" fmla="*/ 1561574 h 2107613"/>
                <a:gd name="connsiteX376" fmla="*/ 2369050 w 2571696"/>
                <a:gd name="connsiteY376" fmla="*/ 1549220 h 2107613"/>
                <a:gd name="connsiteX377" fmla="*/ 2368674 w 2571696"/>
                <a:gd name="connsiteY377" fmla="*/ 1537144 h 2107613"/>
                <a:gd name="connsiteX378" fmla="*/ 2362448 w 2571696"/>
                <a:gd name="connsiteY378" fmla="*/ 1531428 h 2107613"/>
                <a:gd name="connsiteX379" fmla="*/ 2357233 w 2571696"/>
                <a:gd name="connsiteY379" fmla="*/ 1514064 h 2107613"/>
                <a:gd name="connsiteX380" fmla="*/ 2365463 w 2571696"/>
                <a:gd name="connsiteY380" fmla="*/ 1522142 h 2107613"/>
                <a:gd name="connsiteX381" fmla="*/ 2370973 w 2571696"/>
                <a:gd name="connsiteY381" fmla="*/ 1523824 h 2107613"/>
                <a:gd name="connsiteX382" fmla="*/ 2372834 w 2571696"/>
                <a:gd name="connsiteY382" fmla="*/ 1532089 h 2107613"/>
                <a:gd name="connsiteX383" fmla="*/ 2391083 w 2571696"/>
                <a:gd name="connsiteY383" fmla="*/ 1507230 h 2107613"/>
                <a:gd name="connsiteX384" fmla="*/ 2396495 w 2571696"/>
                <a:gd name="connsiteY384" fmla="*/ 1483775 h 2107613"/>
                <a:gd name="connsiteX385" fmla="*/ 2389115 w 2571696"/>
                <a:gd name="connsiteY385" fmla="*/ 1482272 h 2107613"/>
                <a:gd name="connsiteX386" fmla="*/ 2396754 w 2571696"/>
                <a:gd name="connsiteY386" fmla="*/ 1473148 h 2107613"/>
                <a:gd name="connsiteX387" fmla="*/ 2396012 w 2571696"/>
                <a:gd name="connsiteY387" fmla="*/ 1477191 h 2107613"/>
                <a:gd name="connsiteX388" fmla="*/ 2411988 w 2571696"/>
                <a:gd name="connsiteY388" fmla="*/ 1477128 h 2107613"/>
                <a:gd name="connsiteX389" fmla="*/ 2447099 w 2571696"/>
                <a:gd name="connsiteY389" fmla="*/ 1467234 h 2107613"/>
                <a:gd name="connsiteX390" fmla="*/ 2439666 w 2571696"/>
                <a:gd name="connsiteY390" fmla="*/ 1460955 h 2107613"/>
                <a:gd name="connsiteX391" fmla="*/ 2402828 w 2571696"/>
                <a:gd name="connsiteY391" fmla="*/ 1467190 h 2107613"/>
                <a:gd name="connsiteX392" fmla="*/ 2423734 w 2571696"/>
                <a:gd name="connsiteY392" fmla="*/ 1457591 h 2107613"/>
                <a:gd name="connsiteX393" fmla="*/ 2438315 w 2571696"/>
                <a:gd name="connsiteY393" fmla="*/ 1455945 h 2107613"/>
                <a:gd name="connsiteX394" fmla="*/ 2449229 w 2571696"/>
                <a:gd name="connsiteY394" fmla="*/ 1454281 h 2107613"/>
                <a:gd name="connsiteX395" fmla="*/ 2467782 w 2571696"/>
                <a:gd name="connsiteY395" fmla="*/ 1448467 h 2107613"/>
                <a:gd name="connsiteX396" fmla="*/ 2479831 w 2571696"/>
                <a:gd name="connsiteY396" fmla="*/ 1449120 h 2107613"/>
                <a:gd name="connsiteX397" fmla="*/ 2496765 w 2571696"/>
                <a:gd name="connsiteY397" fmla="*/ 1443708 h 2107613"/>
                <a:gd name="connsiteX398" fmla="*/ 2498769 w 2571696"/>
                <a:gd name="connsiteY398" fmla="*/ 1434136 h 2107613"/>
                <a:gd name="connsiteX399" fmla="*/ 2491246 w 2571696"/>
                <a:gd name="connsiteY399" fmla="*/ 1426667 h 2107613"/>
                <a:gd name="connsiteX400" fmla="*/ 2493876 w 2571696"/>
                <a:gd name="connsiteY400" fmla="*/ 1438940 h 2107613"/>
                <a:gd name="connsiteX401" fmla="*/ 2483463 w 2571696"/>
                <a:gd name="connsiteY401" fmla="*/ 1438099 h 2107613"/>
                <a:gd name="connsiteX402" fmla="*/ 2475188 w 2571696"/>
                <a:gd name="connsiteY402" fmla="*/ 1420253 h 2107613"/>
                <a:gd name="connsiteX403" fmla="*/ 2475439 w 2571696"/>
                <a:gd name="connsiteY403" fmla="*/ 1402246 h 2107613"/>
                <a:gd name="connsiteX404" fmla="*/ 2479688 w 2571696"/>
                <a:gd name="connsiteY404" fmla="*/ 1394561 h 2107613"/>
                <a:gd name="connsiteX405" fmla="*/ 2492963 w 2571696"/>
                <a:gd name="connsiteY405" fmla="*/ 1374139 h 2107613"/>
                <a:gd name="connsiteX406" fmla="*/ 2519451 w 2571696"/>
                <a:gd name="connsiteY406" fmla="*/ 1363887 h 2107613"/>
                <a:gd name="connsiteX407" fmla="*/ 2545223 w 2571696"/>
                <a:gd name="connsiteY407" fmla="*/ 1351865 h 2107613"/>
                <a:gd name="connsiteX408" fmla="*/ 2572005 w 2571696"/>
                <a:gd name="connsiteY408" fmla="*/ 1334868 h 2107613"/>
                <a:gd name="connsiteX409" fmla="*/ 2567676 w 2571696"/>
                <a:gd name="connsiteY409" fmla="*/ 1323284 h 2107613"/>
                <a:gd name="connsiteX410" fmla="*/ 2551279 w 2571696"/>
                <a:gd name="connsiteY410" fmla="*/ 1303147 h 2107613"/>
                <a:gd name="connsiteX411" fmla="*/ 2551377 w 2571696"/>
                <a:gd name="connsiteY411" fmla="*/ 1253696 h 2107613"/>
                <a:gd name="connsiteX412" fmla="*/ 408420 w 2571696"/>
                <a:gd name="connsiteY412" fmla="*/ 802405 h 2107613"/>
                <a:gd name="connsiteX413" fmla="*/ 395029 w 2571696"/>
                <a:gd name="connsiteY413" fmla="*/ 809579 h 2107613"/>
                <a:gd name="connsiteX414" fmla="*/ 372245 w 2571696"/>
                <a:gd name="connsiteY414" fmla="*/ 826200 h 2107613"/>
                <a:gd name="connsiteX415" fmla="*/ 376127 w 2571696"/>
                <a:gd name="connsiteY415" fmla="*/ 847857 h 2107613"/>
                <a:gd name="connsiteX416" fmla="*/ 388955 w 2571696"/>
                <a:gd name="connsiteY416" fmla="*/ 859674 h 2107613"/>
                <a:gd name="connsiteX417" fmla="*/ 414002 w 2571696"/>
                <a:gd name="connsiteY417" fmla="*/ 842186 h 2107613"/>
                <a:gd name="connsiteX418" fmla="*/ 435704 w 2571696"/>
                <a:gd name="connsiteY418" fmla="*/ 820135 h 2107613"/>
                <a:gd name="connsiteX419" fmla="*/ 425077 w 2571696"/>
                <a:gd name="connsiteY419" fmla="*/ 805581 h 2107613"/>
                <a:gd name="connsiteX420" fmla="*/ 408420 w 2571696"/>
                <a:gd name="connsiteY420" fmla="*/ 802405 h 2107613"/>
                <a:gd name="connsiteX421" fmla="*/ 309 w 2571696"/>
                <a:gd name="connsiteY421" fmla="*/ 546913 h 2107613"/>
                <a:gd name="connsiteX422" fmla="*/ 18575 w 2571696"/>
                <a:gd name="connsiteY422" fmla="*/ 535659 h 2107613"/>
                <a:gd name="connsiteX423" fmla="*/ 20642 w 2571696"/>
                <a:gd name="connsiteY423" fmla="*/ 529603 h 2107613"/>
                <a:gd name="connsiteX424" fmla="*/ 309 w 2571696"/>
                <a:gd name="connsiteY424" fmla="*/ 523502 h 2107613"/>
                <a:gd name="connsiteX425" fmla="*/ 309 w 2571696"/>
                <a:gd name="connsiteY425" fmla="*/ 546913 h 2107613"/>
                <a:gd name="connsiteX426" fmla="*/ 76363 w 2571696"/>
                <a:gd name="connsiteY426" fmla="*/ 684333 h 2107613"/>
                <a:gd name="connsiteX427" fmla="*/ 51593 w 2571696"/>
                <a:gd name="connsiteY427" fmla="*/ 692984 h 2107613"/>
                <a:gd name="connsiteX428" fmla="*/ 66818 w 2571696"/>
                <a:gd name="connsiteY428" fmla="*/ 706617 h 2107613"/>
                <a:gd name="connsiteX429" fmla="*/ 83260 w 2571696"/>
                <a:gd name="connsiteY429" fmla="*/ 715938 h 2107613"/>
                <a:gd name="connsiteX430" fmla="*/ 98655 w 2571696"/>
                <a:gd name="connsiteY430" fmla="*/ 708182 h 2107613"/>
                <a:gd name="connsiteX431" fmla="*/ 96258 w 2571696"/>
                <a:gd name="connsiteY431" fmla="*/ 688914 h 2107613"/>
                <a:gd name="connsiteX432" fmla="*/ 76363 w 2571696"/>
                <a:gd name="connsiteY432" fmla="*/ 684333 h 2107613"/>
                <a:gd name="connsiteX433" fmla="*/ 947145 w 2571696"/>
                <a:gd name="connsiteY433" fmla="*/ 975062 h 2107613"/>
                <a:gd name="connsiteX434" fmla="*/ 923073 w 2571696"/>
                <a:gd name="connsiteY434" fmla="*/ 978470 h 2107613"/>
                <a:gd name="connsiteX435" fmla="*/ 911282 w 2571696"/>
                <a:gd name="connsiteY435" fmla="*/ 972924 h 2107613"/>
                <a:gd name="connsiteX436" fmla="*/ 909789 w 2571696"/>
                <a:gd name="connsiteY436" fmla="*/ 986503 h 2107613"/>
                <a:gd name="connsiteX437" fmla="*/ 914431 w 2571696"/>
                <a:gd name="connsiteY437" fmla="*/ 1005056 h 2107613"/>
                <a:gd name="connsiteX438" fmla="*/ 927089 w 2571696"/>
                <a:gd name="connsiteY438" fmla="*/ 1018081 h 2107613"/>
                <a:gd name="connsiteX439" fmla="*/ 936357 w 2571696"/>
                <a:gd name="connsiteY439" fmla="*/ 1037162 h 2107613"/>
                <a:gd name="connsiteX440" fmla="*/ 951466 w 2571696"/>
                <a:gd name="connsiteY440" fmla="*/ 1055921 h 2107613"/>
                <a:gd name="connsiteX441" fmla="*/ 961467 w 2571696"/>
                <a:gd name="connsiteY441" fmla="*/ 1056001 h 2107613"/>
                <a:gd name="connsiteX442" fmla="*/ 939640 w 2571696"/>
                <a:gd name="connsiteY442" fmla="*/ 1022885 h 2107613"/>
                <a:gd name="connsiteX443" fmla="*/ 947145 w 2571696"/>
                <a:gd name="connsiteY443" fmla="*/ 975062 h 2107613"/>
                <a:gd name="connsiteX444" fmla="*/ 332464 w 2571696"/>
                <a:gd name="connsiteY444" fmla="*/ 2054650 h 2107613"/>
                <a:gd name="connsiteX445" fmla="*/ 323545 w 2571696"/>
                <a:gd name="connsiteY445" fmla="*/ 2052109 h 2107613"/>
                <a:gd name="connsiteX446" fmla="*/ 321094 w 2571696"/>
                <a:gd name="connsiteY446" fmla="*/ 2054399 h 2107613"/>
                <a:gd name="connsiteX447" fmla="*/ 321318 w 2571696"/>
                <a:gd name="connsiteY447" fmla="*/ 2056063 h 2107613"/>
                <a:gd name="connsiteX448" fmla="*/ 324198 w 2571696"/>
                <a:gd name="connsiteY448" fmla="*/ 2058237 h 2107613"/>
                <a:gd name="connsiteX449" fmla="*/ 328519 w 2571696"/>
                <a:gd name="connsiteY449" fmla="*/ 2063846 h 2107613"/>
                <a:gd name="connsiteX450" fmla="*/ 336928 w 2571696"/>
                <a:gd name="connsiteY450" fmla="*/ 2061940 h 2107613"/>
                <a:gd name="connsiteX451" fmla="*/ 339021 w 2571696"/>
                <a:gd name="connsiteY451" fmla="*/ 2058747 h 2107613"/>
                <a:gd name="connsiteX452" fmla="*/ 332464 w 2571696"/>
                <a:gd name="connsiteY452" fmla="*/ 2054650 h 2107613"/>
                <a:gd name="connsiteX453" fmla="*/ 305672 w 2571696"/>
                <a:gd name="connsiteY453" fmla="*/ 2049828 h 2107613"/>
                <a:gd name="connsiteX454" fmla="*/ 319108 w 2571696"/>
                <a:gd name="connsiteY454" fmla="*/ 2050606 h 2107613"/>
                <a:gd name="connsiteX455" fmla="*/ 319887 w 2571696"/>
                <a:gd name="connsiteY455" fmla="*/ 2047717 h 2107613"/>
                <a:gd name="connsiteX456" fmla="*/ 307542 w 2571696"/>
                <a:gd name="connsiteY456" fmla="*/ 2046572 h 2107613"/>
                <a:gd name="connsiteX457" fmla="*/ 305672 w 2571696"/>
                <a:gd name="connsiteY457" fmla="*/ 2049828 h 2107613"/>
                <a:gd name="connsiteX458" fmla="*/ 358361 w 2571696"/>
                <a:gd name="connsiteY458" fmla="*/ 2079250 h 2107613"/>
                <a:gd name="connsiteX459" fmla="*/ 353906 w 2571696"/>
                <a:gd name="connsiteY459" fmla="*/ 2076951 h 2107613"/>
                <a:gd name="connsiteX460" fmla="*/ 344299 w 2571696"/>
                <a:gd name="connsiteY460" fmla="*/ 2072469 h 2107613"/>
                <a:gd name="connsiteX461" fmla="*/ 342393 w 2571696"/>
                <a:gd name="connsiteY461" fmla="*/ 2071977 h 2107613"/>
                <a:gd name="connsiteX462" fmla="*/ 340935 w 2571696"/>
                <a:gd name="connsiteY462" fmla="*/ 2074455 h 2107613"/>
                <a:gd name="connsiteX463" fmla="*/ 342662 w 2571696"/>
                <a:gd name="connsiteY463" fmla="*/ 2079670 h 2107613"/>
                <a:gd name="connsiteX464" fmla="*/ 338305 w 2571696"/>
                <a:gd name="connsiteY464" fmla="*/ 2083991 h 2107613"/>
                <a:gd name="connsiteX465" fmla="*/ 337053 w 2571696"/>
                <a:gd name="connsiteY465" fmla="*/ 2086943 h 2107613"/>
                <a:gd name="connsiteX466" fmla="*/ 341204 w 2571696"/>
                <a:gd name="connsiteY466" fmla="*/ 2096577 h 2107613"/>
                <a:gd name="connsiteX467" fmla="*/ 340488 w 2571696"/>
                <a:gd name="connsiteY467" fmla="*/ 2103957 h 2107613"/>
                <a:gd name="connsiteX468" fmla="*/ 346714 w 2571696"/>
                <a:gd name="connsiteY468" fmla="*/ 2107732 h 2107613"/>
                <a:gd name="connsiteX469" fmla="*/ 350382 w 2571696"/>
                <a:gd name="connsiteY469" fmla="*/ 2103322 h 2107613"/>
                <a:gd name="connsiteX470" fmla="*/ 358406 w 2571696"/>
                <a:gd name="connsiteY470" fmla="*/ 2099198 h 2107613"/>
                <a:gd name="connsiteX471" fmla="*/ 368210 w 2571696"/>
                <a:gd name="connsiteY471" fmla="*/ 2093554 h 2107613"/>
                <a:gd name="connsiteX472" fmla="*/ 368809 w 2571696"/>
                <a:gd name="connsiteY472" fmla="*/ 2092087 h 2107613"/>
                <a:gd name="connsiteX473" fmla="*/ 362422 w 2571696"/>
                <a:gd name="connsiteY473" fmla="*/ 2082810 h 2107613"/>
                <a:gd name="connsiteX474" fmla="*/ 358361 w 2571696"/>
                <a:gd name="connsiteY474" fmla="*/ 2079250 h 2107613"/>
                <a:gd name="connsiteX475" fmla="*/ 288121 w 2571696"/>
                <a:gd name="connsiteY475" fmla="*/ 2033243 h 2107613"/>
                <a:gd name="connsiteX476" fmla="*/ 281412 w 2571696"/>
                <a:gd name="connsiteY476" fmla="*/ 2036947 h 2107613"/>
                <a:gd name="connsiteX477" fmla="*/ 282387 w 2571696"/>
                <a:gd name="connsiteY477" fmla="*/ 2038020 h 2107613"/>
                <a:gd name="connsiteX478" fmla="*/ 285572 w 2571696"/>
                <a:gd name="connsiteY478" fmla="*/ 2044094 h 2107613"/>
                <a:gd name="connsiteX479" fmla="*/ 294302 w 2571696"/>
                <a:gd name="connsiteY479" fmla="*/ 2045033 h 2107613"/>
                <a:gd name="connsiteX480" fmla="*/ 296100 w 2571696"/>
                <a:gd name="connsiteY480" fmla="*/ 2045382 h 2107613"/>
                <a:gd name="connsiteX481" fmla="*/ 297460 w 2571696"/>
                <a:gd name="connsiteY481" fmla="*/ 2043834 h 2107613"/>
                <a:gd name="connsiteX482" fmla="*/ 290214 w 2571696"/>
                <a:gd name="connsiteY482" fmla="*/ 2034979 h 2107613"/>
                <a:gd name="connsiteX483" fmla="*/ 288121 w 2571696"/>
                <a:gd name="connsiteY483" fmla="*/ 2033243 h 2107613"/>
                <a:gd name="connsiteX484" fmla="*/ 248716 w 2571696"/>
                <a:gd name="connsiteY484" fmla="*/ 2019279 h 2107613"/>
                <a:gd name="connsiteX485" fmla="*/ 244887 w 2571696"/>
                <a:gd name="connsiteY485" fmla="*/ 2021918 h 2107613"/>
                <a:gd name="connsiteX486" fmla="*/ 243590 w 2571696"/>
                <a:gd name="connsiteY486" fmla="*/ 2023877 h 2107613"/>
                <a:gd name="connsiteX487" fmla="*/ 252035 w 2571696"/>
                <a:gd name="connsiteY487" fmla="*/ 2028779 h 2107613"/>
                <a:gd name="connsiteX488" fmla="*/ 255014 w 2571696"/>
                <a:gd name="connsiteY488" fmla="*/ 2026123 h 2107613"/>
                <a:gd name="connsiteX489" fmla="*/ 254495 w 2571696"/>
                <a:gd name="connsiteY489" fmla="*/ 2019852 h 2107613"/>
                <a:gd name="connsiteX490" fmla="*/ 248716 w 2571696"/>
                <a:gd name="connsiteY490" fmla="*/ 2019279 h 210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</a:cxnLst>
              <a:rect l="l" t="t" r="r" b="b"/>
              <a:pathLst>
                <a:path w="2571696" h="2107613">
                  <a:moveTo>
                    <a:pt x="977595" y="945658"/>
                  </a:moveTo>
                  <a:lnTo>
                    <a:pt x="977595" y="945658"/>
                  </a:lnTo>
                  <a:lnTo>
                    <a:pt x="963801" y="929252"/>
                  </a:lnTo>
                  <a:lnTo>
                    <a:pt x="941697" y="915217"/>
                  </a:lnTo>
                  <a:lnTo>
                    <a:pt x="934603" y="876250"/>
                  </a:lnTo>
                  <a:lnTo>
                    <a:pt x="902265" y="839296"/>
                  </a:lnTo>
                  <a:lnTo>
                    <a:pt x="888749" y="795123"/>
                  </a:lnTo>
                  <a:lnTo>
                    <a:pt x="864667" y="792055"/>
                  </a:lnTo>
                  <a:lnTo>
                    <a:pt x="824788" y="790892"/>
                  </a:lnTo>
                  <a:lnTo>
                    <a:pt x="795393" y="777161"/>
                  </a:lnTo>
                  <a:lnTo>
                    <a:pt x="743536" y="726681"/>
                  </a:lnTo>
                  <a:lnTo>
                    <a:pt x="719518" y="717289"/>
                  </a:lnTo>
                  <a:lnTo>
                    <a:pt x="675640" y="699460"/>
                  </a:lnTo>
                  <a:lnTo>
                    <a:pt x="640914" y="703736"/>
                  </a:lnTo>
                  <a:lnTo>
                    <a:pt x="591588" y="680567"/>
                  </a:lnTo>
                  <a:lnTo>
                    <a:pt x="561773" y="658785"/>
                  </a:lnTo>
                  <a:lnTo>
                    <a:pt x="533934" y="669636"/>
                  </a:lnTo>
                  <a:lnTo>
                    <a:pt x="539105" y="704774"/>
                  </a:lnTo>
                  <a:lnTo>
                    <a:pt x="525239" y="707976"/>
                  </a:lnTo>
                  <a:lnTo>
                    <a:pt x="496220" y="718362"/>
                  </a:lnTo>
                  <a:lnTo>
                    <a:pt x="474143" y="735028"/>
                  </a:lnTo>
                  <a:lnTo>
                    <a:pt x="446349" y="745431"/>
                  </a:lnTo>
                  <a:lnTo>
                    <a:pt x="442762" y="716403"/>
                  </a:lnTo>
                  <a:lnTo>
                    <a:pt x="454042" y="666926"/>
                  </a:lnTo>
                  <a:lnTo>
                    <a:pt x="480691" y="651083"/>
                  </a:lnTo>
                  <a:lnTo>
                    <a:pt x="473812" y="638058"/>
                  </a:lnTo>
                  <a:lnTo>
                    <a:pt x="441841" y="666845"/>
                  </a:lnTo>
                  <a:lnTo>
                    <a:pt x="424719" y="700578"/>
                  </a:lnTo>
                  <a:lnTo>
                    <a:pt x="388579" y="735886"/>
                  </a:lnTo>
                  <a:lnTo>
                    <a:pt x="406935" y="759565"/>
                  </a:lnTo>
                  <a:lnTo>
                    <a:pt x="383230" y="793996"/>
                  </a:lnTo>
                  <a:lnTo>
                    <a:pt x="356268" y="813739"/>
                  </a:lnTo>
                  <a:lnTo>
                    <a:pt x="331167" y="827980"/>
                  </a:lnTo>
                  <a:lnTo>
                    <a:pt x="324959" y="848439"/>
                  </a:lnTo>
                  <a:lnTo>
                    <a:pt x="285804" y="872001"/>
                  </a:lnTo>
                  <a:lnTo>
                    <a:pt x="277878" y="893139"/>
                  </a:lnTo>
                  <a:lnTo>
                    <a:pt x="248528" y="912166"/>
                  </a:lnTo>
                  <a:lnTo>
                    <a:pt x="231317" y="908758"/>
                  </a:lnTo>
                  <a:lnTo>
                    <a:pt x="207907" y="921076"/>
                  </a:lnTo>
                  <a:lnTo>
                    <a:pt x="182457" y="936006"/>
                  </a:lnTo>
                  <a:lnTo>
                    <a:pt x="161596" y="950551"/>
                  </a:lnTo>
                  <a:lnTo>
                    <a:pt x="118550" y="962869"/>
                  </a:lnTo>
                  <a:lnTo>
                    <a:pt x="114623" y="955633"/>
                  </a:lnTo>
                  <a:lnTo>
                    <a:pt x="142059" y="935344"/>
                  </a:lnTo>
                  <a:lnTo>
                    <a:pt x="166596" y="921810"/>
                  </a:lnTo>
                  <a:lnTo>
                    <a:pt x="193335" y="897567"/>
                  </a:lnTo>
                  <a:lnTo>
                    <a:pt x="224447" y="892513"/>
                  </a:lnTo>
                  <a:lnTo>
                    <a:pt x="236819" y="874058"/>
                  </a:lnTo>
                  <a:lnTo>
                    <a:pt x="271581" y="846748"/>
                  </a:lnTo>
                  <a:lnTo>
                    <a:pt x="277181" y="837516"/>
                  </a:lnTo>
                  <a:lnTo>
                    <a:pt x="295698" y="821119"/>
                  </a:lnTo>
                  <a:lnTo>
                    <a:pt x="300028" y="785337"/>
                  </a:lnTo>
                  <a:lnTo>
                    <a:pt x="312784" y="756944"/>
                  </a:lnTo>
                  <a:lnTo>
                    <a:pt x="283863" y="771579"/>
                  </a:lnTo>
                  <a:lnTo>
                    <a:pt x="275776" y="763286"/>
                  </a:lnTo>
                  <a:lnTo>
                    <a:pt x="262197" y="780766"/>
                  </a:lnTo>
                  <a:lnTo>
                    <a:pt x="245818" y="756345"/>
                  </a:lnTo>
                  <a:lnTo>
                    <a:pt x="239055" y="773663"/>
                  </a:lnTo>
                  <a:lnTo>
                    <a:pt x="229680" y="749555"/>
                  </a:lnTo>
                  <a:lnTo>
                    <a:pt x="204606" y="768940"/>
                  </a:lnTo>
                  <a:lnTo>
                    <a:pt x="189211" y="768904"/>
                  </a:lnTo>
                  <a:lnTo>
                    <a:pt x="187046" y="739992"/>
                  </a:lnTo>
                  <a:lnTo>
                    <a:pt x="191581" y="721922"/>
                  </a:lnTo>
                  <a:lnTo>
                    <a:pt x="175426" y="704192"/>
                  </a:lnTo>
                  <a:lnTo>
                    <a:pt x="142810" y="713764"/>
                  </a:lnTo>
                  <a:lnTo>
                    <a:pt x="121645" y="690229"/>
                  </a:lnTo>
                  <a:lnTo>
                    <a:pt x="104488" y="678072"/>
                  </a:lnTo>
                  <a:lnTo>
                    <a:pt x="104381" y="648999"/>
                  </a:lnTo>
                  <a:lnTo>
                    <a:pt x="85049" y="626787"/>
                  </a:lnTo>
                  <a:lnTo>
                    <a:pt x="94755" y="596328"/>
                  </a:lnTo>
                  <a:lnTo>
                    <a:pt x="115205" y="566199"/>
                  </a:lnTo>
                  <a:lnTo>
                    <a:pt x="124150" y="537985"/>
                  </a:lnTo>
                  <a:lnTo>
                    <a:pt x="144447" y="533924"/>
                  </a:lnTo>
                  <a:lnTo>
                    <a:pt x="161659" y="542798"/>
                  </a:lnTo>
                  <a:lnTo>
                    <a:pt x="181893" y="515899"/>
                  </a:lnTo>
                  <a:lnTo>
                    <a:pt x="200106" y="520738"/>
                  </a:lnTo>
                  <a:lnTo>
                    <a:pt x="219223" y="503250"/>
                  </a:lnTo>
                  <a:lnTo>
                    <a:pt x="214562" y="477156"/>
                  </a:lnTo>
                  <a:lnTo>
                    <a:pt x="200518" y="466752"/>
                  </a:lnTo>
                  <a:lnTo>
                    <a:pt x="219089" y="444218"/>
                  </a:lnTo>
                  <a:lnTo>
                    <a:pt x="203684" y="444889"/>
                  </a:lnTo>
                  <a:lnTo>
                    <a:pt x="177072" y="457646"/>
                  </a:lnTo>
                  <a:lnTo>
                    <a:pt x="169432" y="470473"/>
                  </a:lnTo>
                  <a:lnTo>
                    <a:pt x="149654" y="457663"/>
                  </a:lnTo>
                  <a:lnTo>
                    <a:pt x="114176" y="464185"/>
                  </a:lnTo>
                  <a:lnTo>
                    <a:pt x="77446" y="450203"/>
                  </a:lnTo>
                  <a:lnTo>
                    <a:pt x="66917" y="426461"/>
                  </a:lnTo>
                  <a:lnTo>
                    <a:pt x="35178" y="391520"/>
                  </a:lnTo>
                  <a:lnTo>
                    <a:pt x="70423" y="365874"/>
                  </a:lnTo>
                  <a:lnTo>
                    <a:pt x="126369" y="335396"/>
                  </a:lnTo>
                  <a:lnTo>
                    <a:pt x="146988" y="335396"/>
                  </a:lnTo>
                  <a:lnTo>
                    <a:pt x="143571" y="366562"/>
                  </a:lnTo>
                  <a:lnTo>
                    <a:pt x="196510" y="364156"/>
                  </a:lnTo>
                  <a:lnTo>
                    <a:pt x="176150" y="325342"/>
                  </a:lnTo>
                  <a:lnTo>
                    <a:pt x="145297" y="300992"/>
                  </a:lnTo>
                  <a:lnTo>
                    <a:pt x="127460" y="268439"/>
                  </a:lnTo>
                  <a:lnTo>
                    <a:pt x="103397" y="240118"/>
                  </a:lnTo>
                  <a:lnTo>
                    <a:pt x="68929" y="218783"/>
                  </a:lnTo>
                  <a:lnTo>
                    <a:pt x="82965" y="182750"/>
                  </a:lnTo>
                  <a:lnTo>
                    <a:pt x="127460" y="180487"/>
                  </a:lnTo>
                  <a:lnTo>
                    <a:pt x="159118" y="148417"/>
                  </a:lnTo>
                  <a:lnTo>
                    <a:pt x="165085" y="113378"/>
                  </a:lnTo>
                  <a:lnTo>
                    <a:pt x="190705" y="78392"/>
                  </a:lnTo>
                  <a:lnTo>
                    <a:pt x="215135" y="69849"/>
                  </a:lnTo>
                  <a:lnTo>
                    <a:pt x="262680" y="36232"/>
                  </a:lnTo>
                  <a:lnTo>
                    <a:pt x="285742" y="41349"/>
                  </a:lnTo>
                  <a:lnTo>
                    <a:pt x="324341" y="119"/>
                  </a:lnTo>
                  <a:lnTo>
                    <a:pt x="362288" y="16498"/>
                  </a:lnTo>
                  <a:lnTo>
                    <a:pt x="380439" y="51108"/>
                  </a:lnTo>
                  <a:lnTo>
                    <a:pt x="391585" y="36366"/>
                  </a:lnTo>
                  <a:lnTo>
                    <a:pt x="433968" y="40955"/>
                  </a:lnTo>
                  <a:lnTo>
                    <a:pt x="432466" y="58408"/>
                  </a:lnTo>
                  <a:lnTo>
                    <a:pt x="470842" y="71182"/>
                  </a:lnTo>
                  <a:lnTo>
                    <a:pt x="496426" y="63686"/>
                  </a:lnTo>
                  <a:lnTo>
                    <a:pt x="549267" y="87257"/>
                  </a:lnTo>
                  <a:lnTo>
                    <a:pt x="597510" y="94199"/>
                  </a:lnTo>
                  <a:lnTo>
                    <a:pt x="616823" y="103753"/>
                  </a:lnTo>
                  <a:lnTo>
                    <a:pt x="650199" y="91810"/>
                  </a:lnTo>
                  <a:lnTo>
                    <a:pt x="688244" y="113834"/>
                  </a:lnTo>
                  <a:lnTo>
                    <a:pt x="715492" y="123987"/>
                  </a:lnTo>
                  <a:lnTo>
                    <a:pt x="715322" y="371313"/>
                  </a:lnTo>
                  <a:lnTo>
                    <a:pt x="715188" y="688251"/>
                  </a:lnTo>
                  <a:lnTo>
                    <a:pt x="739887" y="689745"/>
                  </a:lnTo>
                  <a:lnTo>
                    <a:pt x="764317" y="703665"/>
                  </a:lnTo>
                  <a:lnTo>
                    <a:pt x="781832" y="725456"/>
                  </a:lnTo>
                  <a:lnTo>
                    <a:pt x="804115" y="757624"/>
                  </a:lnTo>
                  <a:lnTo>
                    <a:pt x="828519" y="730304"/>
                  </a:lnTo>
                  <a:lnTo>
                    <a:pt x="853700" y="714265"/>
                  </a:lnTo>
                  <a:lnTo>
                    <a:pt x="867011" y="739804"/>
                  </a:lnTo>
                  <a:lnTo>
                    <a:pt x="883909" y="759744"/>
                  </a:lnTo>
                  <a:lnTo>
                    <a:pt x="906872" y="781428"/>
                  </a:lnTo>
                  <a:lnTo>
                    <a:pt x="922554" y="815367"/>
                  </a:lnTo>
                  <a:lnTo>
                    <a:pt x="948200" y="867976"/>
                  </a:lnTo>
                  <a:lnTo>
                    <a:pt x="990844" y="896637"/>
                  </a:lnTo>
                  <a:lnTo>
                    <a:pt x="991541" y="924583"/>
                  </a:lnTo>
                  <a:lnTo>
                    <a:pt x="977595" y="945658"/>
                  </a:lnTo>
                  <a:close/>
                  <a:moveTo>
                    <a:pt x="2551377" y="1253696"/>
                  </a:moveTo>
                  <a:lnTo>
                    <a:pt x="2540240" y="1243078"/>
                  </a:lnTo>
                  <a:lnTo>
                    <a:pt x="2523422" y="1249340"/>
                  </a:lnTo>
                  <a:lnTo>
                    <a:pt x="2515085" y="1239652"/>
                  </a:lnTo>
                  <a:lnTo>
                    <a:pt x="2495951" y="1267356"/>
                  </a:lnTo>
                  <a:lnTo>
                    <a:pt x="2488302" y="1295517"/>
                  </a:lnTo>
                  <a:lnTo>
                    <a:pt x="2479402" y="1311798"/>
                  </a:lnTo>
                  <a:lnTo>
                    <a:pt x="2468747" y="1317308"/>
                  </a:lnTo>
                  <a:lnTo>
                    <a:pt x="2460724" y="1319097"/>
                  </a:lnTo>
                  <a:lnTo>
                    <a:pt x="2458210" y="1327846"/>
                  </a:lnTo>
                  <a:lnTo>
                    <a:pt x="2411988" y="1327873"/>
                  </a:lnTo>
                  <a:lnTo>
                    <a:pt x="2373881" y="1328114"/>
                  </a:lnTo>
                  <a:lnTo>
                    <a:pt x="2362564" y="1334609"/>
                  </a:lnTo>
                  <a:lnTo>
                    <a:pt x="2336891" y="1359030"/>
                  </a:lnTo>
                  <a:lnTo>
                    <a:pt x="2339458" y="1363896"/>
                  </a:lnTo>
                  <a:lnTo>
                    <a:pt x="2340943" y="1377368"/>
                  </a:lnTo>
                  <a:lnTo>
                    <a:pt x="2322131" y="1388729"/>
                  </a:lnTo>
                  <a:lnTo>
                    <a:pt x="2301583" y="1385884"/>
                  </a:lnTo>
                  <a:lnTo>
                    <a:pt x="2281867" y="1384605"/>
                  </a:lnTo>
                  <a:lnTo>
                    <a:pt x="2269988" y="1388532"/>
                  </a:lnTo>
                  <a:lnTo>
                    <a:pt x="2272215" y="1398819"/>
                  </a:lnTo>
                  <a:lnTo>
                    <a:pt x="2272215" y="1398837"/>
                  </a:lnTo>
                  <a:lnTo>
                    <a:pt x="2272707" y="1402174"/>
                  </a:lnTo>
                  <a:lnTo>
                    <a:pt x="2251095" y="1422435"/>
                  </a:lnTo>
                  <a:lnTo>
                    <a:pt x="2232175" y="1432177"/>
                  </a:lnTo>
                  <a:lnTo>
                    <a:pt x="2219266" y="1436704"/>
                  </a:lnTo>
                  <a:lnTo>
                    <a:pt x="2204408" y="1445962"/>
                  </a:lnTo>
                  <a:lnTo>
                    <a:pt x="2186249" y="1450399"/>
                  </a:lnTo>
                  <a:lnTo>
                    <a:pt x="2173743" y="1448690"/>
                  </a:lnTo>
                  <a:lnTo>
                    <a:pt x="2158276" y="1441785"/>
                  </a:lnTo>
                  <a:lnTo>
                    <a:pt x="2166873" y="1428823"/>
                  </a:lnTo>
                  <a:lnTo>
                    <a:pt x="2172392" y="1417006"/>
                  </a:lnTo>
                  <a:lnTo>
                    <a:pt x="2184182" y="1398301"/>
                  </a:lnTo>
                  <a:lnTo>
                    <a:pt x="2182930" y="1384247"/>
                  </a:lnTo>
                  <a:lnTo>
                    <a:pt x="2178412" y="1364200"/>
                  </a:lnTo>
                  <a:lnTo>
                    <a:pt x="2169136" y="1360730"/>
                  </a:lnTo>
                  <a:lnTo>
                    <a:pt x="2153589" y="1375982"/>
                  </a:lnTo>
                  <a:lnTo>
                    <a:pt x="2148606" y="1375695"/>
                  </a:lnTo>
                  <a:lnTo>
                    <a:pt x="2147318" y="1366982"/>
                  </a:lnTo>
                  <a:lnTo>
                    <a:pt x="2161112" y="1353063"/>
                  </a:lnTo>
                  <a:lnTo>
                    <a:pt x="2163402" y="1337087"/>
                  </a:lnTo>
                  <a:lnTo>
                    <a:pt x="2161362" y="1321038"/>
                  </a:lnTo>
                  <a:lnTo>
                    <a:pt x="2142800" y="1307155"/>
                  </a:lnTo>
                  <a:lnTo>
                    <a:pt x="2121483" y="1299999"/>
                  </a:lnTo>
                  <a:lnTo>
                    <a:pt x="2117977" y="1313578"/>
                  </a:lnTo>
                  <a:lnTo>
                    <a:pt x="2112448" y="1317201"/>
                  </a:lnTo>
                  <a:lnTo>
                    <a:pt x="2108011" y="1334671"/>
                  </a:lnTo>
                  <a:lnTo>
                    <a:pt x="2105686" y="1322818"/>
                  </a:lnTo>
                  <a:lnTo>
                    <a:pt x="2095658" y="1331290"/>
                  </a:lnTo>
                  <a:lnTo>
                    <a:pt x="2089396" y="1343107"/>
                  </a:lnTo>
                  <a:lnTo>
                    <a:pt x="2082857" y="1360246"/>
                  </a:lnTo>
                  <a:lnTo>
                    <a:pt x="2081604" y="1374962"/>
                  </a:lnTo>
                  <a:lnTo>
                    <a:pt x="2089923" y="1396216"/>
                  </a:lnTo>
                  <a:lnTo>
                    <a:pt x="2089235" y="1418651"/>
                  </a:lnTo>
                  <a:lnTo>
                    <a:pt x="2079055" y="1435075"/>
                  </a:lnTo>
                  <a:lnTo>
                    <a:pt x="2073974" y="1439709"/>
                  </a:lnTo>
                  <a:lnTo>
                    <a:pt x="2067202" y="1443395"/>
                  </a:lnTo>
                  <a:lnTo>
                    <a:pt x="2058677" y="1443583"/>
                  </a:lnTo>
                  <a:lnTo>
                    <a:pt x="2056369" y="1441320"/>
                  </a:lnTo>
                  <a:lnTo>
                    <a:pt x="2049615" y="1423652"/>
                  </a:lnTo>
                  <a:lnTo>
                    <a:pt x="2049418" y="1414868"/>
                  </a:lnTo>
                  <a:lnTo>
                    <a:pt x="2050089" y="1406486"/>
                  </a:lnTo>
                  <a:lnTo>
                    <a:pt x="2046940" y="1389758"/>
                  </a:lnTo>
                  <a:lnTo>
                    <a:pt x="2051708" y="1370248"/>
                  </a:lnTo>
                  <a:lnTo>
                    <a:pt x="2057371" y="1345978"/>
                  </a:lnTo>
                  <a:lnTo>
                    <a:pt x="2070387" y="1318829"/>
                  </a:lnTo>
                  <a:lnTo>
                    <a:pt x="2066612" y="1318954"/>
                  </a:lnTo>
                  <a:lnTo>
                    <a:pt x="2048184" y="1341702"/>
                  </a:lnTo>
                  <a:lnTo>
                    <a:pt x="2044785" y="1337552"/>
                  </a:lnTo>
                  <a:lnTo>
                    <a:pt x="2054616" y="1324831"/>
                  </a:lnTo>
                  <a:lnTo>
                    <a:pt x="2069573" y="1301815"/>
                  </a:lnTo>
                  <a:lnTo>
                    <a:pt x="2086632" y="1298585"/>
                  </a:lnTo>
                  <a:lnTo>
                    <a:pt x="2106195" y="1291393"/>
                  </a:lnTo>
                  <a:lnTo>
                    <a:pt x="2125920" y="1295186"/>
                  </a:lnTo>
                  <a:lnTo>
                    <a:pt x="2126761" y="1295347"/>
                  </a:lnTo>
                  <a:lnTo>
                    <a:pt x="2148857" y="1292100"/>
                  </a:lnTo>
                  <a:lnTo>
                    <a:pt x="2136378" y="1277706"/>
                  </a:lnTo>
                  <a:lnTo>
                    <a:pt x="2129651" y="1276588"/>
                  </a:lnTo>
                  <a:lnTo>
                    <a:pt x="2122002" y="1275121"/>
                  </a:lnTo>
                  <a:lnTo>
                    <a:pt x="2116733" y="1264923"/>
                  </a:lnTo>
                  <a:lnTo>
                    <a:pt x="2092088" y="1268108"/>
                  </a:lnTo>
                  <a:lnTo>
                    <a:pt x="2069832" y="1276204"/>
                  </a:lnTo>
                  <a:lnTo>
                    <a:pt x="2052165" y="1262329"/>
                  </a:lnTo>
                  <a:lnTo>
                    <a:pt x="2037950" y="1257668"/>
                  </a:lnTo>
                  <a:lnTo>
                    <a:pt x="2046010" y="1238257"/>
                  </a:lnTo>
                  <a:lnTo>
                    <a:pt x="2023870" y="1250467"/>
                  </a:lnTo>
                  <a:lnTo>
                    <a:pt x="2003743" y="1262347"/>
                  </a:lnTo>
                  <a:lnTo>
                    <a:pt x="1984376" y="1271623"/>
                  </a:lnTo>
                  <a:lnTo>
                    <a:pt x="1968998" y="1259091"/>
                  </a:lnTo>
                  <a:lnTo>
                    <a:pt x="1943870" y="1266703"/>
                  </a:lnTo>
                  <a:lnTo>
                    <a:pt x="1943951" y="1261345"/>
                  </a:lnTo>
                  <a:lnTo>
                    <a:pt x="1960974" y="1245869"/>
                  </a:lnTo>
                  <a:lnTo>
                    <a:pt x="1978785" y="1231073"/>
                  </a:lnTo>
                  <a:lnTo>
                    <a:pt x="2004369" y="1218773"/>
                  </a:lnTo>
                  <a:lnTo>
                    <a:pt x="1973516" y="1209032"/>
                  </a:lnTo>
                  <a:lnTo>
                    <a:pt x="1953200" y="1213907"/>
                  </a:lnTo>
                  <a:lnTo>
                    <a:pt x="1928869" y="1202251"/>
                  </a:lnTo>
                  <a:lnTo>
                    <a:pt x="1903258" y="1196240"/>
                  </a:lnTo>
                  <a:lnTo>
                    <a:pt x="1885742" y="1193914"/>
                  </a:lnTo>
                  <a:lnTo>
                    <a:pt x="1877942" y="1187491"/>
                  </a:lnTo>
                  <a:lnTo>
                    <a:pt x="1873487" y="1166514"/>
                  </a:lnTo>
                  <a:lnTo>
                    <a:pt x="1864998" y="1166702"/>
                  </a:lnTo>
                  <a:lnTo>
                    <a:pt x="1864926" y="1181408"/>
                  </a:lnTo>
                  <a:lnTo>
                    <a:pt x="1813016" y="1181381"/>
                  </a:lnTo>
                  <a:lnTo>
                    <a:pt x="1727201" y="1181408"/>
                  </a:lnTo>
                  <a:lnTo>
                    <a:pt x="1641969" y="1181408"/>
                  </a:lnTo>
                  <a:lnTo>
                    <a:pt x="1566674" y="1181408"/>
                  </a:lnTo>
                  <a:lnTo>
                    <a:pt x="1491425" y="1181408"/>
                  </a:lnTo>
                  <a:lnTo>
                    <a:pt x="1417437" y="1181408"/>
                  </a:lnTo>
                  <a:lnTo>
                    <a:pt x="1340988" y="1181408"/>
                  </a:lnTo>
                  <a:lnTo>
                    <a:pt x="1316335" y="1181408"/>
                  </a:lnTo>
                  <a:lnTo>
                    <a:pt x="1241872" y="1181408"/>
                  </a:lnTo>
                  <a:lnTo>
                    <a:pt x="1170639" y="1181408"/>
                  </a:lnTo>
                  <a:lnTo>
                    <a:pt x="1179173" y="1212413"/>
                  </a:lnTo>
                  <a:lnTo>
                    <a:pt x="1183181" y="1242917"/>
                  </a:lnTo>
                  <a:lnTo>
                    <a:pt x="1176982" y="1252641"/>
                  </a:lnTo>
                  <a:lnTo>
                    <a:pt x="1163617" y="1217655"/>
                  </a:lnTo>
                  <a:lnTo>
                    <a:pt x="1127343" y="1204908"/>
                  </a:lnTo>
                  <a:lnTo>
                    <a:pt x="1124311" y="1212243"/>
                  </a:lnTo>
                  <a:lnTo>
                    <a:pt x="1131619" y="1229580"/>
                  </a:lnTo>
                  <a:lnTo>
                    <a:pt x="1139545" y="1261112"/>
                  </a:lnTo>
                  <a:lnTo>
                    <a:pt x="1144071" y="1309561"/>
                  </a:lnTo>
                  <a:lnTo>
                    <a:pt x="1141021" y="1341685"/>
                  </a:lnTo>
                  <a:lnTo>
                    <a:pt x="1137970" y="1373307"/>
                  </a:lnTo>
                  <a:lnTo>
                    <a:pt x="1128166" y="1405636"/>
                  </a:lnTo>
                  <a:lnTo>
                    <a:pt x="1136172" y="1431560"/>
                  </a:lnTo>
                  <a:lnTo>
                    <a:pt x="1137049" y="1460203"/>
                  </a:lnTo>
                  <a:lnTo>
                    <a:pt x="1131547" y="1487532"/>
                  </a:lnTo>
                  <a:lnTo>
                    <a:pt x="1144912" y="1505351"/>
                  </a:lnTo>
                  <a:lnTo>
                    <a:pt x="1148374" y="1531696"/>
                  </a:lnTo>
                  <a:lnTo>
                    <a:pt x="1167786" y="1558452"/>
                  </a:lnTo>
                  <a:lnTo>
                    <a:pt x="1178851" y="1568909"/>
                  </a:lnTo>
                  <a:lnTo>
                    <a:pt x="1177957" y="1576218"/>
                  </a:lnTo>
                  <a:lnTo>
                    <a:pt x="1198844" y="1619612"/>
                  </a:lnTo>
                  <a:lnTo>
                    <a:pt x="1223176" y="1650492"/>
                  </a:lnTo>
                  <a:lnTo>
                    <a:pt x="1226227" y="1667184"/>
                  </a:lnTo>
                  <a:lnTo>
                    <a:pt x="1232623" y="1672078"/>
                  </a:lnTo>
                  <a:lnTo>
                    <a:pt x="1255926" y="1675057"/>
                  </a:lnTo>
                  <a:lnTo>
                    <a:pt x="1264898" y="1683224"/>
                  </a:lnTo>
                  <a:lnTo>
                    <a:pt x="1278969" y="1684736"/>
                  </a:lnTo>
                  <a:lnTo>
                    <a:pt x="1281716" y="1693368"/>
                  </a:lnTo>
                  <a:lnTo>
                    <a:pt x="1293416" y="1696955"/>
                  </a:lnTo>
                  <a:lnTo>
                    <a:pt x="1309670" y="1714130"/>
                  </a:lnTo>
                  <a:lnTo>
                    <a:pt x="1313893" y="1729302"/>
                  </a:lnTo>
                  <a:lnTo>
                    <a:pt x="1342393" y="1727021"/>
                  </a:lnTo>
                  <a:lnTo>
                    <a:pt x="1374248" y="1723809"/>
                  </a:lnTo>
                  <a:lnTo>
                    <a:pt x="1371895" y="1729606"/>
                  </a:lnTo>
                  <a:lnTo>
                    <a:pt x="1409770" y="1743955"/>
                  </a:lnTo>
                  <a:lnTo>
                    <a:pt x="1466986" y="1764619"/>
                  </a:lnTo>
                  <a:lnTo>
                    <a:pt x="1516866" y="1764413"/>
                  </a:lnTo>
                  <a:lnTo>
                    <a:pt x="1536752" y="1764404"/>
                  </a:lnTo>
                  <a:lnTo>
                    <a:pt x="1536805" y="1752319"/>
                  </a:lnTo>
                  <a:lnTo>
                    <a:pt x="1580254" y="1752328"/>
                  </a:lnTo>
                  <a:lnTo>
                    <a:pt x="1589396" y="1762722"/>
                  </a:lnTo>
                  <a:lnTo>
                    <a:pt x="1602224" y="1771954"/>
                  </a:lnTo>
                  <a:lnTo>
                    <a:pt x="1617127" y="1784737"/>
                  </a:lnTo>
                  <a:lnTo>
                    <a:pt x="1625446" y="1799846"/>
                  </a:lnTo>
                  <a:lnTo>
                    <a:pt x="1631690" y="1815671"/>
                  </a:lnTo>
                  <a:lnTo>
                    <a:pt x="1644652" y="1824321"/>
                  </a:lnTo>
                  <a:lnTo>
                    <a:pt x="1665477" y="1832891"/>
                  </a:lnTo>
                  <a:lnTo>
                    <a:pt x="1681275" y="1810277"/>
                  </a:lnTo>
                  <a:lnTo>
                    <a:pt x="1701778" y="1809713"/>
                  </a:lnTo>
                  <a:lnTo>
                    <a:pt x="1719455" y="1821154"/>
                  </a:lnTo>
                  <a:lnTo>
                    <a:pt x="1732041" y="1840691"/>
                  </a:lnTo>
                  <a:lnTo>
                    <a:pt x="1740709" y="1857321"/>
                  </a:lnTo>
                  <a:lnTo>
                    <a:pt x="1755505" y="1873396"/>
                  </a:lnTo>
                  <a:lnTo>
                    <a:pt x="1761024" y="1893031"/>
                  </a:lnTo>
                  <a:lnTo>
                    <a:pt x="1768047" y="1906145"/>
                  </a:lnTo>
                  <a:lnTo>
                    <a:pt x="1787610" y="1914760"/>
                  </a:lnTo>
                  <a:lnTo>
                    <a:pt x="1805421" y="1920861"/>
                  </a:lnTo>
                  <a:lnTo>
                    <a:pt x="1815198" y="1920029"/>
                  </a:lnTo>
                  <a:lnTo>
                    <a:pt x="1810430" y="1910591"/>
                  </a:lnTo>
                  <a:lnTo>
                    <a:pt x="1809178" y="1897218"/>
                  </a:lnTo>
                  <a:lnTo>
                    <a:pt x="1809429" y="1877887"/>
                  </a:lnTo>
                  <a:lnTo>
                    <a:pt x="1815198" y="1865220"/>
                  </a:lnTo>
                  <a:lnTo>
                    <a:pt x="1828894" y="1851721"/>
                  </a:lnTo>
                  <a:lnTo>
                    <a:pt x="1853825" y="1839475"/>
                  </a:lnTo>
                  <a:lnTo>
                    <a:pt x="1876654" y="1818301"/>
                  </a:lnTo>
                  <a:lnTo>
                    <a:pt x="1897756" y="1811592"/>
                  </a:lnTo>
                  <a:lnTo>
                    <a:pt x="1913357" y="1809579"/>
                  </a:lnTo>
                  <a:lnTo>
                    <a:pt x="1931606" y="1816225"/>
                  </a:lnTo>
                  <a:lnTo>
                    <a:pt x="1953478" y="1812647"/>
                  </a:lnTo>
                  <a:lnTo>
                    <a:pt x="1972201" y="1827783"/>
                  </a:lnTo>
                  <a:lnTo>
                    <a:pt x="1990405" y="1828677"/>
                  </a:lnTo>
                  <a:lnTo>
                    <a:pt x="1999815" y="1823256"/>
                  </a:lnTo>
                  <a:lnTo>
                    <a:pt x="2009128" y="1827479"/>
                  </a:lnTo>
                  <a:lnTo>
                    <a:pt x="2013905" y="1823722"/>
                  </a:lnTo>
                  <a:lnTo>
                    <a:pt x="2008582" y="1818068"/>
                  </a:lnTo>
                  <a:lnTo>
                    <a:pt x="2008985" y="1806421"/>
                  </a:lnTo>
                  <a:lnTo>
                    <a:pt x="2004467" y="1798764"/>
                  </a:lnTo>
                  <a:lnTo>
                    <a:pt x="2014835" y="1794255"/>
                  </a:lnTo>
                  <a:lnTo>
                    <a:pt x="2033960" y="1792260"/>
                  </a:lnTo>
                  <a:lnTo>
                    <a:pt x="2056217" y="1795454"/>
                  </a:lnTo>
                  <a:lnTo>
                    <a:pt x="2084565" y="1791822"/>
                  </a:lnTo>
                  <a:lnTo>
                    <a:pt x="2100291" y="1798969"/>
                  </a:lnTo>
                  <a:lnTo>
                    <a:pt x="2112466" y="1812405"/>
                  </a:lnTo>
                  <a:lnTo>
                    <a:pt x="2116957" y="1813837"/>
                  </a:lnTo>
                  <a:lnTo>
                    <a:pt x="2142264" y="1800776"/>
                  </a:lnTo>
                  <a:lnTo>
                    <a:pt x="2152050" y="1805195"/>
                  </a:lnTo>
                  <a:lnTo>
                    <a:pt x="2171605" y="1829187"/>
                  </a:lnTo>
                  <a:lnTo>
                    <a:pt x="2178627" y="1844851"/>
                  </a:lnTo>
                  <a:lnTo>
                    <a:pt x="2173475" y="1863646"/>
                  </a:lnTo>
                  <a:lnTo>
                    <a:pt x="2177241" y="1874666"/>
                  </a:lnTo>
                  <a:lnTo>
                    <a:pt x="2188906" y="1896109"/>
                  </a:lnTo>
                  <a:lnTo>
                    <a:pt x="2202199" y="1920038"/>
                  </a:lnTo>
                  <a:lnTo>
                    <a:pt x="2211726" y="1926407"/>
                  </a:lnTo>
                  <a:lnTo>
                    <a:pt x="2215679" y="1938519"/>
                  </a:lnTo>
                  <a:lnTo>
                    <a:pt x="2228024" y="1941865"/>
                  </a:lnTo>
                  <a:lnTo>
                    <a:pt x="2235520" y="1938385"/>
                  </a:lnTo>
                  <a:lnTo>
                    <a:pt x="2241773" y="1921505"/>
                  </a:lnTo>
                  <a:lnTo>
                    <a:pt x="2242865" y="1910708"/>
                  </a:lnTo>
                  <a:lnTo>
                    <a:pt x="2243652" y="1891904"/>
                  </a:lnTo>
                  <a:lnTo>
                    <a:pt x="2231772" y="1859289"/>
                  </a:lnTo>
                  <a:lnTo>
                    <a:pt x="2231629" y="1847043"/>
                  </a:lnTo>
                  <a:lnTo>
                    <a:pt x="2220483" y="1826888"/>
                  </a:lnTo>
                  <a:lnTo>
                    <a:pt x="2212110" y="1802333"/>
                  </a:lnTo>
                  <a:lnTo>
                    <a:pt x="2207673" y="1782241"/>
                  </a:lnTo>
                  <a:lnTo>
                    <a:pt x="2211547" y="1761533"/>
                  </a:lnTo>
                  <a:lnTo>
                    <a:pt x="2223364" y="1744134"/>
                  </a:lnTo>
                  <a:lnTo>
                    <a:pt x="2237506" y="1730080"/>
                  </a:lnTo>
                  <a:lnTo>
                    <a:pt x="2265041" y="1710794"/>
                  </a:lnTo>
                  <a:lnTo>
                    <a:pt x="2268628" y="1700766"/>
                  </a:lnTo>
                  <a:lnTo>
                    <a:pt x="2281322" y="1689745"/>
                  </a:lnTo>
                  <a:lnTo>
                    <a:pt x="2293845" y="1687822"/>
                  </a:lnTo>
                  <a:lnTo>
                    <a:pt x="2310332" y="1670110"/>
                  </a:lnTo>
                  <a:lnTo>
                    <a:pt x="2336283" y="1661110"/>
                  </a:lnTo>
                  <a:lnTo>
                    <a:pt x="2352223" y="1638442"/>
                  </a:lnTo>
                  <a:lnTo>
                    <a:pt x="2348699" y="1607536"/>
                  </a:lnTo>
                  <a:lnTo>
                    <a:pt x="2346096" y="1596756"/>
                  </a:lnTo>
                  <a:lnTo>
                    <a:pt x="2338895" y="1594601"/>
                  </a:lnTo>
                  <a:lnTo>
                    <a:pt x="2337821" y="1564669"/>
                  </a:lnTo>
                  <a:lnTo>
                    <a:pt x="2320557" y="1554444"/>
                  </a:lnTo>
                  <a:lnTo>
                    <a:pt x="2337132" y="1559427"/>
                  </a:lnTo>
                  <a:lnTo>
                    <a:pt x="2331783" y="1539210"/>
                  </a:lnTo>
                  <a:lnTo>
                    <a:pt x="2336614" y="1525327"/>
                  </a:lnTo>
                  <a:lnTo>
                    <a:pt x="2339557" y="1551931"/>
                  </a:lnTo>
                  <a:lnTo>
                    <a:pt x="2352367" y="1564061"/>
                  </a:lnTo>
                  <a:lnTo>
                    <a:pt x="2344611" y="1585512"/>
                  </a:lnTo>
                  <a:lnTo>
                    <a:pt x="2346892" y="1586755"/>
                  </a:lnTo>
                  <a:lnTo>
                    <a:pt x="2361008" y="1561574"/>
                  </a:lnTo>
                  <a:lnTo>
                    <a:pt x="2369050" y="1549220"/>
                  </a:lnTo>
                  <a:lnTo>
                    <a:pt x="2368674" y="1537144"/>
                  </a:lnTo>
                  <a:lnTo>
                    <a:pt x="2362448" y="1531428"/>
                  </a:lnTo>
                  <a:lnTo>
                    <a:pt x="2357233" y="1514064"/>
                  </a:lnTo>
                  <a:lnTo>
                    <a:pt x="2365463" y="1522142"/>
                  </a:lnTo>
                  <a:lnTo>
                    <a:pt x="2370973" y="1523824"/>
                  </a:lnTo>
                  <a:lnTo>
                    <a:pt x="2372834" y="1532089"/>
                  </a:lnTo>
                  <a:lnTo>
                    <a:pt x="2391083" y="1507230"/>
                  </a:lnTo>
                  <a:lnTo>
                    <a:pt x="2396495" y="1483775"/>
                  </a:lnTo>
                  <a:lnTo>
                    <a:pt x="2389115" y="1482272"/>
                  </a:lnTo>
                  <a:lnTo>
                    <a:pt x="2396754" y="1473148"/>
                  </a:lnTo>
                  <a:lnTo>
                    <a:pt x="2396012" y="1477191"/>
                  </a:lnTo>
                  <a:lnTo>
                    <a:pt x="2411988" y="1477128"/>
                  </a:lnTo>
                  <a:lnTo>
                    <a:pt x="2447099" y="1467234"/>
                  </a:lnTo>
                  <a:lnTo>
                    <a:pt x="2439666" y="1460955"/>
                  </a:lnTo>
                  <a:lnTo>
                    <a:pt x="2402828" y="1467190"/>
                  </a:lnTo>
                  <a:lnTo>
                    <a:pt x="2423734" y="1457591"/>
                  </a:lnTo>
                  <a:lnTo>
                    <a:pt x="2438315" y="1455945"/>
                  </a:lnTo>
                  <a:lnTo>
                    <a:pt x="2449229" y="1454281"/>
                  </a:lnTo>
                  <a:lnTo>
                    <a:pt x="2467782" y="1448467"/>
                  </a:lnTo>
                  <a:lnTo>
                    <a:pt x="2479831" y="1449120"/>
                  </a:lnTo>
                  <a:lnTo>
                    <a:pt x="2496765" y="1443708"/>
                  </a:lnTo>
                  <a:lnTo>
                    <a:pt x="2498769" y="1434136"/>
                  </a:lnTo>
                  <a:lnTo>
                    <a:pt x="2491246" y="1426667"/>
                  </a:lnTo>
                  <a:lnTo>
                    <a:pt x="2493876" y="1438940"/>
                  </a:lnTo>
                  <a:lnTo>
                    <a:pt x="2483463" y="1438099"/>
                  </a:lnTo>
                  <a:lnTo>
                    <a:pt x="2475188" y="1420253"/>
                  </a:lnTo>
                  <a:lnTo>
                    <a:pt x="2475439" y="1402246"/>
                  </a:lnTo>
                  <a:lnTo>
                    <a:pt x="2479688" y="1394561"/>
                  </a:lnTo>
                  <a:lnTo>
                    <a:pt x="2492963" y="1374139"/>
                  </a:lnTo>
                  <a:lnTo>
                    <a:pt x="2519451" y="1363887"/>
                  </a:lnTo>
                  <a:lnTo>
                    <a:pt x="2545223" y="1351865"/>
                  </a:lnTo>
                  <a:lnTo>
                    <a:pt x="2572005" y="1334868"/>
                  </a:lnTo>
                  <a:lnTo>
                    <a:pt x="2567676" y="1323284"/>
                  </a:lnTo>
                  <a:lnTo>
                    <a:pt x="2551279" y="1303147"/>
                  </a:lnTo>
                  <a:lnTo>
                    <a:pt x="2551377" y="1253696"/>
                  </a:lnTo>
                  <a:close/>
                  <a:moveTo>
                    <a:pt x="408420" y="802405"/>
                  </a:moveTo>
                  <a:lnTo>
                    <a:pt x="395029" y="809579"/>
                  </a:lnTo>
                  <a:lnTo>
                    <a:pt x="372245" y="826200"/>
                  </a:lnTo>
                  <a:lnTo>
                    <a:pt x="376127" y="847857"/>
                  </a:lnTo>
                  <a:lnTo>
                    <a:pt x="388955" y="859674"/>
                  </a:lnTo>
                  <a:lnTo>
                    <a:pt x="414002" y="842186"/>
                  </a:lnTo>
                  <a:lnTo>
                    <a:pt x="435704" y="820135"/>
                  </a:lnTo>
                  <a:lnTo>
                    <a:pt x="425077" y="805581"/>
                  </a:lnTo>
                  <a:lnTo>
                    <a:pt x="408420" y="802405"/>
                  </a:lnTo>
                  <a:close/>
                  <a:moveTo>
                    <a:pt x="309" y="546913"/>
                  </a:moveTo>
                  <a:lnTo>
                    <a:pt x="18575" y="535659"/>
                  </a:lnTo>
                  <a:lnTo>
                    <a:pt x="20642" y="529603"/>
                  </a:lnTo>
                  <a:lnTo>
                    <a:pt x="309" y="523502"/>
                  </a:lnTo>
                  <a:lnTo>
                    <a:pt x="309" y="546913"/>
                  </a:lnTo>
                  <a:close/>
                  <a:moveTo>
                    <a:pt x="76363" y="684333"/>
                  </a:moveTo>
                  <a:lnTo>
                    <a:pt x="51593" y="692984"/>
                  </a:lnTo>
                  <a:lnTo>
                    <a:pt x="66818" y="706617"/>
                  </a:lnTo>
                  <a:lnTo>
                    <a:pt x="83260" y="715938"/>
                  </a:lnTo>
                  <a:lnTo>
                    <a:pt x="98655" y="708182"/>
                  </a:lnTo>
                  <a:lnTo>
                    <a:pt x="96258" y="688914"/>
                  </a:lnTo>
                  <a:lnTo>
                    <a:pt x="76363" y="684333"/>
                  </a:lnTo>
                  <a:close/>
                  <a:moveTo>
                    <a:pt x="947145" y="975062"/>
                  </a:moveTo>
                  <a:lnTo>
                    <a:pt x="923073" y="978470"/>
                  </a:lnTo>
                  <a:lnTo>
                    <a:pt x="911282" y="972924"/>
                  </a:lnTo>
                  <a:lnTo>
                    <a:pt x="909789" y="986503"/>
                  </a:lnTo>
                  <a:lnTo>
                    <a:pt x="914431" y="1005056"/>
                  </a:lnTo>
                  <a:lnTo>
                    <a:pt x="927089" y="1018081"/>
                  </a:lnTo>
                  <a:lnTo>
                    <a:pt x="936357" y="1037162"/>
                  </a:lnTo>
                  <a:lnTo>
                    <a:pt x="951466" y="1055921"/>
                  </a:lnTo>
                  <a:lnTo>
                    <a:pt x="961467" y="1056001"/>
                  </a:lnTo>
                  <a:lnTo>
                    <a:pt x="939640" y="1022885"/>
                  </a:lnTo>
                  <a:lnTo>
                    <a:pt x="947145" y="975062"/>
                  </a:lnTo>
                  <a:close/>
                  <a:moveTo>
                    <a:pt x="332464" y="2054650"/>
                  </a:moveTo>
                  <a:lnTo>
                    <a:pt x="323545" y="2052109"/>
                  </a:lnTo>
                  <a:lnTo>
                    <a:pt x="321094" y="2054399"/>
                  </a:lnTo>
                  <a:lnTo>
                    <a:pt x="321318" y="2056063"/>
                  </a:lnTo>
                  <a:lnTo>
                    <a:pt x="324198" y="2058237"/>
                  </a:lnTo>
                  <a:lnTo>
                    <a:pt x="328519" y="2063846"/>
                  </a:lnTo>
                  <a:lnTo>
                    <a:pt x="336928" y="2061940"/>
                  </a:lnTo>
                  <a:lnTo>
                    <a:pt x="339021" y="2058747"/>
                  </a:lnTo>
                  <a:lnTo>
                    <a:pt x="332464" y="2054650"/>
                  </a:lnTo>
                  <a:close/>
                  <a:moveTo>
                    <a:pt x="305672" y="2049828"/>
                  </a:moveTo>
                  <a:lnTo>
                    <a:pt x="319108" y="2050606"/>
                  </a:lnTo>
                  <a:lnTo>
                    <a:pt x="319887" y="2047717"/>
                  </a:lnTo>
                  <a:lnTo>
                    <a:pt x="307542" y="2046572"/>
                  </a:lnTo>
                  <a:lnTo>
                    <a:pt x="305672" y="2049828"/>
                  </a:lnTo>
                  <a:close/>
                  <a:moveTo>
                    <a:pt x="358361" y="2079250"/>
                  </a:moveTo>
                  <a:lnTo>
                    <a:pt x="353906" y="2076951"/>
                  </a:lnTo>
                  <a:lnTo>
                    <a:pt x="344299" y="2072469"/>
                  </a:lnTo>
                  <a:lnTo>
                    <a:pt x="342393" y="2071977"/>
                  </a:lnTo>
                  <a:lnTo>
                    <a:pt x="340935" y="2074455"/>
                  </a:lnTo>
                  <a:lnTo>
                    <a:pt x="342662" y="2079670"/>
                  </a:lnTo>
                  <a:lnTo>
                    <a:pt x="338305" y="2083991"/>
                  </a:lnTo>
                  <a:lnTo>
                    <a:pt x="337053" y="2086943"/>
                  </a:lnTo>
                  <a:lnTo>
                    <a:pt x="341204" y="2096577"/>
                  </a:lnTo>
                  <a:lnTo>
                    <a:pt x="340488" y="2103957"/>
                  </a:lnTo>
                  <a:lnTo>
                    <a:pt x="346714" y="2107732"/>
                  </a:lnTo>
                  <a:lnTo>
                    <a:pt x="350382" y="2103322"/>
                  </a:lnTo>
                  <a:lnTo>
                    <a:pt x="358406" y="2099198"/>
                  </a:lnTo>
                  <a:lnTo>
                    <a:pt x="368210" y="2093554"/>
                  </a:lnTo>
                  <a:lnTo>
                    <a:pt x="368809" y="2092087"/>
                  </a:lnTo>
                  <a:lnTo>
                    <a:pt x="362422" y="2082810"/>
                  </a:lnTo>
                  <a:lnTo>
                    <a:pt x="358361" y="2079250"/>
                  </a:lnTo>
                  <a:close/>
                  <a:moveTo>
                    <a:pt x="288121" y="2033243"/>
                  </a:moveTo>
                  <a:lnTo>
                    <a:pt x="281412" y="2036947"/>
                  </a:lnTo>
                  <a:lnTo>
                    <a:pt x="282387" y="2038020"/>
                  </a:lnTo>
                  <a:lnTo>
                    <a:pt x="285572" y="2044094"/>
                  </a:lnTo>
                  <a:lnTo>
                    <a:pt x="294302" y="2045033"/>
                  </a:lnTo>
                  <a:lnTo>
                    <a:pt x="296100" y="2045382"/>
                  </a:lnTo>
                  <a:lnTo>
                    <a:pt x="297460" y="2043834"/>
                  </a:lnTo>
                  <a:lnTo>
                    <a:pt x="290214" y="2034979"/>
                  </a:lnTo>
                  <a:lnTo>
                    <a:pt x="288121" y="2033243"/>
                  </a:lnTo>
                  <a:close/>
                  <a:moveTo>
                    <a:pt x="248716" y="2019279"/>
                  </a:moveTo>
                  <a:lnTo>
                    <a:pt x="244887" y="2021918"/>
                  </a:lnTo>
                  <a:lnTo>
                    <a:pt x="243590" y="2023877"/>
                  </a:lnTo>
                  <a:lnTo>
                    <a:pt x="252035" y="2028779"/>
                  </a:lnTo>
                  <a:lnTo>
                    <a:pt x="255014" y="2026123"/>
                  </a:lnTo>
                  <a:lnTo>
                    <a:pt x="254495" y="2019852"/>
                  </a:lnTo>
                  <a:lnTo>
                    <a:pt x="248716" y="201927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/>
            <p:cNvSpPr/>
            <p:nvPr/>
          </p:nvSpPr>
          <p:spPr>
            <a:xfrm>
              <a:off x="4372227" y="5448857"/>
              <a:ext cx="130863" cy="143468"/>
            </a:xfrm>
            <a:custGeom>
              <a:avLst/>
              <a:gdLst>
                <a:gd name="connsiteX0" fmla="*/ 20498 w 130863"/>
                <a:gd name="connsiteY0" fmla="*/ 3306 h 143468"/>
                <a:gd name="connsiteX1" fmla="*/ 36770 w 130863"/>
                <a:gd name="connsiteY1" fmla="*/ 228 h 143468"/>
                <a:gd name="connsiteX2" fmla="*/ 61934 w 130863"/>
                <a:gd name="connsiteY2" fmla="*/ 22628 h 143468"/>
                <a:gd name="connsiteX3" fmla="*/ 71246 w 130863"/>
                <a:gd name="connsiteY3" fmla="*/ 21778 h 143468"/>
                <a:gd name="connsiteX4" fmla="*/ 97063 w 130863"/>
                <a:gd name="connsiteY4" fmla="*/ 40465 h 143468"/>
                <a:gd name="connsiteX5" fmla="*/ 116734 w 130863"/>
                <a:gd name="connsiteY5" fmla="*/ 56701 h 143468"/>
                <a:gd name="connsiteX6" fmla="*/ 131244 w 130863"/>
                <a:gd name="connsiteY6" fmla="*/ 76811 h 143468"/>
                <a:gd name="connsiteX7" fmla="*/ 120187 w 130863"/>
                <a:gd name="connsiteY7" fmla="*/ 90927 h 143468"/>
                <a:gd name="connsiteX8" fmla="*/ 127129 w 130863"/>
                <a:gd name="connsiteY8" fmla="*/ 107879 h 143468"/>
                <a:gd name="connsiteX9" fmla="*/ 116278 w 130863"/>
                <a:gd name="connsiteY9" fmla="*/ 126825 h 143468"/>
                <a:gd name="connsiteX10" fmla="*/ 87948 w 130863"/>
                <a:gd name="connsiteY10" fmla="*/ 143697 h 143468"/>
                <a:gd name="connsiteX11" fmla="*/ 69430 w 130863"/>
                <a:gd name="connsiteY11" fmla="*/ 137614 h 143468"/>
                <a:gd name="connsiteX12" fmla="*/ 55860 w 130863"/>
                <a:gd name="connsiteY12" fmla="*/ 140870 h 143468"/>
                <a:gd name="connsiteX13" fmla="*/ 32673 w 130863"/>
                <a:gd name="connsiteY13" fmla="*/ 127836 h 143468"/>
                <a:gd name="connsiteX14" fmla="*/ 15659 w 130863"/>
                <a:gd name="connsiteY14" fmla="*/ 128811 h 143468"/>
                <a:gd name="connsiteX15" fmla="*/ 380 w 130863"/>
                <a:gd name="connsiteY15" fmla="*/ 112119 h 143468"/>
                <a:gd name="connsiteX16" fmla="*/ 2321 w 130863"/>
                <a:gd name="connsiteY16" fmla="*/ 92752 h 143468"/>
                <a:gd name="connsiteX17" fmla="*/ 7769 w 130863"/>
                <a:gd name="connsiteY17" fmla="*/ 86114 h 143468"/>
                <a:gd name="connsiteX18" fmla="*/ 7519 w 130863"/>
                <a:gd name="connsiteY18" fmla="*/ 56621 h 143468"/>
                <a:gd name="connsiteX19" fmla="*/ 14228 w 130863"/>
                <a:gd name="connsiteY19" fmla="*/ 26510 h 143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0863" h="143468">
                  <a:moveTo>
                    <a:pt x="20498" y="3306"/>
                  </a:moveTo>
                  <a:lnTo>
                    <a:pt x="36770" y="228"/>
                  </a:lnTo>
                  <a:lnTo>
                    <a:pt x="61934" y="22628"/>
                  </a:lnTo>
                  <a:lnTo>
                    <a:pt x="71246" y="21778"/>
                  </a:lnTo>
                  <a:lnTo>
                    <a:pt x="97063" y="40465"/>
                  </a:lnTo>
                  <a:lnTo>
                    <a:pt x="116734" y="56701"/>
                  </a:lnTo>
                  <a:lnTo>
                    <a:pt x="131244" y="76811"/>
                  </a:lnTo>
                  <a:lnTo>
                    <a:pt x="120187" y="90927"/>
                  </a:lnTo>
                  <a:lnTo>
                    <a:pt x="127129" y="107879"/>
                  </a:lnTo>
                  <a:lnTo>
                    <a:pt x="116278" y="126825"/>
                  </a:lnTo>
                  <a:lnTo>
                    <a:pt x="87948" y="143697"/>
                  </a:lnTo>
                  <a:lnTo>
                    <a:pt x="69430" y="137614"/>
                  </a:lnTo>
                  <a:lnTo>
                    <a:pt x="55860" y="140870"/>
                  </a:lnTo>
                  <a:lnTo>
                    <a:pt x="32673" y="127836"/>
                  </a:lnTo>
                  <a:lnTo>
                    <a:pt x="15659" y="128811"/>
                  </a:lnTo>
                  <a:lnTo>
                    <a:pt x="380" y="112119"/>
                  </a:lnTo>
                  <a:lnTo>
                    <a:pt x="2321" y="92752"/>
                  </a:lnTo>
                  <a:lnTo>
                    <a:pt x="7769" y="86114"/>
                  </a:lnTo>
                  <a:lnTo>
                    <a:pt x="7519" y="56621"/>
                  </a:lnTo>
                  <a:lnTo>
                    <a:pt x="14228" y="2651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/>
            <p:cNvSpPr/>
            <p:nvPr/>
          </p:nvSpPr>
          <p:spPr>
            <a:xfrm>
              <a:off x="7240484" y="3380461"/>
              <a:ext cx="429572" cy="281711"/>
            </a:xfrm>
            <a:custGeom>
              <a:avLst/>
              <a:gdLst>
                <a:gd name="connsiteX0" fmla="*/ 266137 w 429572"/>
                <a:gd name="connsiteY0" fmla="*/ 275014 h 281711"/>
                <a:gd name="connsiteX1" fmla="*/ 266826 w 429572"/>
                <a:gd name="connsiteY1" fmla="*/ 255701 h 281711"/>
                <a:gd name="connsiteX2" fmla="*/ 233459 w 429572"/>
                <a:gd name="connsiteY2" fmla="*/ 242104 h 281711"/>
                <a:gd name="connsiteX3" fmla="*/ 207231 w 429572"/>
                <a:gd name="connsiteY3" fmla="*/ 226440 h 281711"/>
                <a:gd name="connsiteX4" fmla="*/ 190870 w 429572"/>
                <a:gd name="connsiteY4" fmla="*/ 211278 h 281711"/>
                <a:gd name="connsiteX5" fmla="*/ 162191 w 429572"/>
                <a:gd name="connsiteY5" fmla="*/ 188851 h 281711"/>
                <a:gd name="connsiteX6" fmla="*/ 149854 w 429572"/>
                <a:gd name="connsiteY6" fmla="*/ 154939 h 281711"/>
                <a:gd name="connsiteX7" fmla="*/ 141437 w 429572"/>
                <a:gd name="connsiteY7" fmla="*/ 148910 h 281711"/>
                <a:gd name="connsiteX8" fmla="*/ 114323 w 429572"/>
                <a:gd name="connsiteY8" fmla="*/ 150439 h 281711"/>
                <a:gd name="connsiteX9" fmla="*/ 104725 w 429572"/>
                <a:gd name="connsiteY9" fmla="*/ 143632 h 281711"/>
                <a:gd name="connsiteX10" fmla="*/ 102041 w 429572"/>
                <a:gd name="connsiteY10" fmla="*/ 116867 h 281711"/>
                <a:gd name="connsiteX11" fmla="*/ 68245 w 429572"/>
                <a:gd name="connsiteY11" fmla="*/ 98958 h 281711"/>
                <a:gd name="connsiteX12" fmla="*/ 47115 w 429572"/>
                <a:gd name="connsiteY12" fmla="*/ 118647 h 281711"/>
                <a:gd name="connsiteX13" fmla="*/ 25691 w 429572"/>
                <a:gd name="connsiteY13" fmla="*/ 130231 h 281711"/>
                <a:gd name="connsiteX14" fmla="*/ 29806 w 429572"/>
                <a:gd name="connsiteY14" fmla="*/ 147049 h 281711"/>
                <a:gd name="connsiteX15" fmla="*/ 1511 w 429572"/>
                <a:gd name="connsiteY15" fmla="*/ 147505 h 281711"/>
                <a:gd name="connsiteX16" fmla="*/ 518 w 429572"/>
                <a:gd name="connsiteY16" fmla="*/ 21132 h 281711"/>
                <a:gd name="connsiteX17" fmla="*/ 65087 w 429572"/>
                <a:gd name="connsiteY17" fmla="*/ 137 h 281711"/>
                <a:gd name="connsiteX18" fmla="*/ 69774 w 429572"/>
                <a:gd name="connsiteY18" fmla="*/ 3232 h 281711"/>
                <a:gd name="connsiteX19" fmla="*/ 108651 w 429572"/>
                <a:gd name="connsiteY19" fmla="*/ 28611 h 281711"/>
                <a:gd name="connsiteX20" fmla="*/ 129172 w 429572"/>
                <a:gd name="connsiteY20" fmla="*/ 41886 h 281711"/>
                <a:gd name="connsiteX21" fmla="*/ 153129 w 429572"/>
                <a:gd name="connsiteY21" fmla="*/ 73177 h 281711"/>
                <a:gd name="connsiteX22" fmla="*/ 182541 w 429572"/>
                <a:gd name="connsiteY22" fmla="*/ 68159 h 281711"/>
                <a:gd name="connsiteX23" fmla="*/ 225560 w 429572"/>
                <a:gd name="connsiteY23" fmla="*/ 65457 h 281711"/>
                <a:gd name="connsiteX24" fmla="*/ 255581 w 429572"/>
                <a:gd name="connsiteY24" fmla="*/ 90567 h 281711"/>
                <a:gd name="connsiteX25" fmla="*/ 253712 w 429572"/>
                <a:gd name="connsiteY25" fmla="*/ 124569 h 281711"/>
                <a:gd name="connsiteX26" fmla="*/ 265931 w 429572"/>
                <a:gd name="connsiteY26" fmla="*/ 124802 h 281711"/>
                <a:gd name="connsiteX27" fmla="*/ 271039 w 429572"/>
                <a:gd name="connsiteY27" fmla="*/ 152166 h 281711"/>
                <a:gd name="connsiteX28" fmla="*/ 302930 w 429572"/>
                <a:gd name="connsiteY28" fmla="*/ 153239 h 281711"/>
                <a:gd name="connsiteX29" fmla="*/ 309809 w 429572"/>
                <a:gd name="connsiteY29" fmla="*/ 168903 h 281711"/>
                <a:gd name="connsiteX30" fmla="*/ 319148 w 429572"/>
                <a:gd name="connsiteY30" fmla="*/ 168688 h 281711"/>
                <a:gd name="connsiteX31" fmla="*/ 330124 w 429572"/>
                <a:gd name="connsiteY31" fmla="*/ 144991 h 281711"/>
                <a:gd name="connsiteX32" fmla="*/ 363204 w 429572"/>
                <a:gd name="connsiteY32" fmla="*/ 121653 h 281711"/>
                <a:gd name="connsiteX33" fmla="*/ 377589 w 429572"/>
                <a:gd name="connsiteY33" fmla="*/ 115418 h 281711"/>
                <a:gd name="connsiteX34" fmla="*/ 385041 w 429572"/>
                <a:gd name="connsiteY34" fmla="*/ 118736 h 281711"/>
                <a:gd name="connsiteX35" fmla="*/ 363983 w 429572"/>
                <a:gd name="connsiteY35" fmla="*/ 140465 h 281711"/>
                <a:gd name="connsiteX36" fmla="*/ 382500 w 429572"/>
                <a:gd name="connsiteY36" fmla="*/ 152998 h 281711"/>
                <a:gd name="connsiteX37" fmla="*/ 400364 w 429572"/>
                <a:gd name="connsiteY37" fmla="*/ 144705 h 281711"/>
                <a:gd name="connsiteX38" fmla="*/ 430090 w 429572"/>
                <a:gd name="connsiteY38" fmla="*/ 162185 h 281711"/>
                <a:gd name="connsiteX39" fmla="*/ 397967 w 429572"/>
                <a:gd name="connsiteY39" fmla="*/ 185846 h 281711"/>
                <a:gd name="connsiteX40" fmla="*/ 378886 w 429572"/>
                <a:gd name="connsiteY40" fmla="*/ 182625 h 281711"/>
                <a:gd name="connsiteX41" fmla="*/ 368536 w 429572"/>
                <a:gd name="connsiteY41" fmla="*/ 183475 h 281711"/>
                <a:gd name="connsiteX42" fmla="*/ 364949 w 429572"/>
                <a:gd name="connsiteY42" fmla="*/ 174360 h 281711"/>
                <a:gd name="connsiteX43" fmla="*/ 370173 w 429572"/>
                <a:gd name="connsiteY43" fmla="*/ 159072 h 281711"/>
                <a:gd name="connsiteX44" fmla="*/ 336636 w 429572"/>
                <a:gd name="connsiteY44" fmla="*/ 166747 h 281711"/>
                <a:gd name="connsiteX45" fmla="*/ 328657 w 429572"/>
                <a:gd name="connsiteY45" fmla="*/ 187796 h 281711"/>
                <a:gd name="connsiteX46" fmla="*/ 316742 w 429572"/>
                <a:gd name="connsiteY46" fmla="*/ 205767 h 281711"/>
                <a:gd name="connsiteX47" fmla="*/ 295800 w 429572"/>
                <a:gd name="connsiteY47" fmla="*/ 204246 h 281711"/>
                <a:gd name="connsiteX48" fmla="*/ 289297 w 429572"/>
                <a:gd name="connsiteY48" fmla="*/ 218479 h 281711"/>
                <a:gd name="connsiteX49" fmla="*/ 307698 w 429572"/>
                <a:gd name="connsiteY49" fmla="*/ 226145 h 281711"/>
                <a:gd name="connsiteX50" fmla="*/ 313119 w 429572"/>
                <a:gd name="connsiteY50" fmla="*/ 249922 h 281711"/>
                <a:gd name="connsiteX51" fmla="*/ 299021 w 429572"/>
                <a:gd name="connsiteY51" fmla="*/ 281849 h 281711"/>
                <a:gd name="connsiteX52" fmla="*/ 280101 w 429572"/>
                <a:gd name="connsiteY52" fmla="*/ 275220 h 28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9572" h="281711">
                  <a:moveTo>
                    <a:pt x="266137" y="275014"/>
                  </a:moveTo>
                  <a:lnTo>
                    <a:pt x="266826" y="255701"/>
                  </a:lnTo>
                  <a:lnTo>
                    <a:pt x="233459" y="242104"/>
                  </a:lnTo>
                  <a:lnTo>
                    <a:pt x="207231" y="226440"/>
                  </a:lnTo>
                  <a:lnTo>
                    <a:pt x="190870" y="211278"/>
                  </a:lnTo>
                  <a:lnTo>
                    <a:pt x="162191" y="188851"/>
                  </a:lnTo>
                  <a:lnTo>
                    <a:pt x="149854" y="154939"/>
                  </a:lnTo>
                  <a:lnTo>
                    <a:pt x="141437" y="148910"/>
                  </a:lnTo>
                  <a:lnTo>
                    <a:pt x="114323" y="150439"/>
                  </a:lnTo>
                  <a:lnTo>
                    <a:pt x="104725" y="143632"/>
                  </a:lnTo>
                  <a:lnTo>
                    <a:pt x="102041" y="116867"/>
                  </a:lnTo>
                  <a:lnTo>
                    <a:pt x="68245" y="98958"/>
                  </a:lnTo>
                  <a:lnTo>
                    <a:pt x="47115" y="118647"/>
                  </a:lnTo>
                  <a:lnTo>
                    <a:pt x="25691" y="130231"/>
                  </a:lnTo>
                  <a:lnTo>
                    <a:pt x="29806" y="147049"/>
                  </a:lnTo>
                  <a:lnTo>
                    <a:pt x="1511" y="147505"/>
                  </a:lnTo>
                  <a:lnTo>
                    <a:pt x="518" y="21132"/>
                  </a:lnTo>
                  <a:lnTo>
                    <a:pt x="65087" y="137"/>
                  </a:lnTo>
                  <a:lnTo>
                    <a:pt x="69774" y="3232"/>
                  </a:lnTo>
                  <a:lnTo>
                    <a:pt x="108651" y="28611"/>
                  </a:lnTo>
                  <a:lnTo>
                    <a:pt x="129172" y="41886"/>
                  </a:lnTo>
                  <a:lnTo>
                    <a:pt x="153129" y="73177"/>
                  </a:lnTo>
                  <a:lnTo>
                    <a:pt x="182541" y="68159"/>
                  </a:lnTo>
                  <a:lnTo>
                    <a:pt x="225560" y="65457"/>
                  </a:lnTo>
                  <a:lnTo>
                    <a:pt x="255581" y="90567"/>
                  </a:lnTo>
                  <a:lnTo>
                    <a:pt x="253712" y="124569"/>
                  </a:lnTo>
                  <a:lnTo>
                    <a:pt x="265931" y="124802"/>
                  </a:lnTo>
                  <a:lnTo>
                    <a:pt x="271039" y="152166"/>
                  </a:lnTo>
                  <a:lnTo>
                    <a:pt x="302930" y="153239"/>
                  </a:lnTo>
                  <a:lnTo>
                    <a:pt x="309809" y="168903"/>
                  </a:lnTo>
                  <a:lnTo>
                    <a:pt x="319148" y="168688"/>
                  </a:lnTo>
                  <a:lnTo>
                    <a:pt x="330124" y="144991"/>
                  </a:lnTo>
                  <a:lnTo>
                    <a:pt x="363204" y="121653"/>
                  </a:lnTo>
                  <a:lnTo>
                    <a:pt x="377589" y="115418"/>
                  </a:lnTo>
                  <a:lnTo>
                    <a:pt x="385041" y="118736"/>
                  </a:lnTo>
                  <a:lnTo>
                    <a:pt x="363983" y="140465"/>
                  </a:lnTo>
                  <a:lnTo>
                    <a:pt x="382500" y="152998"/>
                  </a:lnTo>
                  <a:lnTo>
                    <a:pt x="400364" y="144705"/>
                  </a:lnTo>
                  <a:lnTo>
                    <a:pt x="430090" y="162185"/>
                  </a:lnTo>
                  <a:lnTo>
                    <a:pt x="397967" y="185846"/>
                  </a:lnTo>
                  <a:lnTo>
                    <a:pt x="378886" y="182625"/>
                  </a:lnTo>
                  <a:lnTo>
                    <a:pt x="368536" y="183475"/>
                  </a:lnTo>
                  <a:lnTo>
                    <a:pt x="364949" y="174360"/>
                  </a:lnTo>
                  <a:lnTo>
                    <a:pt x="370173" y="159072"/>
                  </a:lnTo>
                  <a:lnTo>
                    <a:pt x="336636" y="166747"/>
                  </a:lnTo>
                  <a:lnTo>
                    <a:pt x="328657" y="187796"/>
                  </a:lnTo>
                  <a:lnTo>
                    <a:pt x="316742" y="205767"/>
                  </a:lnTo>
                  <a:lnTo>
                    <a:pt x="295800" y="204246"/>
                  </a:lnTo>
                  <a:lnTo>
                    <a:pt x="289297" y="218479"/>
                  </a:lnTo>
                  <a:lnTo>
                    <a:pt x="307698" y="226145"/>
                  </a:lnTo>
                  <a:lnTo>
                    <a:pt x="313119" y="249922"/>
                  </a:lnTo>
                  <a:lnTo>
                    <a:pt x="299021" y="281849"/>
                  </a:lnTo>
                  <a:lnTo>
                    <a:pt x="280101" y="275220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/>
            <p:cNvSpPr/>
            <p:nvPr/>
          </p:nvSpPr>
          <p:spPr>
            <a:xfrm>
              <a:off x="3999065" y="4355762"/>
              <a:ext cx="339776" cy="287293"/>
            </a:xfrm>
            <a:custGeom>
              <a:avLst/>
              <a:gdLst>
                <a:gd name="connsiteX0" fmla="*/ 49863 w 339776"/>
                <a:gd name="connsiteY0" fmla="*/ 10022 h 287293"/>
                <a:gd name="connsiteX1" fmla="*/ 49148 w 339776"/>
                <a:gd name="connsiteY1" fmla="*/ 16033 h 287293"/>
                <a:gd name="connsiteX2" fmla="*/ 34423 w 339776"/>
                <a:gd name="connsiteY2" fmla="*/ 18994 h 287293"/>
                <a:gd name="connsiteX3" fmla="*/ 42599 w 339776"/>
                <a:gd name="connsiteY3" fmla="*/ 30534 h 287293"/>
                <a:gd name="connsiteX4" fmla="*/ 42295 w 339776"/>
                <a:gd name="connsiteY4" fmla="*/ 43791 h 287293"/>
                <a:gd name="connsiteX5" fmla="*/ 31230 w 339776"/>
                <a:gd name="connsiteY5" fmla="*/ 58497 h 287293"/>
                <a:gd name="connsiteX6" fmla="*/ 40730 w 339776"/>
                <a:gd name="connsiteY6" fmla="*/ 78544 h 287293"/>
                <a:gd name="connsiteX7" fmla="*/ 51545 w 339776"/>
                <a:gd name="connsiteY7" fmla="*/ 76898 h 287293"/>
                <a:gd name="connsiteX8" fmla="*/ 57172 w 339776"/>
                <a:gd name="connsiteY8" fmla="*/ 58641 h 287293"/>
                <a:gd name="connsiteX9" fmla="*/ 49398 w 339776"/>
                <a:gd name="connsiteY9" fmla="*/ 49731 h 287293"/>
                <a:gd name="connsiteX10" fmla="*/ 48128 w 339776"/>
                <a:gd name="connsiteY10" fmla="*/ 30543 h 287293"/>
                <a:gd name="connsiteX11" fmla="*/ 79365 w 339776"/>
                <a:gd name="connsiteY11" fmla="*/ 20211 h 287293"/>
                <a:gd name="connsiteX12" fmla="*/ 75886 w 339776"/>
                <a:gd name="connsiteY12" fmla="*/ 8224 h 287293"/>
                <a:gd name="connsiteX13" fmla="*/ 84688 w 339776"/>
                <a:gd name="connsiteY13" fmla="*/ 182 h 287293"/>
                <a:gd name="connsiteX14" fmla="*/ 93687 w 339776"/>
                <a:gd name="connsiteY14" fmla="*/ 18073 h 287293"/>
                <a:gd name="connsiteX15" fmla="*/ 111274 w 339776"/>
                <a:gd name="connsiteY15" fmla="*/ 18484 h 287293"/>
                <a:gd name="connsiteX16" fmla="*/ 127573 w 339776"/>
                <a:gd name="connsiteY16" fmla="*/ 32654 h 287293"/>
                <a:gd name="connsiteX17" fmla="*/ 128557 w 339776"/>
                <a:gd name="connsiteY17" fmla="*/ 41054 h 287293"/>
                <a:gd name="connsiteX18" fmla="*/ 151073 w 339776"/>
                <a:gd name="connsiteY18" fmla="*/ 41277 h 287293"/>
                <a:gd name="connsiteX19" fmla="*/ 177873 w 339776"/>
                <a:gd name="connsiteY19" fmla="*/ 38665 h 287293"/>
                <a:gd name="connsiteX20" fmla="*/ 192240 w 339776"/>
                <a:gd name="connsiteY20" fmla="*/ 50017 h 287293"/>
                <a:gd name="connsiteX21" fmla="*/ 211419 w 339776"/>
                <a:gd name="connsiteY21" fmla="*/ 53139 h 287293"/>
                <a:gd name="connsiteX22" fmla="*/ 225490 w 339776"/>
                <a:gd name="connsiteY22" fmla="*/ 45231 h 287293"/>
                <a:gd name="connsiteX23" fmla="*/ 225776 w 339776"/>
                <a:gd name="connsiteY23" fmla="*/ 38853 h 287293"/>
                <a:gd name="connsiteX24" fmla="*/ 256844 w 339776"/>
                <a:gd name="connsiteY24" fmla="*/ 37324 h 287293"/>
                <a:gd name="connsiteX25" fmla="*/ 286901 w 339776"/>
                <a:gd name="connsiteY25" fmla="*/ 36966 h 287293"/>
                <a:gd name="connsiteX26" fmla="*/ 265602 w 339776"/>
                <a:gd name="connsiteY26" fmla="*/ 44453 h 287293"/>
                <a:gd name="connsiteX27" fmla="*/ 274172 w 339776"/>
                <a:gd name="connsiteY27" fmla="*/ 56413 h 287293"/>
                <a:gd name="connsiteX28" fmla="*/ 294227 w 339776"/>
                <a:gd name="connsiteY28" fmla="*/ 58309 h 287293"/>
                <a:gd name="connsiteX29" fmla="*/ 313245 w 339776"/>
                <a:gd name="connsiteY29" fmla="*/ 70735 h 287293"/>
                <a:gd name="connsiteX30" fmla="*/ 317244 w 339776"/>
                <a:gd name="connsiteY30" fmla="*/ 90943 h 287293"/>
                <a:gd name="connsiteX31" fmla="*/ 330314 w 339776"/>
                <a:gd name="connsiteY31" fmla="*/ 90379 h 287293"/>
                <a:gd name="connsiteX32" fmla="*/ 340145 w 339776"/>
                <a:gd name="connsiteY32" fmla="*/ 96319 h 287293"/>
                <a:gd name="connsiteX33" fmla="*/ 320268 w 339776"/>
                <a:gd name="connsiteY33" fmla="*/ 111097 h 287293"/>
                <a:gd name="connsiteX34" fmla="*/ 318076 w 339776"/>
                <a:gd name="connsiteY34" fmla="*/ 120266 h 287293"/>
                <a:gd name="connsiteX35" fmla="*/ 326664 w 339776"/>
                <a:gd name="connsiteY35" fmla="*/ 129587 h 287293"/>
                <a:gd name="connsiteX36" fmla="*/ 320438 w 339776"/>
                <a:gd name="connsiteY36" fmla="*/ 134293 h 287293"/>
                <a:gd name="connsiteX37" fmla="*/ 304998 w 339776"/>
                <a:gd name="connsiteY37" fmla="*/ 138318 h 287293"/>
                <a:gd name="connsiteX38" fmla="*/ 305499 w 339776"/>
                <a:gd name="connsiteY38" fmla="*/ 149894 h 287293"/>
                <a:gd name="connsiteX39" fmla="*/ 298700 w 339776"/>
                <a:gd name="connsiteY39" fmla="*/ 156791 h 287293"/>
                <a:gd name="connsiteX40" fmla="*/ 315679 w 339776"/>
                <a:gd name="connsiteY40" fmla="*/ 175791 h 287293"/>
                <a:gd name="connsiteX41" fmla="*/ 318997 w 339776"/>
                <a:gd name="connsiteY41" fmla="*/ 182849 h 287293"/>
                <a:gd name="connsiteX42" fmla="*/ 309828 w 339776"/>
                <a:gd name="connsiteY42" fmla="*/ 192385 h 287293"/>
                <a:gd name="connsiteX43" fmla="*/ 281775 w 339776"/>
                <a:gd name="connsiteY43" fmla="*/ 201742 h 287293"/>
                <a:gd name="connsiteX44" fmla="*/ 263732 w 339776"/>
                <a:gd name="connsiteY44" fmla="*/ 205615 h 287293"/>
                <a:gd name="connsiteX45" fmla="*/ 256495 w 339776"/>
                <a:gd name="connsiteY45" fmla="*/ 211519 h 287293"/>
                <a:gd name="connsiteX46" fmla="*/ 236556 w 339776"/>
                <a:gd name="connsiteY46" fmla="*/ 205275 h 287293"/>
                <a:gd name="connsiteX47" fmla="*/ 217985 w 339776"/>
                <a:gd name="connsiteY47" fmla="*/ 202082 h 287293"/>
                <a:gd name="connsiteX48" fmla="*/ 213280 w 339776"/>
                <a:gd name="connsiteY48" fmla="*/ 204381 h 287293"/>
                <a:gd name="connsiteX49" fmla="*/ 224506 w 339776"/>
                <a:gd name="connsiteY49" fmla="*/ 210857 h 287293"/>
                <a:gd name="connsiteX50" fmla="*/ 223495 w 339776"/>
                <a:gd name="connsiteY50" fmla="*/ 227585 h 287293"/>
                <a:gd name="connsiteX51" fmla="*/ 226975 w 339776"/>
                <a:gd name="connsiteY51" fmla="*/ 243302 h 287293"/>
                <a:gd name="connsiteX52" fmla="*/ 248230 w 339776"/>
                <a:gd name="connsiteY52" fmla="*/ 245440 h 287293"/>
                <a:gd name="connsiteX53" fmla="*/ 249580 w 339776"/>
                <a:gd name="connsiteY53" fmla="*/ 250682 h 287293"/>
                <a:gd name="connsiteX54" fmla="*/ 231663 w 339776"/>
                <a:gd name="connsiteY54" fmla="*/ 257776 h 287293"/>
                <a:gd name="connsiteX55" fmla="*/ 228755 w 339776"/>
                <a:gd name="connsiteY55" fmla="*/ 268332 h 287293"/>
                <a:gd name="connsiteX56" fmla="*/ 218423 w 339776"/>
                <a:gd name="connsiteY56" fmla="*/ 272420 h 287293"/>
                <a:gd name="connsiteX57" fmla="*/ 199772 w 339776"/>
                <a:gd name="connsiteY57" fmla="*/ 278235 h 287293"/>
                <a:gd name="connsiteX58" fmla="*/ 194914 w 339776"/>
                <a:gd name="connsiteY58" fmla="*/ 285865 h 287293"/>
                <a:gd name="connsiteX59" fmla="*/ 175413 w 339776"/>
                <a:gd name="connsiteY59" fmla="*/ 287475 h 287293"/>
                <a:gd name="connsiteX60" fmla="*/ 161610 w 339776"/>
                <a:gd name="connsiteY60" fmla="*/ 274299 h 287293"/>
                <a:gd name="connsiteX61" fmla="*/ 153962 w 339776"/>
                <a:gd name="connsiteY61" fmla="*/ 249439 h 287293"/>
                <a:gd name="connsiteX62" fmla="*/ 147289 w 339776"/>
                <a:gd name="connsiteY62" fmla="*/ 240726 h 287293"/>
                <a:gd name="connsiteX63" fmla="*/ 138191 w 339776"/>
                <a:gd name="connsiteY63" fmla="*/ 235225 h 287293"/>
                <a:gd name="connsiteX64" fmla="*/ 150903 w 339776"/>
                <a:gd name="connsiteY64" fmla="*/ 222808 h 287293"/>
                <a:gd name="connsiteX65" fmla="*/ 150035 w 339776"/>
                <a:gd name="connsiteY65" fmla="*/ 217217 h 287293"/>
                <a:gd name="connsiteX66" fmla="*/ 142905 w 339776"/>
                <a:gd name="connsiteY66" fmla="*/ 209801 h 287293"/>
                <a:gd name="connsiteX67" fmla="*/ 137860 w 339776"/>
                <a:gd name="connsiteY67" fmla="*/ 193199 h 287293"/>
                <a:gd name="connsiteX68" fmla="*/ 139828 w 339776"/>
                <a:gd name="connsiteY68" fmla="*/ 175263 h 287293"/>
                <a:gd name="connsiteX69" fmla="*/ 145428 w 339776"/>
                <a:gd name="connsiteY69" fmla="*/ 166863 h 287293"/>
                <a:gd name="connsiteX70" fmla="*/ 149945 w 339776"/>
                <a:gd name="connsiteY70" fmla="*/ 153373 h 287293"/>
                <a:gd name="connsiteX71" fmla="*/ 141072 w 339776"/>
                <a:gd name="connsiteY71" fmla="*/ 149070 h 287293"/>
                <a:gd name="connsiteX72" fmla="*/ 126777 w 339776"/>
                <a:gd name="connsiteY72" fmla="*/ 151924 h 287293"/>
                <a:gd name="connsiteX73" fmla="*/ 108707 w 339776"/>
                <a:gd name="connsiteY73" fmla="*/ 150582 h 287293"/>
                <a:gd name="connsiteX74" fmla="*/ 98571 w 339776"/>
                <a:gd name="connsiteY74" fmla="*/ 153266 h 287293"/>
                <a:gd name="connsiteX75" fmla="*/ 80922 w 339776"/>
                <a:gd name="connsiteY75" fmla="*/ 131680 h 287293"/>
                <a:gd name="connsiteX76" fmla="*/ 66350 w 339776"/>
                <a:gd name="connsiteY76" fmla="*/ 128487 h 287293"/>
                <a:gd name="connsiteX77" fmla="*/ 34092 w 339776"/>
                <a:gd name="connsiteY77" fmla="*/ 130902 h 287293"/>
                <a:gd name="connsiteX78" fmla="*/ 28117 w 339776"/>
                <a:gd name="connsiteY78" fmla="*/ 122145 h 287293"/>
                <a:gd name="connsiteX79" fmla="*/ 21944 w 339776"/>
                <a:gd name="connsiteY79" fmla="*/ 120042 h 287293"/>
                <a:gd name="connsiteX80" fmla="*/ 21068 w 339776"/>
                <a:gd name="connsiteY80" fmla="*/ 114800 h 287293"/>
                <a:gd name="connsiteX81" fmla="*/ 24047 w 339776"/>
                <a:gd name="connsiteY81" fmla="*/ 105488 h 287293"/>
                <a:gd name="connsiteX82" fmla="*/ 22061 w 339776"/>
                <a:gd name="connsiteY82" fmla="*/ 95353 h 287293"/>
                <a:gd name="connsiteX83" fmla="*/ 16523 w 339776"/>
                <a:gd name="connsiteY83" fmla="*/ 89816 h 287293"/>
                <a:gd name="connsiteX84" fmla="*/ 13312 w 339776"/>
                <a:gd name="connsiteY84" fmla="*/ 78222 h 287293"/>
                <a:gd name="connsiteX85" fmla="*/ 368 w 339776"/>
                <a:gd name="connsiteY85" fmla="*/ 76532 h 287293"/>
                <a:gd name="connsiteX86" fmla="*/ 7318 w 339776"/>
                <a:gd name="connsiteY86" fmla="*/ 61754 h 287293"/>
                <a:gd name="connsiteX87" fmla="*/ 10387 w 339776"/>
                <a:gd name="connsiteY87" fmla="*/ 43693 h 287293"/>
                <a:gd name="connsiteX88" fmla="*/ 17677 w 339776"/>
                <a:gd name="connsiteY88" fmla="*/ 34273 h 287293"/>
                <a:gd name="connsiteX89" fmla="*/ 27383 w 339776"/>
                <a:gd name="connsiteY89" fmla="*/ 26991 h 287293"/>
                <a:gd name="connsiteX90" fmla="*/ 33752 w 339776"/>
                <a:gd name="connsiteY90" fmla="*/ 14289 h 28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39776" h="287293">
                  <a:moveTo>
                    <a:pt x="49863" y="10022"/>
                  </a:moveTo>
                  <a:lnTo>
                    <a:pt x="49148" y="16033"/>
                  </a:lnTo>
                  <a:lnTo>
                    <a:pt x="34423" y="18994"/>
                  </a:lnTo>
                  <a:lnTo>
                    <a:pt x="42599" y="30534"/>
                  </a:lnTo>
                  <a:lnTo>
                    <a:pt x="42295" y="43791"/>
                  </a:lnTo>
                  <a:lnTo>
                    <a:pt x="31230" y="58497"/>
                  </a:lnTo>
                  <a:lnTo>
                    <a:pt x="40730" y="78544"/>
                  </a:lnTo>
                  <a:lnTo>
                    <a:pt x="51545" y="76898"/>
                  </a:lnTo>
                  <a:lnTo>
                    <a:pt x="57172" y="58641"/>
                  </a:lnTo>
                  <a:lnTo>
                    <a:pt x="49398" y="49731"/>
                  </a:lnTo>
                  <a:lnTo>
                    <a:pt x="48128" y="30543"/>
                  </a:lnTo>
                  <a:lnTo>
                    <a:pt x="79365" y="20211"/>
                  </a:lnTo>
                  <a:lnTo>
                    <a:pt x="75886" y="8224"/>
                  </a:lnTo>
                  <a:lnTo>
                    <a:pt x="84688" y="182"/>
                  </a:lnTo>
                  <a:lnTo>
                    <a:pt x="93687" y="18073"/>
                  </a:lnTo>
                  <a:lnTo>
                    <a:pt x="111274" y="18484"/>
                  </a:lnTo>
                  <a:lnTo>
                    <a:pt x="127573" y="32654"/>
                  </a:lnTo>
                  <a:lnTo>
                    <a:pt x="128557" y="41054"/>
                  </a:lnTo>
                  <a:lnTo>
                    <a:pt x="151073" y="41277"/>
                  </a:lnTo>
                  <a:lnTo>
                    <a:pt x="177873" y="38665"/>
                  </a:lnTo>
                  <a:lnTo>
                    <a:pt x="192240" y="50017"/>
                  </a:lnTo>
                  <a:lnTo>
                    <a:pt x="211419" y="53139"/>
                  </a:lnTo>
                  <a:lnTo>
                    <a:pt x="225490" y="45231"/>
                  </a:lnTo>
                  <a:lnTo>
                    <a:pt x="225776" y="38853"/>
                  </a:lnTo>
                  <a:lnTo>
                    <a:pt x="256844" y="37324"/>
                  </a:lnTo>
                  <a:lnTo>
                    <a:pt x="286901" y="36966"/>
                  </a:lnTo>
                  <a:lnTo>
                    <a:pt x="265602" y="44453"/>
                  </a:lnTo>
                  <a:lnTo>
                    <a:pt x="274172" y="56413"/>
                  </a:lnTo>
                  <a:lnTo>
                    <a:pt x="294227" y="58309"/>
                  </a:lnTo>
                  <a:lnTo>
                    <a:pt x="313245" y="70735"/>
                  </a:lnTo>
                  <a:lnTo>
                    <a:pt x="317244" y="90943"/>
                  </a:lnTo>
                  <a:lnTo>
                    <a:pt x="330314" y="90379"/>
                  </a:lnTo>
                  <a:lnTo>
                    <a:pt x="340145" y="96319"/>
                  </a:lnTo>
                  <a:lnTo>
                    <a:pt x="320268" y="111097"/>
                  </a:lnTo>
                  <a:lnTo>
                    <a:pt x="318076" y="120266"/>
                  </a:lnTo>
                  <a:lnTo>
                    <a:pt x="326664" y="129587"/>
                  </a:lnTo>
                  <a:lnTo>
                    <a:pt x="320438" y="134293"/>
                  </a:lnTo>
                  <a:lnTo>
                    <a:pt x="304998" y="138318"/>
                  </a:lnTo>
                  <a:lnTo>
                    <a:pt x="305499" y="149894"/>
                  </a:lnTo>
                  <a:lnTo>
                    <a:pt x="298700" y="156791"/>
                  </a:lnTo>
                  <a:lnTo>
                    <a:pt x="315679" y="175791"/>
                  </a:lnTo>
                  <a:lnTo>
                    <a:pt x="318997" y="182849"/>
                  </a:lnTo>
                  <a:lnTo>
                    <a:pt x="309828" y="192385"/>
                  </a:lnTo>
                  <a:lnTo>
                    <a:pt x="281775" y="201742"/>
                  </a:lnTo>
                  <a:lnTo>
                    <a:pt x="263732" y="205615"/>
                  </a:lnTo>
                  <a:lnTo>
                    <a:pt x="256495" y="211519"/>
                  </a:lnTo>
                  <a:lnTo>
                    <a:pt x="236556" y="205275"/>
                  </a:lnTo>
                  <a:lnTo>
                    <a:pt x="217985" y="202082"/>
                  </a:lnTo>
                  <a:lnTo>
                    <a:pt x="213280" y="204381"/>
                  </a:lnTo>
                  <a:lnTo>
                    <a:pt x="224506" y="210857"/>
                  </a:lnTo>
                  <a:lnTo>
                    <a:pt x="223495" y="227585"/>
                  </a:lnTo>
                  <a:lnTo>
                    <a:pt x="226975" y="243302"/>
                  </a:lnTo>
                  <a:lnTo>
                    <a:pt x="248230" y="245440"/>
                  </a:lnTo>
                  <a:lnTo>
                    <a:pt x="249580" y="250682"/>
                  </a:lnTo>
                  <a:lnTo>
                    <a:pt x="231663" y="257776"/>
                  </a:lnTo>
                  <a:lnTo>
                    <a:pt x="228755" y="268332"/>
                  </a:lnTo>
                  <a:lnTo>
                    <a:pt x="218423" y="272420"/>
                  </a:lnTo>
                  <a:lnTo>
                    <a:pt x="199772" y="278235"/>
                  </a:lnTo>
                  <a:lnTo>
                    <a:pt x="194914" y="285865"/>
                  </a:lnTo>
                  <a:lnTo>
                    <a:pt x="175413" y="287475"/>
                  </a:lnTo>
                  <a:lnTo>
                    <a:pt x="161610" y="274299"/>
                  </a:lnTo>
                  <a:lnTo>
                    <a:pt x="153962" y="249439"/>
                  </a:lnTo>
                  <a:lnTo>
                    <a:pt x="147289" y="240726"/>
                  </a:lnTo>
                  <a:lnTo>
                    <a:pt x="138191" y="235225"/>
                  </a:lnTo>
                  <a:lnTo>
                    <a:pt x="150903" y="222808"/>
                  </a:lnTo>
                  <a:lnTo>
                    <a:pt x="150035" y="217217"/>
                  </a:lnTo>
                  <a:lnTo>
                    <a:pt x="142905" y="209801"/>
                  </a:lnTo>
                  <a:lnTo>
                    <a:pt x="137860" y="193199"/>
                  </a:lnTo>
                  <a:lnTo>
                    <a:pt x="139828" y="175263"/>
                  </a:lnTo>
                  <a:lnTo>
                    <a:pt x="145428" y="166863"/>
                  </a:lnTo>
                  <a:lnTo>
                    <a:pt x="149945" y="153373"/>
                  </a:lnTo>
                  <a:lnTo>
                    <a:pt x="141072" y="149070"/>
                  </a:lnTo>
                  <a:lnTo>
                    <a:pt x="126777" y="151924"/>
                  </a:lnTo>
                  <a:lnTo>
                    <a:pt x="108707" y="150582"/>
                  </a:lnTo>
                  <a:lnTo>
                    <a:pt x="98571" y="153266"/>
                  </a:lnTo>
                  <a:lnTo>
                    <a:pt x="80922" y="131680"/>
                  </a:lnTo>
                  <a:lnTo>
                    <a:pt x="66350" y="128487"/>
                  </a:lnTo>
                  <a:lnTo>
                    <a:pt x="34092" y="130902"/>
                  </a:lnTo>
                  <a:lnTo>
                    <a:pt x="28117" y="122145"/>
                  </a:lnTo>
                  <a:lnTo>
                    <a:pt x="21944" y="120042"/>
                  </a:lnTo>
                  <a:lnTo>
                    <a:pt x="21068" y="114800"/>
                  </a:lnTo>
                  <a:lnTo>
                    <a:pt x="24047" y="105488"/>
                  </a:lnTo>
                  <a:lnTo>
                    <a:pt x="22061" y="95353"/>
                  </a:lnTo>
                  <a:lnTo>
                    <a:pt x="16523" y="89816"/>
                  </a:lnTo>
                  <a:lnTo>
                    <a:pt x="13312" y="78222"/>
                  </a:lnTo>
                  <a:lnTo>
                    <a:pt x="368" y="76532"/>
                  </a:lnTo>
                  <a:lnTo>
                    <a:pt x="7318" y="61754"/>
                  </a:lnTo>
                  <a:lnTo>
                    <a:pt x="10387" y="43693"/>
                  </a:lnTo>
                  <a:lnTo>
                    <a:pt x="17677" y="34273"/>
                  </a:lnTo>
                  <a:lnTo>
                    <a:pt x="27383" y="26991"/>
                  </a:lnTo>
                  <a:lnTo>
                    <a:pt x="33752" y="1428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/>
            <p:cNvSpPr/>
            <p:nvPr/>
          </p:nvSpPr>
          <p:spPr>
            <a:xfrm>
              <a:off x="8400313" y="4062287"/>
              <a:ext cx="179706" cy="383744"/>
            </a:xfrm>
            <a:custGeom>
              <a:avLst/>
              <a:gdLst>
                <a:gd name="connsiteX0" fmla="*/ 148041 w 179706"/>
                <a:gd name="connsiteY0" fmla="*/ 48736 h 383744"/>
                <a:gd name="connsiteX1" fmla="*/ 114549 w 179706"/>
                <a:gd name="connsiteY1" fmla="*/ 71609 h 383744"/>
                <a:gd name="connsiteX2" fmla="*/ 93652 w 179706"/>
                <a:gd name="connsiteY2" fmla="*/ 96710 h 383744"/>
                <a:gd name="connsiteX3" fmla="*/ 88142 w 179706"/>
                <a:gd name="connsiteY3" fmla="*/ 115057 h 383744"/>
                <a:gd name="connsiteX4" fmla="*/ 107321 w 179706"/>
                <a:gd name="connsiteY4" fmla="*/ 142771 h 383744"/>
                <a:gd name="connsiteX5" fmla="*/ 130776 w 179706"/>
                <a:gd name="connsiteY5" fmla="*/ 176898 h 383744"/>
                <a:gd name="connsiteX6" fmla="*/ 153533 w 179706"/>
                <a:gd name="connsiteY6" fmla="*/ 192946 h 383744"/>
                <a:gd name="connsiteX7" fmla="*/ 168777 w 179706"/>
                <a:gd name="connsiteY7" fmla="*/ 213735 h 383744"/>
                <a:gd name="connsiteX8" fmla="*/ 180271 w 179706"/>
                <a:gd name="connsiteY8" fmla="*/ 261352 h 383744"/>
                <a:gd name="connsiteX9" fmla="*/ 176881 w 179706"/>
                <a:gd name="connsiteY9" fmla="*/ 306268 h 383744"/>
                <a:gd name="connsiteX10" fmla="*/ 155967 w 179706"/>
                <a:gd name="connsiteY10" fmla="*/ 323005 h 383744"/>
                <a:gd name="connsiteX11" fmla="*/ 127243 w 179706"/>
                <a:gd name="connsiteY11" fmla="*/ 339330 h 383744"/>
                <a:gd name="connsiteX12" fmla="*/ 106784 w 179706"/>
                <a:gd name="connsiteY12" fmla="*/ 360424 h 383744"/>
                <a:gd name="connsiteX13" fmla="*/ 75511 w 179706"/>
                <a:gd name="connsiteY13" fmla="*/ 383915 h 383744"/>
                <a:gd name="connsiteX14" fmla="*/ 66395 w 179706"/>
                <a:gd name="connsiteY14" fmla="*/ 367741 h 383744"/>
                <a:gd name="connsiteX15" fmla="*/ 73444 w 179706"/>
                <a:gd name="connsiteY15" fmla="*/ 350628 h 383744"/>
                <a:gd name="connsiteX16" fmla="*/ 54838 w 179706"/>
                <a:gd name="connsiteY16" fmla="*/ 336244 h 383744"/>
                <a:gd name="connsiteX17" fmla="*/ 76549 w 179706"/>
                <a:gd name="connsiteY17" fmla="*/ 326028 h 383744"/>
                <a:gd name="connsiteX18" fmla="*/ 102875 w 179706"/>
                <a:gd name="connsiteY18" fmla="*/ 324186 h 383744"/>
                <a:gd name="connsiteX19" fmla="*/ 91863 w 179706"/>
                <a:gd name="connsiteY19" fmla="*/ 308790 h 383744"/>
                <a:gd name="connsiteX20" fmla="*/ 134023 w 179706"/>
                <a:gd name="connsiteY20" fmla="*/ 289191 h 383744"/>
                <a:gd name="connsiteX21" fmla="*/ 137109 w 179706"/>
                <a:gd name="connsiteY21" fmla="*/ 258543 h 383744"/>
                <a:gd name="connsiteX22" fmla="*/ 131295 w 179706"/>
                <a:gd name="connsiteY22" fmla="*/ 241422 h 383744"/>
                <a:gd name="connsiteX23" fmla="*/ 135857 w 179706"/>
                <a:gd name="connsiteY23" fmla="*/ 215659 h 383744"/>
                <a:gd name="connsiteX24" fmla="*/ 129542 w 179706"/>
                <a:gd name="connsiteY24" fmla="*/ 197383 h 383744"/>
                <a:gd name="connsiteX25" fmla="*/ 110568 w 179706"/>
                <a:gd name="connsiteY25" fmla="*/ 179322 h 383744"/>
                <a:gd name="connsiteX26" fmla="*/ 94752 w 179706"/>
                <a:gd name="connsiteY26" fmla="*/ 156350 h 383744"/>
                <a:gd name="connsiteX27" fmla="*/ 73909 w 179706"/>
                <a:gd name="connsiteY27" fmla="*/ 125354 h 383744"/>
                <a:gd name="connsiteX28" fmla="*/ 43852 w 179706"/>
                <a:gd name="connsiteY28" fmla="*/ 109592 h 383744"/>
                <a:gd name="connsiteX29" fmla="*/ 51054 w 179706"/>
                <a:gd name="connsiteY29" fmla="*/ 100083 h 383744"/>
                <a:gd name="connsiteX30" fmla="*/ 67084 w 179706"/>
                <a:gd name="connsiteY30" fmla="*/ 93141 h 383744"/>
                <a:gd name="connsiteX31" fmla="*/ 57360 w 179706"/>
                <a:gd name="connsiteY31" fmla="*/ 69954 h 383744"/>
                <a:gd name="connsiteX32" fmla="*/ 26480 w 179706"/>
                <a:gd name="connsiteY32" fmla="*/ 69749 h 383744"/>
                <a:gd name="connsiteX33" fmla="*/ 15218 w 179706"/>
                <a:gd name="connsiteY33" fmla="*/ 45444 h 383744"/>
                <a:gd name="connsiteX34" fmla="*/ 565 w 179706"/>
                <a:gd name="connsiteY34" fmla="*/ 24189 h 383744"/>
                <a:gd name="connsiteX35" fmla="*/ 14028 w 179706"/>
                <a:gd name="connsiteY35" fmla="*/ 17605 h 383744"/>
                <a:gd name="connsiteX36" fmla="*/ 34031 w 179706"/>
                <a:gd name="connsiteY36" fmla="*/ 17739 h 383744"/>
                <a:gd name="connsiteX37" fmla="*/ 58407 w 179706"/>
                <a:gd name="connsiteY37" fmla="*/ 14617 h 383744"/>
                <a:gd name="connsiteX38" fmla="*/ 79787 w 179706"/>
                <a:gd name="connsiteY38" fmla="*/ 171 h 383744"/>
                <a:gd name="connsiteX39" fmla="*/ 91881 w 179706"/>
                <a:gd name="connsiteY39" fmla="*/ 10351 h 383744"/>
                <a:gd name="connsiteX40" fmla="*/ 114808 w 179706"/>
                <a:gd name="connsiteY40" fmla="*/ 15288 h 383744"/>
                <a:gd name="connsiteX41" fmla="*/ 110845 w 179706"/>
                <a:gd name="connsiteY41" fmla="*/ 30845 h 383744"/>
                <a:gd name="connsiteX42" fmla="*/ 122788 w 179706"/>
                <a:gd name="connsiteY42" fmla="*/ 41776 h 383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79706" h="383744">
                  <a:moveTo>
                    <a:pt x="148041" y="48736"/>
                  </a:moveTo>
                  <a:lnTo>
                    <a:pt x="114549" y="71609"/>
                  </a:lnTo>
                  <a:lnTo>
                    <a:pt x="93652" y="96710"/>
                  </a:lnTo>
                  <a:lnTo>
                    <a:pt x="88142" y="115057"/>
                  </a:lnTo>
                  <a:lnTo>
                    <a:pt x="107321" y="142771"/>
                  </a:lnTo>
                  <a:lnTo>
                    <a:pt x="130776" y="176898"/>
                  </a:lnTo>
                  <a:lnTo>
                    <a:pt x="153533" y="192946"/>
                  </a:lnTo>
                  <a:lnTo>
                    <a:pt x="168777" y="213735"/>
                  </a:lnTo>
                  <a:lnTo>
                    <a:pt x="180271" y="261352"/>
                  </a:lnTo>
                  <a:lnTo>
                    <a:pt x="176881" y="306268"/>
                  </a:lnTo>
                  <a:lnTo>
                    <a:pt x="155967" y="323005"/>
                  </a:lnTo>
                  <a:lnTo>
                    <a:pt x="127243" y="339330"/>
                  </a:lnTo>
                  <a:lnTo>
                    <a:pt x="106784" y="360424"/>
                  </a:lnTo>
                  <a:lnTo>
                    <a:pt x="75511" y="383915"/>
                  </a:lnTo>
                  <a:lnTo>
                    <a:pt x="66395" y="367741"/>
                  </a:lnTo>
                  <a:lnTo>
                    <a:pt x="73444" y="350628"/>
                  </a:lnTo>
                  <a:lnTo>
                    <a:pt x="54838" y="336244"/>
                  </a:lnTo>
                  <a:lnTo>
                    <a:pt x="76549" y="326028"/>
                  </a:lnTo>
                  <a:lnTo>
                    <a:pt x="102875" y="324186"/>
                  </a:lnTo>
                  <a:lnTo>
                    <a:pt x="91863" y="308790"/>
                  </a:lnTo>
                  <a:lnTo>
                    <a:pt x="134023" y="289191"/>
                  </a:lnTo>
                  <a:lnTo>
                    <a:pt x="137109" y="258543"/>
                  </a:lnTo>
                  <a:lnTo>
                    <a:pt x="131295" y="241422"/>
                  </a:lnTo>
                  <a:lnTo>
                    <a:pt x="135857" y="215659"/>
                  </a:lnTo>
                  <a:lnTo>
                    <a:pt x="129542" y="197383"/>
                  </a:lnTo>
                  <a:lnTo>
                    <a:pt x="110568" y="179322"/>
                  </a:lnTo>
                  <a:lnTo>
                    <a:pt x="94752" y="156350"/>
                  </a:lnTo>
                  <a:lnTo>
                    <a:pt x="73909" y="125354"/>
                  </a:lnTo>
                  <a:lnTo>
                    <a:pt x="43852" y="109592"/>
                  </a:lnTo>
                  <a:lnTo>
                    <a:pt x="51054" y="100083"/>
                  </a:lnTo>
                  <a:lnTo>
                    <a:pt x="67084" y="93141"/>
                  </a:lnTo>
                  <a:lnTo>
                    <a:pt x="57360" y="69954"/>
                  </a:lnTo>
                  <a:lnTo>
                    <a:pt x="26480" y="69749"/>
                  </a:lnTo>
                  <a:lnTo>
                    <a:pt x="15218" y="45444"/>
                  </a:lnTo>
                  <a:lnTo>
                    <a:pt x="565" y="24189"/>
                  </a:lnTo>
                  <a:lnTo>
                    <a:pt x="14028" y="17605"/>
                  </a:lnTo>
                  <a:lnTo>
                    <a:pt x="34031" y="17739"/>
                  </a:lnTo>
                  <a:lnTo>
                    <a:pt x="58407" y="14617"/>
                  </a:lnTo>
                  <a:lnTo>
                    <a:pt x="79787" y="171"/>
                  </a:lnTo>
                  <a:lnTo>
                    <a:pt x="91881" y="10351"/>
                  </a:lnTo>
                  <a:lnTo>
                    <a:pt x="114808" y="15288"/>
                  </a:lnTo>
                  <a:lnTo>
                    <a:pt x="110845" y="30845"/>
                  </a:lnTo>
                  <a:lnTo>
                    <a:pt x="122788" y="4177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/>
            <p:cNvSpPr/>
            <p:nvPr/>
          </p:nvSpPr>
          <p:spPr>
            <a:xfrm>
              <a:off x="10017051" y="5029591"/>
              <a:ext cx="30495" cy="51016"/>
            </a:xfrm>
            <a:custGeom>
              <a:avLst/>
              <a:gdLst>
                <a:gd name="connsiteX0" fmla="*/ 31131 w 30495"/>
                <a:gd name="connsiteY0" fmla="*/ 47806 h 51016"/>
                <a:gd name="connsiteX1" fmla="*/ 22856 w 30495"/>
                <a:gd name="connsiteY1" fmla="*/ 51223 h 51016"/>
                <a:gd name="connsiteX2" fmla="*/ 14456 w 30495"/>
                <a:gd name="connsiteY2" fmla="*/ 39845 h 51016"/>
                <a:gd name="connsiteX3" fmla="*/ 15387 w 30495"/>
                <a:gd name="connsiteY3" fmla="*/ 32894 h 51016"/>
                <a:gd name="connsiteX4" fmla="*/ 31131 w 30495"/>
                <a:gd name="connsiteY4" fmla="*/ 47806 h 51016"/>
                <a:gd name="connsiteX5" fmla="*/ 12650 w 30495"/>
                <a:gd name="connsiteY5" fmla="*/ 8133 h 51016"/>
                <a:gd name="connsiteX6" fmla="*/ 16720 w 30495"/>
                <a:gd name="connsiteY6" fmla="*/ 28967 h 51016"/>
                <a:gd name="connsiteX7" fmla="*/ 9975 w 30495"/>
                <a:gd name="connsiteY7" fmla="*/ 25720 h 51016"/>
                <a:gd name="connsiteX8" fmla="*/ 4751 w 30495"/>
                <a:gd name="connsiteY8" fmla="*/ 27124 h 51016"/>
                <a:gd name="connsiteX9" fmla="*/ 1164 w 30495"/>
                <a:gd name="connsiteY9" fmla="*/ 19977 h 51016"/>
                <a:gd name="connsiteX10" fmla="*/ 636 w 30495"/>
                <a:gd name="connsiteY10" fmla="*/ 207 h 51016"/>
                <a:gd name="connsiteX11" fmla="*/ 12650 w 30495"/>
                <a:gd name="connsiteY11" fmla="*/ 8133 h 5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495" h="51016">
                  <a:moveTo>
                    <a:pt x="31131" y="47806"/>
                  </a:moveTo>
                  <a:lnTo>
                    <a:pt x="22856" y="51223"/>
                  </a:lnTo>
                  <a:lnTo>
                    <a:pt x="14456" y="39845"/>
                  </a:lnTo>
                  <a:lnTo>
                    <a:pt x="15387" y="32894"/>
                  </a:lnTo>
                  <a:lnTo>
                    <a:pt x="31131" y="47806"/>
                  </a:lnTo>
                  <a:close/>
                  <a:moveTo>
                    <a:pt x="12650" y="8133"/>
                  </a:moveTo>
                  <a:lnTo>
                    <a:pt x="16720" y="28967"/>
                  </a:lnTo>
                  <a:lnTo>
                    <a:pt x="9975" y="25720"/>
                  </a:lnTo>
                  <a:lnTo>
                    <a:pt x="4751" y="27124"/>
                  </a:lnTo>
                  <a:lnTo>
                    <a:pt x="1164" y="19977"/>
                  </a:lnTo>
                  <a:lnTo>
                    <a:pt x="636" y="207"/>
                  </a:lnTo>
                  <a:lnTo>
                    <a:pt x="12650" y="813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/>
            <p:cNvSpPr/>
            <p:nvPr/>
          </p:nvSpPr>
          <p:spPr>
            <a:xfrm>
              <a:off x="6906299" y="4178704"/>
              <a:ext cx="263445" cy="166252"/>
            </a:xfrm>
            <a:custGeom>
              <a:avLst/>
              <a:gdLst>
                <a:gd name="connsiteX0" fmla="*/ 263944 w 263445"/>
                <a:gd name="connsiteY0" fmla="*/ 61689 h 166252"/>
                <a:gd name="connsiteX1" fmla="*/ 245811 w 263445"/>
                <a:gd name="connsiteY1" fmla="*/ 68675 h 166252"/>
                <a:gd name="connsiteX2" fmla="*/ 240954 w 263445"/>
                <a:gd name="connsiteY2" fmla="*/ 80197 h 166252"/>
                <a:gd name="connsiteX3" fmla="*/ 240354 w 263445"/>
                <a:gd name="connsiteY3" fmla="*/ 89026 h 166252"/>
                <a:gd name="connsiteX4" fmla="*/ 215387 w 263445"/>
                <a:gd name="connsiteY4" fmla="*/ 99940 h 166252"/>
                <a:gd name="connsiteX5" fmla="*/ 175312 w 263445"/>
                <a:gd name="connsiteY5" fmla="*/ 111981 h 166252"/>
                <a:gd name="connsiteX6" fmla="*/ 152850 w 263445"/>
                <a:gd name="connsiteY6" fmla="*/ 130131 h 166252"/>
                <a:gd name="connsiteX7" fmla="*/ 141811 w 263445"/>
                <a:gd name="connsiteY7" fmla="*/ 131545 h 166252"/>
                <a:gd name="connsiteX8" fmla="*/ 134288 w 263445"/>
                <a:gd name="connsiteY8" fmla="*/ 130024 h 166252"/>
                <a:gd name="connsiteX9" fmla="*/ 119626 w 263445"/>
                <a:gd name="connsiteY9" fmla="*/ 140678 h 166252"/>
                <a:gd name="connsiteX10" fmla="*/ 103641 w 263445"/>
                <a:gd name="connsiteY10" fmla="*/ 145607 h 166252"/>
                <a:gd name="connsiteX11" fmla="*/ 82583 w 263445"/>
                <a:gd name="connsiteY11" fmla="*/ 146940 h 166252"/>
                <a:gd name="connsiteX12" fmla="*/ 76250 w 263445"/>
                <a:gd name="connsiteY12" fmla="*/ 148398 h 166252"/>
                <a:gd name="connsiteX13" fmla="*/ 70766 w 263445"/>
                <a:gd name="connsiteY13" fmla="*/ 155152 h 166252"/>
                <a:gd name="connsiteX14" fmla="*/ 64191 w 263445"/>
                <a:gd name="connsiteY14" fmla="*/ 157021 h 166252"/>
                <a:gd name="connsiteX15" fmla="*/ 60308 w 263445"/>
                <a:gd name="connsiteY15" fmla="*/ 163525 h 166252"/>
                <a:gd name="connsiteX16" fmla="*/ 47892 w 263445"/>
                <a:gd name="connsiteY16" fmla="*/ 162961 h 166252"/>
                <a:gd name="connsiteX17" fmla="*/ 39877 w 263445"/>
                <a:gd name="connsiteY17" fmla="*/ 166423 h 166252"/>
                <a:gd name="connsiteX18" fmla="*/ 22523 w 263445"/>
                <a:gd name="connsiteY18" fmla="*/ 165126 h 166252"/>
                <a:gd name="connsiteX19" fmla="*/ 15992 w 263445"/>
                <a:gd name="connsiteY19" fmla="*/ 150187 h 166252"/>
                <a:gd name="connsiteX20" fmla="*/ 16708 w 263445"/>
                <a:gd name="connsiteY20" fmla="*/ 136178 h 166252"/>
                <a:gd name="connsiteX21" fmla="*/ 12611 w 263445"/>
                <a:gd name="connsiteY21" fmla="*/ 128601 h 166252"/>
                <a:gd name="connsiteX22" fmla="*/ 7709 w 263445"/>
                <a:gd name="connsiteY22" fmla="*/ 109565 h 166252"/>
                <a:gd name="connsiteX23" fmla="*/ 499 w 263445"/>
                <a:gd name="connsiteY23" fmla="*/ 98956 h 166252"/>
                <a:gd name="connsiteX24" fmla="*/ 5517 w 263445"/>
                <a:gd name="connsiteY24" fmla="*/ 97704 h 166252"/>
                <a:gd name="connsiteX25" fmla="*/ 2941 w 263445"/>
                <a:gd name="connsiteY25" fmla="*/ 85887 h 166252"/>
                <a:gd name="connsiteX26" fmla="*/ 5982 w 263445"/>
                <a:gd name="connsiteY26" fmla="*/ 80886 h 166252"/>
                <a:gd name="connsiteX27" fmla="*/ 4873 w 263445"/>
                <a:gd name="connsiteY27" fmla="*/ 69570 h 166252"/>
                <a:gd name="connsiteX28" fmla="*/ 15885 w 263445"/>
                <a:gd name="connsiteY28" fmla="*/ 61278 h 166252"/>
                <a:gd name="connsiteX29" fmla="*/ 13318 w 263445"/>
                <a:gd name="connsiteY29" fmla="*/ 50293 h 166252"/>
                <a:gd name="connsiteX30" fmla="*/ 19955 w 263445"/>
                <a:gd name="connsiteY30" fmla="*/ 37456 h 166252"/>
                <a:gd name="connsiteX31" fmla="*/ 30261 w 263445"/>
                <a:gd name="connsiteY31" fmla="*/ 44254 h 166252"/>
                <a:gd name="connsiteX32" fmla="*/ 37059 w 263445"/>
                <a:gd name="connsiteY32" fmla="*/ 41893 h 166252"/>
                <a:gd name="connsiteX33" fmla="*/ 66007 w 263445"/>
                <a:gd name="connsiteY33" fmla="*/ 41293 h 166252"/>
                <a:gd name="connsiteX34" fmla="*/ 70605 w 263445"/>
                <a:gd name="connsiteY34" fmla="*/ 43905 h 166252"/>
                <a:gd name="connsiteX35" fmla="*/ 94847 w 263445"/>
                <a:gd name="connsiteY35" fmla="*/ 46518 h 166252"/>
                <a:gd name="connsiteX36" fmla="*/ 104464 w 263445"/>
                <a:gd name="connsiteY36" fmla="*/ 45212 h 166252"/>
                <a:gd name="connsiteX37" fmla="*/ 110734 w 263445"/>
                <a:gd name="connsiteY37" fmla="*/ 53906 h 166252"/>
                <a:gd name="connsiteX38" fmla="*/ 122444 w 263445"/>
                <a:gd name="connsiteY38" fmla="*/ 49559 h 166252"/>
                <a:gd name="connsiteX39" fmla="*/ 140415 w 263445"/>
                <a:gd name="connsiteY39" fmla="*/ 22087 h 166252"/>
                <a:gd name="connsiteX40" fmla="*/ 163826 w 263445"/>
                <a:gd name="connsiteY40" fmla="*/ 10270 h 166252"/>
                <a:gd name="connsiteX41" fmla="*/ 236150 w 263445"/>
                <a:gd name="connsiteY41" fmla="*/ 171 h 166252"/>
                <a:gd name="connsiteX42" fmla="*/ 255758 w 263445"/>
                <a:gd name="connsiteY42" fmla="*/ 43476 h 166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63445" h="166252">
                  <a:moveTo>
                    <a:pt x="263944" y="61689"/>
                  </a:moveTo>
                  <a:lnTo>
                    <a:pt x="245811" y="68675"/>
                  </a:lnTo>
                  <a:lnTo>
                    <a:pt x="240954" y="80197"/>
                  </a:lnTo>
                  <a:lnTo>
                    <a:pt x="240354" y="89026"/>
                  </a:lnTo>
                  <a:lnTo>
                    <a:pt x="215387" y="99940"/>
                  </a:lnTo>
                  <a:lnTo>
                    <a:pt x="175312" y="111981"/>
                  </a:lnTo>
                  <a:lnTo>
                    <a:pt x="152850" y="130131"/>
                  </a:lnTo>
                  <a:lnTo>
                    <a:pt x="141811" y="131545"/>
                  </a:lnTo>
                  <a:lnTo>
                    <a:pt x="134288" y="130024"/>
                  </a:lnTo>
                  <a:lnTo>
                    <a:pt x="119626" y="140678"/>
                  </a:lnTo>
                  <a:lnTo>
                    <a:pt x="103641" y="145607"/>
                  </a:lnTo>
                  <a:lnTo>
                    <a:pt x="82583" y="146940"/>
                  </a:lnTo>
                  <a:lnTo>
                    <a:pt x="76250" y="148398"/>
                  </a:lnTo>
                  <a:lnTo>
                    <a:pt x="70766" y="155152"/>
                  </a:lnTo>
                  <a:lnTo>
                    <a:pt x="64191" y="157021"/>
                  </a:lnTo>
                  <a:lnTo>
                    <a:pt x="60308" y="163525"/>
                  </a:lnTo>
                  <a:lnTo>
                    <a:pt x="47892" y="162961"/>
                  </a:lnTo>
                  <a:lnTo>
                    <a:pt x="39877" y="166423"/>
                  </a:lnTo>
                  <a:lnTo>
                    <a:pt x="22523" y="165126"/>
                  </a:lnTo>
                  <a:lnTo>
                    <a:pt x="15992" y="150187"/>
                  </a:lnTo>
                  <a:lnTo>
                    <a:pt x="16708" y="136178"/>
                  </a:lnTo>
                  <a:lnTo>
                    <a:pt x="12611" y="128601"/>
                  </a:lnTo>
                  <a:lnTo>
                    <a:pt x="7709" y="109565"/>
                  </a:lnTo>
                  <a:lnTo>
                    <a:pt x="499" y="98956"/>
                  </a:lnTo>
                  <a:lnTo>
                    <a:pt x="5517" y="97704"/>
                  </a:lnTo>
                  <a:lnTo>
                    <a:pt x="2941" y="85887"/>
                  </a:lnTo>
                  <a:lnTo>
                    <a:pt x="5982" y="80886"/>
                  </a:lnTo>
                  <a:lnTo>
                    <a:pt x="4873" y="69570"/>
                  </a:lnTo>
                  <a:lnTo>
                    <a:pt x="15885" y="61278"/>
                  </a:lnTo>
                  <a:lnTo>
                    <a:pt x="13318" y="50293"/>
                  </a:lnTo>
                  <a:lnTo>
                    <a:pt x="19955" y="37456"/>
                  </a:lnTo>
                  <a:lnTo>
                    <a:pt x="30261" y="44254"/>
                  </a:lnTo>
                  <a:lnTo>
                    <a:pt x="37059" y="41893"/>
                  </a:lnTo>
                  <a:lnTo>
                    <a:pt x="66007" y="41293"/>
                  </a:lnTo>
                  <a:lnTo>
                    <a:pt x="70605" y="43905"/>
                  </a:lnTo>
                  <a:lnTo>
                    <a:pt x="94847" y="46518"/>
                  </a:lnTo>
                  <a:lnTo>
                    <a:pt x="104464" y="45212"/>
                  </a:lnTo>
                  <a:lnTo>
                    <a:pt x="110734" y="53906"/>
                  </a:lnTo>
                  <a:lnTo>
                    <a:pt x="122444" y="49559"/>
                  </a:lnTo>
                  <a:lnTo>
                    <a:pt x="140415" y="22087"/>
                  </a:lnTo>
                  <a:lnTo>
                    <a:pt x="163826" y="10270"/>
                  </a:lnTo>
                  <a:lnTo>
                    <a:pt x="236150" y="171"/>
                  </a:lnTo>
                  <a:lnTo>
                    <a:pt x="255758" y="4347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/>
            <p:cNvSpPr/>
            <p:nvPr/>
          </p:nvSpPr>
          <p:spPr>
            <a:xfrm>
              <a:off x="6247642" y="5225819"/>
              <a:ext cx="413443" cy="362435"/>
            </a:xfrm>
            <a:custGeom>
              <a:avLst/>
              <a:gdLst>
                <a:gd name="connsiteX0" fmla="*/ 381121 w 413443"/>
                <a:gd name="connsiteY0" fmla="*/ 198777 h 362435"/>
                <a:gd name="connsiteX1" fmla="*/ 376219 w 413443"/>
                <a:gd name="connsiteY1" fmla="*/ 202911 h 362435"/>
                <a:gd name="connsiteX2" fmla="*/ 365592 w 413443"/>
                <a:gd name="connsiteY2" fmla="*/ 217500 h 362435"/>
                <a:gd name="connsiteX3" fmla="*/ 358596 w 413443"/>
                <a:gd name="connsiteY3" fmla="*/ 232332 h 362435"/>
                <a:gd name="connsiteX4" fmla="*/ 344373 w 413443"/>
                <a:gd name="connsiteY4" fmla="*/ 253148 h 362435"/>
                <a:gd name="connsiteX5" fmla="*/ 316025 w 413443"/>
                <a:gd name="connsiteY5" fmla="*/ 283402 h 362435"/>
                <a:gd name="connsiteX6" fmla="*/ 298322 w 413443"/>
                <a:gd name="connsiteY6" fmla="*/ 301150 h 362435"/>
                <a:gd name="connsiteX7" fmla="*/ 279384 w 413443"/>
                <a:gd name="connsiteY7" fmla="*/ 314693 h 362435"/>
                <a:gd name="connsiteX8" fmla="*/ 253165 w 413443"/>
                <a:gd name="connsiteY8" fmla="*/ 326296 h 362435"/>
                <a:gd name="connsiteX9" fmla="*/ 240382 w 413443"/>
                <a:gd name="connsiteY9" fmla="*/ 327852 h 362435"/>
                <a:gd name="connsiteX10" fmla="*/ 237144 w 413443"/>
                <a:gd name="connsiteY10" fmla="*/ 336198 h 362435"/>
                <a:gd name="connsiteX11" fmla="*/ 221900 w 413443"/>
                <a:gd name="connsiteY11" fmla="*/ 331752 h 362435"/>
                <a:gd name="connsiteX12" fmla="*/ 209484 w 413443"/>
                <a:gd name="connsiteY12" fmla="*/ 337477 h 362435"/>
                <a:gd name="connsiteX13" fmla="*/ 182298 w 413443"/>
                <a:gd name="connsiteY13" fmla="*/ 331681 h 362435"/>
                <a:gd name="connsiteX14" fmla="*/ 167100 w 413443"/>
                <a:gd name="connsiteY14" fmla="*/ 335349 h 362435"/>
                <a:gd name="connsiteX15" fmla="*/ 156714 w 413443"/>
                <a:gd name="connsiteY15" fmla="*/ 333774 h 362435"/>
                <a:gd name="connsiteX16" fmla="*/ 130844 w 413443"/>
                <a:gd name="connsiteY16" fmla="*/ 345672 h 362435"/>
                <a:gd name="connsiteX17" fmla="*/ 109428 w 413443"/>
                <a:gd name="connsiteY17" fmla="*/ 350457 h 362435"/>
                <a:gd name="connsiteX18" fmla="*/ 93935 w 413443"/>
                <a:gd name="connsiteY18" fmla="*/ 361926 h 362435"/>
                <a:gd name="connsiteX19" fmla="*/ 82530 w 413443"/>
                <a:gd name="connsiteY19" fmla="*/ 362659 h 362435"/>
                <a:gd name="connsiteX20" fmla="*/ 71911 w 413443"/>
                <a:gd name="connsiteY20" fmla="*/ 351844 h 362435"/>
                <a:gd name="connsiteX21" fmla="*/ 63440 w 413443"/>
                <a:gd name="connsiteY21" fmla="*/ 351289 h 362435"/>
                <a:gd name="connsiteX22" fmla="*/ 52633 w 413443"/>
                <a:gd name="connsiteY22" fmla="*/ 337808 h 362435"/>
                <a:gd name="connsiteX23" fmla="*/ 51444 w 413443"/>
                <a:gd name="connsiteY23" fmla="*/ 341986 h 362435"/>
                <a:gd name="connsiteX24" fmla="*/ 48107 w 413443"/>
                <a:gd name="connsiteY24" fmla="*/ 333890 h 362435"/>
                <a:gd name="connsiteX25" fmla="*/ 48250 w 413443"/>
                <a:gd name="connsiteY25" fmla="*/ 316321 h 362435"/>
                <a:gd name="connsiteX26" fmla="*/ 40101 w 413443"/>
                <a:gd name="connsiteY26" fmla="*/ 296382 h 362435"/>
                <a:gd name="connsiteX27" fmla="*/ 48197 w 413443"/>
                <a:gd name="connsiteY27" fmla="*/ 290988 h 362435"/>
                <a:gd name="connsiteX28" fmla="*/ 47544 w 413443"/>
                <a:gd name="connsiteY28" fmla="*/ 268382 h 362435"/>
                <a:gd name="connsiteX29" fmla="*/ 31120 w 413443"/>
                <a:gd name="connsiteY29" fmla="*/ 241072 h 362435"/>
                <a:gd name="connsiteX30" fmla="*/ 18516 w 413443"/>
                <a:gd name="connsiteY30" fmla="*/ 216588 h 362435"/>
                <a:gd name="connsiteX31" fmla="*/ 18480 w 413443"/>
                <a:gd name="connsiteY31" fmla="*/ 216507 h 362435"/>
                <a:gd name="connsiteX32" fmla="*/ 472 w 413443"/>
                <a:gd name="connsiteY32" fmla="*/ 179357 h 362435"/>
                <a:gd name="connsiteX33" fmla="*/ 12486 w 413443"/>
                <a:gd name="connsiteY33" fmla="*/ 165339 h 362435"/>
                <a:gd name="connsiteX34" fmla="*/ 22389 w 413443"/>
                <a:gd name="connsiteY34" fmla="*/ 173095 h 362435"/>
                <a:gd name="connsiteX35" fmla="*/ 26620 w 413443"/>
                <a:gd name="connsiteY35" fmla="*/ 185243 h 362435"/>
                <a:gd name="connsiteX36" fmla="*/ 37874 w 413443"/>
                <a:gd name="connsiteY36" fmla="*/ 187318 h 362435"/>
                <a:gd name="connsiteX37" fmla="*/ 53645 w 413443"/>
                <a:gd name="connsiteY37" fmla="*/ 192713 h 362435"/>
                <a:gd name="connsiteX38" fmla="*/ 67116 w 413443"/>
                <a:gd name="connsiteY38" fmla="*/ 190628 h 362435"/>
                <a:gd name="connsiteX39" fmla="*/ 89498 w 413443"/>
                <a:gd name="connsiteY39" fmla="*/ 176083 h 362435"/>
                <a:gd name="connsiteX40" fmla="*/ 89525 w 413443"/>
                <a:gd name="connsiteY40" fmla="*/ 72995 h 362435"/>
                <a:gd name="connsiteX41" fmla="*/ 96297 w 413443"/>
                <a:gd name="connsiteY41" fmla="*/ 77119 h 362435"/>
                <a:gd name="connsiteX42" fmla="*/ 111164 w 413443"/>
                <a:gd name="connsiteY42" fmla="*/ 103356 h 362435"/>
                <a:gd name="connsiteX43" fmla="*/ 108856 w 413443"/>
                <a:gd name="connsiteY43" fmla="*/ 120290 h 362435"/>
                <a:gd name="connsiteX44" fmla="*/ 114447 w 413443"/>
                <a:gd name="connsiteY44" fmla="*/ 130094 h 362435"/>
                <a:gd name="connsiteX45" fmla="*/ 132410 w 413443"/>
                <a:gd name="connsiteY45" fmla="*/ 127240 h 362435"/>
                <a:gd name="connsiteX46" fmla="*/ 144951 w 413443"/>
                <a:gd name="connsiteY46" fmla="*/ 114797 h 362435"/>
                <a:gd name="connsiteX47" fmla="*/ 156831 w 413443"/>
                <a:gd name="connsiteY47" fmla="*/ 106433 h 362435"/>
                <a:gd name="connsiteX48" fmla="*/ 162976 w 413443"/>
                <a:gd name="connsiteY48" fmla="*/ 93176 h 362435"/>
                <a:gd name="connsiteX49" fmla="*/ 175214 w 413443"/>
                <a:gd name="connsiteY49" fmla="*/ 86771 h 362435"/>
                <a:gd name="connsiteX50" fmla="*/ 185787 w 413443"/>
                <a:gd name="connsiteY50" fmla="*/ 90125 h 362435"/>
                <a:gd name="connsiteX51" fmla="*/ 197765 w 413443"/>
                <a:gd name="connsiteY51" fmla="*/ 97863 h 362435"/>
                <a:gd name="connsiteX52" fmla="*/ 218179 w 413443"/>
                <a:gd name="connsiteY52" fmla="*/ 99232 h 362435"/>
                <a:gd name="connsiteX53" fmla="*/ 234218 w 413443"/>
                <a:gd name="connsiteY53" fmla="*/ 92791 h 362435"/>
                <a:gd name="connsiteX54" fmla="*/ 236759 w 413443"/>
                <a:gd name="connsiteY54" fmla="*/ 84186 h 362435"/>
                <a:gd name="connsiteX55" fmla="*/ 241169 w 413443"/>
                <a:gd name="connsiteY55" fmla="*/ 71027 h 362435"/>
                <a:gd name="connsiteX56" fmla="*/ 254819 w 413443"/>
                <a:gd name="connsiteY56" fmla="*/ 68826 h 362435"/>
                <a:gd name="connsiteX57" fmla="*/ 262361 w 413443"/>
                <a:gd name="connsiteY57" fmla="*/ 58539 h 362435"/>
                <a:gd name="connsiteX58" fmla="*/ 270716 w 413443"/>
                <a:gd name="connsiteY58" fmla="*/ 40362 h 362435"/>
                <a:gd name="connsiteX59" fmla="*/ 293232 w 413443"/>
                <a:gd name="connsiteY59" fmla="*/ 20100 h 362435"/>
                <a:gd name="connsiteX60" fmla="*/ 328719 w 413443"/>
                <a:gd name="connsiteY60" fmla="*/ 223 h 362435"/>
                <a:gd name="connsiteX61" fmla="*/ 338925 w 413443"/>
                <a:gd name="connsiteY61" fmla="*/ 519 h 362435"/>
                <a:gd name="connsiteX62" fmla="*/ 351064 w 413443"/>
                <a:gd name="connsiteY62" fmla="*/ 5081 h 362435"/>
                <a:gd name="connsiteX63" fmla="*/ 359518 w 413443"/>
                <a:gd name="connsiteY63" fmla="*/ 1851 h 362435"/>
                <a:gd name="connsiteX64" fmla="*/ 372847 w 413443"/>
                <a:gd name="connsiteY64" fmla="*/ 4544 h 362435"/>
                <a:gd name="connsiteX65" fmla="*/ 384861 w 413443"/>
                <a:gd name="connsiteY65" fmla="*/ 42661 h 362435"/>
                <a:gd name="connsiteX66" fmla="*/ 391382 w 413443"/>
                <a:gd name="connsiteY66" fmla="*/ 62054 h 362435"/>
                <a:gd name="connsiteX67" fmla="*/ 386909 w 413443"/>
                <a:gd name="connsiteY67" fmla="*/ 92720 h 362435"/>
                <a:gd name="connsiteX68" fmla="*/ 389047 w 413443"/>
                <a:gd name="connsiteY68" fmla="*/ 102658 h 362435"/>
                <a:gd name="connsiteX69" fmla="*/ 376389 w 413443"/>
                <a:gd name="connsiteY69" fmla="*/ 97586 h 362435"/>
                <a:gd name="connsiteX70" fmla="*/ 369134 w 413443"/>
                <a:gd name="connsiteY70" fmla="*/ 99563 h 362435"/>
                <a:gd name="connsiteX71" fmla="*/ 366764 w 413443"/>
                <a:gd name="connsiteY71" fmla="*/ 107632 h 362435"/>
                <a:gd name="connsiteX72" fmla="*/ 359912 w 413443"/>
                <a:gd name="connsiteY72" fmla="*/ 118071 h 362435"/>
                <a:gd name="connsiteX73" fmla="*/ 360144 w 413443"/>
                <a:gd name="connsiteY73" fmla="*/ 127715 h 362435"/>
                <a:gd name="connsiteX74" fmla="*/ 375110 w 413443"/>
                <a:gd name="connsiteY74" fmla="*/ 142895 h 362435"/>
                <a:gd name="connsiteX75" fmla="*/ 389789 w 413443"/>
                <a:gd name="connsiteY75" fmla="*/ 139872 h 362435"/>
                <a:gd name="connsiteX76" fmla="*/ 394897 w 413443"/>
                <a:gd name="connsiteY76" fmla="*/ 127437 h 362435"/>
                <a:gd name="connsiteX77" fmla="*/ 413915 w 413443"/>
                <a:gd name="connsiteY77" fmla="*/ 127670 h 362435"/>
                <a:gd name="connsiteX78" fmla="*/ 407645 w 413443"/>
                <a:gd name="connsiteY78" fmla="*/ 148075 h 362435"/>
                <a:gd name="connsiteX79" fmla="*/ 404684 w 413443"/>
                <a:gd name="connsiteY79" fmla="*/ 171530 h 362435"/>
                <a:gd name="connsiteX80" fmla="*/ 398189 w 413443"/>
                <a:gd name="connsiteY80" fmla="*/ 184349 h 362435"/>
                <a:gd name="connsiteX81" fmla="*/ 381121 w 413443"/>
                <a:gd name="connsiteY81" fmla="*/ 198777 h 362435"/>
                <a:gd name="connsiteX82" fmla="*/ 317349 w 413443"/>
                <a:gd name="connsiteY82" fmla="*/ 190163 h 362435"/>
                <a:gd name="connsiteX83" fmla="*/ 306400 w 413443"/>
                <a:gd name="connsiteY83" fmla="*/ 181396 h 362435"/>
                <a:gd name="connsiteX84" fmla="*/ 294672 w 413443"/>
                <a:gd name="connsiteY84" fmla="*/ 187202 h 362435"/>
                <a:gd name="connsiteX85" fmla="*/ 281084 w 413443"/>
                <a:gd name="connsiteY85" fmla="*/ 198366 h 362435"/>
                <a:gd name="connsiteX86" fmla="*/ 267710 w 413443"/>
                <a:gd name="connsiteY86" fmla="*/ 216534 h 362435"/>
                <a:gd name="connsiteX87" fmla="*/ 286522 w 413443"/>
                <a:gd name="connsiteY87" fmla="*/ 238755 h 362435"/>
                <a:gd name="connsiteX88" fmla="*/ 295495 w 413443"/>
                <a:gd name="connsiteY88" fmla="*/ 235875 h 362435"/>
                <a:gd name="connsiteX89" fmla="*/ 300111 w 413443"/>
                <a:gd name="connsiteY89" fmla="*/ 226634 h 362435"/>
                <a:gd name="connsiteX90" fmla="*/ 314093 w 413443"/>
                <a:gd name="connsiteY90" fmla="*/ 222125 h 362435"/>
                <a:gd name="connsiteX91" fmla="*/ 318360 w 413443"/>
                <a:gd name="connsiteY91" fmla="*/ 212732 h 362435"/>
                <a:gd name="connsiteX92" fmla="*/ 326053 w 413443"/>
                <a:gd name="connsiteY92" fmla="*/ 198787 h 362435"/>
                <a:gd name="connsiteX93" fmla="*/ 317349 w 413443"/>
                <a:gd name="connsiteY93" fmla="*/ 190163 h 36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13443" h="362435">
                  <a:moveTo>
                    <a:pt x="381121" y="198777"/>
                  </a:moveTo>
                  <a:lnTo>
                    <a:pt x="376219" y="202911"/>
                  </a:lnTo>
                  <a:lnTo>
                    <a:pt x="365592" y="217500"/>
                  </a:lnTo>
                  <a:lnTo>
                    <a:pt x="358596" y="232332"/>
                  </a:lnTo>
                  <a:lnTo>
                    <a:pt x="344373" y="253148"/>
                  </a:lnTo>
                  <a:lnTo>
                    <a:pt x="316025" y="283402"/>
                  </a:lnTo>
                  <a:lnTo>
                    <a:pt x="298322" y="301150"/>
                  </a:lnTo>
                  <a:lnTo>
                    <a:pt x="279384" y="314693"/>
                  </a:lnTo>
                  <a:lnTo>
                    <a:pt x="253165" y="326296"/>
                  </a:lnTo>
                  <a:lnTo>
                    <a:pt x="240382" y="327852"/>
                  </a:lnTo>
                  <a:lnTo>
                    <a:pt x="237144" y="336198"/>
                  </a:lnTo>
                  <a:lnTo>
                    <a:pt x="221900" y="331752"/>
                  </a:lnTo>
                  <a:lnTo>
                    <a:pt x="209484" y="337477"/>
                  </a:lnTo>
                  <a:lnTo>
                    <a:pt x="182298" y="331681"/>
                  </a:lnTo>
                  <a:lnTo>
                    <a:pt x="167100" y="335349"/>
                  </a:lnTo>
                  <a:lnTo>
                    <a:pt x="156714" y="333774"/>
                  </a:lnTo>
                  <a:lnTo>
                    <a:pt x="130844" y="345672"/>
                  </a:lnTo>
                  <a:lnTo>
                    <a:pt x="109428" y="350457"/>
                  </a:lnTo>
                  <a:lnTo>
                    <a:pt x="93935" y="361926"/>
                  </a:lnTo>
                  <a:lnTo>
                    <a:pt x="82530" y="362659"/>
                  </a:lnTo>
                  <a:lnTo>
                    <a:pt x="71911" y="351844"/>
                  </a:lnTo>
                  <a:lnTo>
                    <a:pt x="63440" y="351289"/>
                  </a:lnTo>
                  <a:lnTo>
                    <a:pt x="52633" y="337808"/>
                  </a:lnTo>
                  <a:lnTo>
                    <a:pt x="51444" y="341986"/>
                  </a:lnTo>
                  <a:lnTo>
                    <a:pt x="48107" y="333890"/>
                  </a:lnTo>
                  <a:lnTo>
                    <a:pt x="48250" y="316321"/>
                  </a:lnTo>
                  <a:lnTo>
                    <a:pt x="40101" y="296382"/>
                  </a:lnTo>
                  <a:lnTo>
                    <a:pt x="48197" y="290988"/>
                  </a:lnTo>
                  <a:lnTo>
                    <a:pt x="47544" y="268382"/>
                  </a:lnTo>
                  <a:lnTo>
                    <a:pt x="31120" y="241072"/>
                  </a:lnTo>
                  <a:lnTo>
                    <a:pt x="18516" y="216588"/>
                  </a:lnTo>
                  <a:lnTo>
                    <a:pt x="18480" y="216507"/>
                  </a:lnTo>
                  <a:lnTo>
                    <a:pt x="472" y="179357"/>
                  </a:lnTo>
                  <a:lnTo>
                    <a:pt x="12486" y="165339"/>
                  </a:lnTo>
                  <a:lnTo>
                    <a:pt x="22389" y="173095"/>
                  </a:lnTo>
                  <a:lnTo>
                    <a:pt x="26620" y="185243"/>
                  </a:lnTo>
                  <a:lnTo>
                    <a:pt x="37874" y="187318"/>
                  </a:lnTo>
                  <a:lnTo>
                    <a:pt x="53645" y="192713"/>
                  </a:lnTo>
                  <a:lnTo>
                    <a:pt x="67116" y="190628"/>
                  </a:lnTo>
                  <a:lnTo>
                    <a:pt x="89498" y="176083"/>
                  </a:lnTo>
                  <a:lnTo>
                    <a:pt x="89525" y="72995"/>
                  </a:lnTo>
                  <a:lnTo>
                    <a:pt x="96297" y="77119"/>
                  </a:lnTo>
                  <a:lnTo>
                    <a:pt x="111164" y="103356"/>
                  </a:lnTo>
                  <a:lnTo>
                    <a:pt x="108856" y="120290"/>
                  </a:lnTo>
                  <a:lnTo>
                    <a:pt x="114447" y="130094"/>
                  </a:lnTo>
                  <a:lnTo>
                    <a:pt x="132410" y="127240"/>
                  </a:lnTo>
                  <a:lnTo>
                    <a:pt x="144951" y="114797"/>
                  </a:lnTo>
                  <a:lnTo>
                    <a:pt x="156831" y="106433"/>
                  </a:lnTo>
                  <a:lnTo>
                    <a:pt x="162976" y="93176"/>
                  </a:lnTo>
                  <a:lnTo>
                    <a:pt x="175214" y="86771"/>
                  </a:lnTo>
                  <a:lnTo>
                    <a:pt x="185787" y="90125"/>
                  </a:lnTo>
                  <a:lnTo>
                    <a:pt x="197765" y="97863"/>
                  </a:lnTo>
                  <a:lnTo>
                    <a:pt x="218179" y="99232"/>
                  </a:lnTo>
                  <a:lnTo>
                    <a:pt x="234218" y="92791"/>
                  </a:lnTo>
                  <a:lnTo>
                    <a:pt x="236759" y="84186"/>
                  </a:lnTo>
                  <a:lnTo>
                    <a:pt x="241169" y="71027"/>
                  </a:lnTo>
                  <a:lnTo>
                    <a:pt x="254819" y="68826"/>
                  </a:lnTo>
                  <a:lnTo>
                    <a:pt x="262361" y="58539"/>
                  </a:lnTo>
                  <a:lnTo>
                    <a:pt x="270716" y="40362"/>
                  </a:lnTo>
                  <a:lnTo>
                    <a:pt x="293232" y="20100"/>
                  </a:lnTo>
                  <a:lnTo>
                    <a:pt x="328719" y="223"/>
                  </a:lnTo>
                  <a:lnTo>
                    <a:pt x="338925" y="519"/>
                  </a:lnTo>
                  <a:lnTo>
                    <a:pt x="351064" y="5081"/>
                  </a:lnTo>
                  <a:lnTo>
                    <a:pt x="359518" y="1851"/>
                  </a:lnTo>
                  <a:lnTo>
                    <a:pt x="372847" y="4544"/>
                  </a:lnTo>
                  <a:lnTo>
                    <a:pt x="384861" y="42661"/>
                  </a:lnTo>
                  <a:lnTo>
                    <a:pt x="391382" y="62054"/>
                  </a:lnTo>
                  <a:lnTo>
                    <a:pt x="386909" y="92720"/>
                  </a:lnTo>
                  <a:lnTo>
                    <a:pt x="389047" y="102658"/>
                  </a:lnTo>
                  <a:lnTo>
                    <a:pt x="376389" y="97586"/>
                  </a:lnTo>
                  <a:lnTo>
                    <a:pt x="369134" y="99563"/>
                  </a:lnTo>
                  <a:lnTo>
                    <a:pt x="366764" y="107632"/>
                  </a:lnTo>
                  <a:lnTo>
                    <a:pt x="359912" y="118071"/>
                  </a:lnTo>
                  <a:lnTo>
                    <a:pt x="360144" y="127715"/>
                  </a:lnTo>
                  <a:lnTo>
                    <a:pt x="375110" y="142895"/>
                  </a:lnTo>
                  <a:lnTo>
                    <a:pt x="389789" y="139872"/>
                  </a:lnTo>
                  <a:lnTo>
                    <a:pt x="394897" y="127437"/>
                  </a:lnTo>
                  <a:lnTo>
                    <a:pt x="413915" y="127670"/>
                  </a:lnTo>
                  <a:lnTo>
                    <a:pt x="407645" y="148075"/>
                  </a:lnTo>
                  <a:lnTo>
                    <a:pt x="404684" y="171530"/>
                  </a:lnTo>
                  <a:lnTo>
                    <a:pt x="398189" y="184349"/>
                  </a:lnTo>
                  <a:lnTo>
                    <a:pt x="381121" y="198777"/>
                  </a:lnTo>
                  <a:close/>
                  <a:moveTo>
                    <a:pt x="317349" y="190163"/>
                  </a:moveTo>
                  <a:lnTo>
                    <a:pt x="306400" y="181396"/>
                  </a:lnTo>
                  <a:lnTo>
                    <a:pt x="294672" y="187202"/>
                  </a:lnTo>
                  <a:lnTo>
                    <a:pt x="281084" y="198366"/>
                  </a:lnTo>
                  <a:lnTo>
                    <a:pt x="267710" y="216534"/>
                  </a:lnTo>
                  <a:lnTo>
                    <a:pt x="286522" y="238755"/>
                  </a:lnTo>
                  <a:lnTo>
                    <a:pt x="295495" y="235875"/>
                  </a:lnTo>
                  <a:lnTo>
                    <a:pt x="300111" y="226634"/>
                  </a:lnTo>
                  <a:lnTo>
                    <a:pt x="314093" y="222125"/>
                  </a:lnTo>
                  <a:lnTo>
                    <a:pt x="318360" y="212732"/>
                  </a:lnTo>
                  <a:lnTo>
                    <a:pt x="326053" y="198787"/>
                  </a:lnTo>
                  <a:lnTo>
                    <a:pt x="317349" y="19016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/>
            <p:cNvSpPr/>
            <p:nvPr/>
          </p:nvSpPr>
          <p:spPr>
            <a:xfrm>
              <a:off x="6386672" y="4867078"/>
              <a:ext cx="290899" cy="249132"/>
            </a:xfrm>
            <a:custGeom>
              <a:avLst/>
              <a:gdLst>
                <a:gd name="connsiteX0" fmla="*/ 273152 w 290899"/>
                <a:gd name="connsiteY0" fmla="*/ 25225 h 249132"/>
                <a:gd name="connsiteX1" fmla="*/ 284997 w 290899"/>
                <a:gd name="connsiteY1" fmla="*/ 36487 h 249132"/>
                <a:gd name="connsiteX2" fmla="*/ 291375 w 290899"/>
                <a:gd name="connsiteY2" fmla="*/ 57974 h 249132"/>
                <a:gd name="connsiteX3" fmla="*/ 287099 w 290899"/>
                <a:gd name="connsiteY3" fmla="*/ 64844 h 249132"/>
                <a:gd name="connsiteX4" fmla="*/ 282062 w 290899"/>
                <a:gd name="connsiteY4" fmla="*/ 85437 h 249132"/>
                <a:gd name="connsiteX5" fmla="*/ 286875 w 290899"/>
                <a:gd name="connsiteY5" fmla="*/ 106557 h 249132"/>
                <a:gd name="connsiteX6" fmla="*/ 278985 w 290899"/>
                <a:gd name="connsiteY6" fmla="*/ 115440 h 249132"/>
                <a:gd name="connsiteX7" fmla="*/ 271373 w 290899"/>
                <a:gd name="connsiteY7" fmla="*/ 139226 h 249132"/>
                <a:gd name="connsiteX8" fmla="*/ 284558 w 290899"/>
                <a:gd name="connsiteY8" fmla="*/ 145882 h 249132"/>
                <a:gd name="connsiteX9" fmla="*/ 208450 w 290899"/>
                <a:gd name="connsiteY9" fmla="*/ 167083 h 249132"/>
                <a:gd name="connsiteX10" fmla="*/ 210829 w 290899"/>
                <a:gd name="connsiteY10" fmla="*/ 185465 h 249132"/>
                <a:gd name="connsiteX11" fmla="*/ 191829 w 290899"/>
                <a:gd name="connsiteY11" fmla="*/ 189008 h 249132"/>
                <a:gd name="connsiteX12" fmla="*/ 177543 w 290899"/>
                <a:gd name="connsiteY12" fmla="*/ 199331 h 249132"/>
                <a:gd name="connsiteX13" fmla="*/ 174493 w 290899"/>
                <a:gd name="connsiteY13" fmla="*/ 208330 h 249132"/>
                <a:gd name="connsiteX14" fmla="*/ 165520 w 290899"/>
                <a:gd name="connsiteY14" fmla="*/ 210370 h 249132"/>
                <a:gd name="connsiteX15" fmla="*/ 143702 w 290899"/>
                <a:gd name="connsiteY15" fmla="*/ 231794 h 249132"/>
                <a:gd name="connsiteX16" fmla="*/ 129819 w 290899"/>
                <a:gd name="connsiteY16" fmla="*/ 248728 h 249132"/>
                <a:gd name="connsiteX17" fmla="*/ 121348 w 290899"/>
                <a:gd name="connsiteY17" fmla="*/ 249336 h 249132"/>
                <a:gd name="connsiteX18" fmla="*/ 113198 w 290899"/>
                <a:gd name="connsiteY18" fmla="*/ 246313 h 249132"/>
                <a:gd name="connsiteX19" fmla="*/ 85163 w 290899"/>
                <a:gd name="connsiteY19" fmla="*/ 243450 h 249132"/>
                <a:gd name="connsiteX20" fmla="*/ 80654 w 290899"/>
                <a:gd name="connsiteY20" fmla="*/ 241491 h 249132"/>
                <a:gd name="connsiteX21" fmla="*/ 80467 w 290899"/>
                <a:gd name="connsiteY21" fmla="*/ 239326 h 249132"/>
                <a:gd name="connsiteX22" fmla="*/ 70564 w 290899"/>
                <a:gd name="connsiteY22" fmla="*/ 233431 h 249132"/>
                <a:gd name="connsiteX23" fmla="*/ 54310 w 290899"/>
                <a:gd name="connsiteY23" fmla="*/ 231929 h 249132"/>
                <a:gd name="connsiteX24" fmla="*/ 33771 w 290899"/>
                <a:gd name="connsiteY24" fmla="*/ 237868 h 249132"/>
                <a:gd name="connsiteX25" fmla="*/ 17401 w 290899"/>
                <a:gd name="connsiteY25" fmla="*/ 221561 h 249132"/>
                <a:gd name="connsiteX26" fmla="*/ 476 w 290899"/>
                <a:gd name="connsiteY26" fmla="*/ 200297 h 249132"/>
                <a:gd name="connsiteX27" fmla="*/ 1630 w 290899"/>
                <a:gd name="connsiteY27" fmla="*/ 118374 h 249132"/>
                <a:gd name="connsiteX28" fmla="*/ 53863 w 290899"/>
                <a:gd name="connsiteY28" fmla="*/ 118696 h 249132"/>
                <a:gd name="connsiteX29" fmla="*/ 51725 w 290899"/>
                <a:gd name="connsiteY29" fmla="*/ 109876 h 249132"/>
                <a:gd name="connsiteX30" fmla="*/ 55464 w 290899"/>
                <a:gd name="connsiteY30" fmla="*/ 100322 h 249132"/>
                <a:gd name="connsiteX31" fmla="*/ 51054 w 290899"/>
                <a:gd name="connsiteY31" fmla="*/ 88371 h 249132"/>
                <a:gd name="connsiteX32" fmla="*/ 53907 w 290899"/>
                <a:gd name="connsiteY32" fmla="*/ 76035 h 249132"/>
                <a:gd name="connsiteX33" fmla="*/ 51251 w 290899"/>
                <a:gd name="connsiteY33" fmla="*/ 68154 h 249132"/>
                <a:gd name="connsiteX34" fmla="*/ 59910 w 290899"/>
                <a:gd name="connsiteY34" fmla="*/ 68789 h 249132"/>
                <a:gd name="connsiteX35" fmla="*/ 61341 w 290899"/>
                <a:gd name="connsiteY35" fmla="*/ 76688 h 249132"/>
                <a:gd name="connsiteX36" fmla="*/ 73096 w 290899"/>
                <a:gd name="connsiteY36" fmla="*/ 76071 h 249132"/>
                <a:gd name="connsiteX37" fmla="*/ 89018 w 290899"/>
                <a:gd name="connsiteY37" fmla="*/ 78415 h 249132"/>
                <a:gd name="connsiteX38" fmla="*/ 97400 w 290899"/>
                <a:gd name="connsiteY38" fmla="*/ 89963 h 249132"/>
                <a:gd name="connsiteX39" fmla="*/ 117492 w 290899"/>
                <a:gd name="connsiteY39" fmla="*/ 93515 h 249132"/>
                <a:gd name="connsiteX40" fmla="*/ 132825 w 290899"/>
                <a:gd name="connsiteY40" fmla="*/ 85482 h 249132"/>
                <a:gd name="connsiteX41" fmla="*/ 138451 w 290899"/>
                <a:gd name="connsiteY41" fmla="*/ 98828 h 249132"/>
                <a:gd name="connsiteX42" fmla="*/ 157675 w 290899"/>
                <a:gd name="connsiteY42" fmla="*/ 102389 h 249132"/>
                <a:gd name="connsiteX43" fmla="*/ 166916 w 290899"/>
                <a:gd name="connsiteY43" fmla="*/ 113266 h 249132"/>
                <a:gd name="connsiteX44" fmla="*/ 177212 w 290899"/>
                <a:gd name="connsiteY44" fmla="*/ 127338 h 249132"/>
                <a:gd name="connsiteX45" fmla="*/ 196409 w 290899"/>
                <a:gd name="connsiteY45" fmla="*/ 127552 h 249132"/>
                <a:gd name="connsiteX46" fmla="*/ 194316 w 290899"/>
                <a:gd name="connsiteY46" fmla="*/ 100000 h 249132"/>
                <a:gd name="connsiteX47" fmla="*/ 187428 w 290899"/>
                <a:gd name="connsiteY47" fmla="*/ 104634 h 249132"/>
                <a:gd name="connsiteX48" fmla="*/ 169895 w 290899"/>
                <a:gd name="connsiteY48" fmla="*/ 94722 h 249132"/>
                <a:gd name="connsiteX49" fmla="*/ 163123 w 290899"/>
                <a:gd name="connsiteY49" fmla="*/ 90187 h 249132"/>
                <a:gd name="connsiteX50" fmla="*/ 166227 w 290899"/>
                <a:gd name="connsiteY50" fmla="*/ 64683 h 249132"/>
                <a:gd name="connsiteX51" fmla="*/ 170682 w 290899"/>
                <a:gd name="connsiteY51" fmla="*/ 34707 h 249132"/>
                <a:gd name="connsiteX52" fmla="*/ 165064 w 290899"/>
                <a:gd name="connsiteY52" fmla="*/ 23561 h 249132"/>
                <a:gd name="connsiteX53" fmla="*/ 172211 w 290899"/>
                <a:gd name="connsiteY53" fmla="*/ 7468 h 249132"/>
                <a:gd name="connsiteX54" fmla="*/ 178939 w 290899"/>
                <a:gd name="connsiteY54" fmla="*/ 4453 h 249132"/>
                <a:gd name="connsiteX55" fmla="*/ 212627 w 290899"/>
                <a:gd name="connsiteY55" fmla="*/ 204 h 249132"/>
                <a:gd name="connsiteX56" fmla="*/ 222503 w 290899"/>
                <a:gd name="connsiteY56" fmla="*/ 2763 h 249132"/>
                <a:gd name="connsiteX57" fmla="*/ 232987 w 290899"/>
                <a:gd name="connsiteY57" fmla="*/ 9177 h 249132"/>
                <a:gd name="connsiteX58" fmla="*/ 242979 w 290899"/>
                <a:gd name="connsiteY58" fmla="*/ 13399 h 249132"/>
                <a:gd name="connsiteX59" fmla="*/ 258920 w 290899"/>
                <a:gd name="connsiteY59" fmla="*/ 17639 h 249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90899" h="249132">
                  <a:moveTo>
                    <a:pt x="273152" y="25225"/>
                  </a:moveTo>
                  <a:lnTo>
                    <a:pt x="284997" y="36487"/>
                  </a:lnTo>
                  <a:lnTo>
                    <a:pt x="291375" y="57974"/>
                  </a:lnTo>
                  <a:lnTo>
                    <a:pt x="287099" y="64844"/>
                  </a:lnTo>
                  <a:lnTo>
                    <a:pt x="282062" y="85437"/>
                  </a:lnTo>
                  <a:lnTo>
                    <a:pt x="286875" y="106557"/>
                  </a:lnTo>
                  <a:lnTo>
                    <a:pt x="278985" y="115440"/>
                  </a:lnTo>
                  <a:lnTo>
                    <a:pt x="271373" y="139226"/>
                  </a:lnTo>
                  <a:lnTo>
                    <a:pt x="284558" y="145882"/>
                  </a:lnTo>
                  <a:lnTo>
                    <a:pt x="208450" y="167083"/>
                  </a:lnTo>
                  <a:lnTo>
                    <a:pt x="210829" y="185465"/>
                  </a:lnTo>
                  <a:lnTo>
                    <a:pt x="191829" y="189008"/>
                  </a:lnTo>
                  <a:lnTo>
                    <a:pt x="177543" y="199331"/>
                  </a:lnTo>
                  <a:lnTo>
                    <a:pt x="174493" y="208330"/>
                  </a:lnTo>
                  <a:lnTo>
                    <a:pt x="165520" y="210370"/>
                  </a:lnTo>
                  <a:lnTo>
                    <a:pt x="143702" y="231794"/>
                  </a:lnTo>
                  <a:lnTo>
                    <a:pt x="129819" y="248728"/>
                  </a:lnTo>
                  <a:lnTo>
                    <a:pt x="121348" y="249336"/>
                  </a:lnTo>
                  <a:lnTo>
                    <a:pt x="113198" y="246313"/>
                  </a:lnTo>
                  <a:lnTo>
                    <a:pt x="85163" y="243450"/>
                  </a:lnTo>
                  <a:lnTo>
                    <a:pt x="80654" y="241491"/>
                  </a:lnTo>
                  <a:lnTo>
                    <a:pt x="80467" y="239326"/>
                  </a:lnTo>
                  <a:lnTo>
                    <a:pt x="70564" y="233431"/>
                  </a:lnTo>
                  <a:lnTo>
                    <a:pt x="54310" y="231929"/>
                  </a:lnTo>
                  <a:lnTo>
                    <a:pt x="33771" y="237868"/>
                  </a:lnTo>
                  <a:lnTo>
                    <a:pt x="17401" y="221561"/>
                  </a:lnTo>
                  <a:lnTo>
                    <a:pt x="476" y="200297"/>
                  </a:lnTo>
                  <a:lnTo>
                    <a:pt x="1630" y="118374"/>
                  </a:lnTo>
                  <a:lnTo>
                    <a:pt x="53863" y="118696"/>
                  </a:lnTo>
                  <a:lnTo>
                    <a:pt x="51725" y="109876"/>
                  </a:lnTo>
                  <a:lnTo>
                    <a:pt x="55464" y="100322"/>
                  </a:lnTo>
                  <a:lnTo>
                    <a:pt x="51054" y="88371"/>
                  </a:lnTo>
                  <a:lnTo>
                    <a:pt x="53907" y="76035"/>
                  </a:lnTo>
                  <a:lnTo>
                    <a:pt x="51251" y="68154"/>
                  </a:lnTo>
                  <a:lnTo>
                    <a:pt x="59910" y="68789"/>
                  </a:lnTo>
                  <a:lnTo>
                    <a:pt x="61341" y="76688"/>
                  </a:lnTo>
                  <a:lnTo>
                    <a:pt x="73096" y="76071"/>
                  </a:lnTo>
                  <a:lnTo>
                    <a:pt x="89018" y="78415"/>
                  </a:lnTo>
                  <a:lnTo>
                    <a:pt x="97400" y="89963"/>
                  </a:lnTo>
                  <a:lnTo>
                    <a:pt x="117492" y="93515"/>
                  </a:lnTo>
                  <a:lnTo>
                    <a:pt x="132825" y="85482"/>
                  </a:lnTo>
                  <a:lnTo>
                    <a:pt x="138451" y="98828"/>
                  </a:lnTo>
                  <a:lnTo>
                    <a:pt x="157675" y="102389"/>
                  </a:lnTo>
                  <a:lnTo>
                    <a:pt x="166916" y="113266"/>
                  </a:lnTo>
                  <a:lnTo>
                    <a:pt x="177212" y="127338"/>
                  </a:lnTo>
                  <a:lnTo>
                    <a:pt x="196409" y="127552"/>
                  </a:lnTo>
                  <a:lnTo>
                    <a:pt x="194316" y="100000"/>
                  </a:lnTo>
                  <a:lnTo>
                    <a:pt x="187428" y="104634"/>
                  </a:lnTo>
                  <a:lnTo>
                    <a:pt x="169895" y="94722"/>
                  </a:lnTo>
                  <a:lnTo>
                    <a:pt x="163123" y="90187"/>
                  </a:lnTo>
                  <a:lnTo>
                    <a:pt x="166227" y="64683"/>
                  </a:lnTo>
                  <a:lnTo>
                    <a:pt x="170682" y="34707"/>
                  </a:lnTo>
                  <a:lnTo>
                    <a:pt x="165064" y="23561"/>
                  </a:lnTo>
                  <a:lnTo>
                    <a:pt x="172211" y="7468"/>
                  </a:lnTo>
                  <a:lnTo>
                    <a:pt x="178939" y="4453"/>
                  </a:lnTo>
                  <a:lnTo>
                    <a:pt x="212627" y="204"/>
                  </a:lnTo>
                  <a:lnTo>
                    <a:pt x="222503" y="2763"/>
                  </a:lnTo>
                  <a:lnTo>
                    <a:pt x="232987" y="9177"/>
                  </a:lnTo>
                  <a:lnTo>
                    <a:pt x="242979" y="13399"/>
                  </a:lnTo>
                  <a:lnTo>
                    <a:pt x="258920" y="1763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/>
            <p:cNvSpPr/>
            <p:nvPr/>
          </p:nvSpPr>
          <p:spPr>
            <a:xfrm>
              <a:off x="9951857" y="5172772"/>
              <a:ext cx="77512" cy="61384"/>
            </a:xfrm>
            <a:custGeom>
              <a:avLst/>
              <a:gdLst>
                <a:gd name="connsiteX0" fmla="*/ 44529 w 77512"/>
                <a:gd name="connsiteY0" fmla="*/ 26165 h 61384"/>
                <a:gd name="connsiteX1" fmla="*/ 65104 w 77512"/>
                <a:gd name="connsiteY1" fmla="*/ 42768 h 61384"/>
                <a:gd name="connsiteX2" fmla="*/ 78146 w 77512"/>
                <a:gd name="connsiteY2" fmla="*/ 55130 h 61384"/>
                <a:gd name="connsiteX3" fmla="*/ 68619 w 77512"/>
                <a:gd name="connsiteY3" fmla="*/ 61598 h 61384"/>
                <a:gd name="connsiteX4" fmla="*/ 54816 w 77512"/>
                <a:gd name="connsiteY4" fmla="*/ 54316 h 61384"/>
                <a:gd name="connsiteX5" fmla="*/ 36872 w 77512"/>
                <a:gd name="connsiteY5" fmla="*/ 42222 h 61384"/>
                <a:gd name="connsiteX6" fmla="*/ 20698 w 77512"/>
                <a:gd name="connsiteY6" fmla="*/ 28026 h 61384"/>
                <a:gd name="connsiteX7" fmla="*/ 4105 w 77512"/>
                <a:gd name="connsiteY7" fmla="*/ 9222 h 61384"/>
                <a:gd name="connsiteX8" fmla="*/ 634 w 77512"/>
                <a:gd name="connsiteY8" fmla="*/ 214 h 61384"/>
                <a:gd name="connsiteX9" fmla="*/ 11422 w 77512"/>
                <a:gd name="connsiteY9" fmla="*/ 590 h 61384"/>
                <a:gd name="connsiteX10" fmla="*/ 25475 w 77512"/>
                <a:gd name="connsiteY10" fmla="*/ 9633 h 61384"/>
                <a:gd name="connsiteX11" fmla="*/ 36514 w 77512"/>
                <a:gd name="connsiteY11" fmla="*/ 18686 h 61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512" h="61384">
                  <a:moveTo>
                    <a:pt x="44529" y="26165"/>
                  </a:moveTo>
                  <a:lnTo>
                    <a:pt x="65104" y="42768"/>
                  </a:lnTo>
                  <a:lnTo>
                    <a:pt x="78146" y="55130"/>
                  </a:lnTo>
                  <a:lnTo>
                    <a:pt x="68619" y="61598"/>
                  </a:lnTo>
                  <a:lnTo>
                    <a:pt x="54816" y="54316"/>
                  </a:lnTo>
                  <a:lnTo>
                    <a:pt x="36872" y="42222"/>
                  </a:lnTo>
                  <a:lnTo>
                    <a:pt x="20698" y="28026"/>
                  </a:lnTo>
                  <a:lnTo>
                    <a:pt x="4105" y="9222"/>
                  </a:lnTo>
                  <a:lnTo>
                    <a:pt x="634" y="214"/>
                  </a:lnTo>
                  <a:lnTo>
                    <a:pt x="11422" y="590"/>
                  </a:lnTo>
                  <a:lnTo>
                    <a:pt x="25475" y="9633"/>
                  </a:lnTo>
                  <a:lnTo>
                    <a:pt x="36514" y="18686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/>
            <p:cNvSpPr/>
            <p:nvPr/>
          </p:nvSpPr>
          <p:spPr>
            <a:xfrm>
              <a:off x="6336703" y="5108365"/>
              <a:ext cx="239193" cy="247343"/>
            </a:xfrm>
            <a:custGeom>
              <a:avLst/>
              <a:gdLst>
                <a:gd name="connsiteX0" fmla="*/ 144781 w 239193"/>
                <a:gd name="connsiteY0" fmla="*/ 23142 h 247343"/>
                <a:gd name="connsiteX1" fmla="*/ 149826 w 239193"/>
                <a:gd name="connsiteY1" fmla="*/ 27839 h 247343"/>
                <a:gd name="connsiteX2" fmla="*/ 157716 w 239193"/>
                <a:gd name="connsiteY2" fmla="*/ 43100 h 247343"/>
                <a:gd name="connsiteX3" fmla="*/ 186101 w 239193"/>
                <a:gd name="connsiteY3" fmla="*/ 72218 h 247343"/>
                <a:gd name="connsiteX4" fmla="*/ 196844 w 239193"/>
                <a:gd name="connsiteY4" fmla="*/ 75080 h 247343"/>
                <a:gd name="connsiteX5" fmla="*/ 196906 w 239193"/>
                <a:gd name="connsiteY5" fmla="*/ 84482 h 247343"/>
                <a:gd name="connsiteX6" fmla="*/ 204287 w 239193"/>
                <a:gd name="connsiteY6" fmla="*/ 101434 h 247343"/>
                <a:gd name="connsiteX7" fmla="*/ 223681 w 239193"/>
                <a:gd name="connsiteY7" fmla="*/ 105549 h 247343"/>
                <a:gd name="connsiteX8" fmla="*/ 239666 w 239193"/>
                <a:gd name="connsiteY8" fmla="*/ 117696 h 247343"/>
                <a:gd name="connsiteX9" fmla="*/ 204180 w 239193"/>
                <a:gd name="connsiteY9" fmla="*/ 137564 h 247343"/>
                <a:gd name="connsiteX10" fmla="*/ 181663 w 239193"/>
                <a:gd name="connsiteY10" fmla="*/ 157826 h 247343"/>
                <a:gd name="connsiteX11" fmla="*/ 173308 w 239193"/>
                <a:gd name="connsiteY11" fmla="*/ 176003 h 247343"/>
                <a:gd name="connsiteX12" fmla="*/ 165768 w 239193"/>
                <a:gd name="connsiteY12" fmla="*/ 186300 h 247343"/>
                <a:gd name="connsiteX13" fmla="*/ 152117 w 239193"/>
                <a:gd name="connsiteY13" fmla="*/ 188491 h 247343"/>
                <a:gd name="connsiteX14" fmla="*/ 147715 w 239193"/>
                <a:gd name="connsiteY14" fmla="*/ 201650 h 247343"/>
                <a:gd name="connsiteX15" fmla="*/ 145175 w 239193"/>
                <a:gd name="connsiteY15" fmla="*/ 210265 h 247343"/>
                <a:gd name="connsiteX16" fmla="*/ 129135 w 239193"/>
                <a:gd name="connsiteY16" fmla="*/ 216705 h 247343"/>
                <a:gd name="connsiteX17" fmla="*/ 108722 w 239193"/>
                <a:gd name="connsiteY17" fmla="*/ 215337 h 247343"/>
                <a:gd name="connsiteX18" fmla="*/ 96735 w 239193"/>
                <a:gd name="connsiteY18" fmla="*/ 207590 h 247343"/>
                <a:gd name="connsiteX19" fmla="*/ 86170 w 239193"/>
                <a:gd name="connsiteY19" fmla="*/ 204235 h 247343"/>
                <a:gd name="connsiteX20" fmla="*/ 73933 w 239193"/>
                <a:gd name="connsiteY20" fmla="*/ 210640 h 247343"/>
                <a:gd name="connsiteX21" fmla="*/ 67796 w 239193"/>
                <a:gd name="connsiteY21" fmla="*/ 223906 h 247343"/>
                <a:gd name="connsiteX22" fmla="*/ 55917 w 239193"/>
                <a:gd name="connsiteY22" fmla="*/ 232262 h 247343"/>
                <a:gd name="connsiteX23" fmla="*/ 43375 w 239193"/>
                <a:gd name="connsiteY23" fmla="*/ 244705 h 247343"/>
                <a:gd name="connsiteX24" fmla="*/ 25403 w 239193"/>
                <a:gd name="connsiteY24" fmla="*/ 247559 h 247343"/>
                <a:gd name="connsiteX25" fmla="*/ 19812 w 239193"/>
                <a:gd name="connsiteY25" fmla="*/ 237754 h 247343"/>
                <a:gd name="connsiteX26" fmla="*/ 22120 w 239193"/>
                <a:gd name="connsiteY26" fmla="*/ 220820 h 247343"/>
                <a:gd name="connsiteX27" fmla="*/ 7253 w 239193"/>
                <a:gd name="connsiteY27" fmla="*/ 194583 h 247343"/>
                <a:gd name="connsiteX28" fmla="*/ 482 w 239193"/>
                <a:gd name="connsiteY28" fmla="*/ 190450 h 247343"/>
                <a:gd name="connsiteX29" fmla="*/ 472 w 239193"/>
                <a:gd name="connsiteY29" fmla="*/ 111184 h 247343"/>
                <a:gd name="connsiteX30" fmla="*/ 25198 w 239193"/>
                <a:gd name="connsiteY30" fmla="*/ 110245 h 247343"/>
                <a:gd name="connsiteX31" fmla="*/ 25931 w 239193"/>
                <a:gd name="connsiteY31" fmla="*/ 15691 h 247343"/>
                <a:gd name="connsiteX32" fmla="*/ 44610 w 239193"/>
                <a:gd name="connsiteY32" fmla="*/ 14823 h 247343"/>
                <a:gd name="connsiteX33" fmla="*/ 83272 w 239193"/>
                <a:gd name="connsiteY33" fmla="*/ 5645 h 247343"/>
                <a:gd name="connsiteX34" fmla="*/ 92861 w 239193"/>
                <a:gd name="connsiteY34" fmla="*/ 16451 h 247343"/>
                <a:gd name="connsiteX35" fmla="*/ 108874 w 239193"/>
                <a:gd name="connsiteY35" fmla="*/ 6173 h 247343"/>
                <a:gd name="connsiteX36" fmla="*/ 116478 w 239193"/>
                <a:gd name="connsiteY36" fmla="*/ 6120 h 247343"/>
                <a:gd name="connsiteX37" fmla="*/ 130621 w 239193"/>
                <a:gd name="connsiteY37" fmla="*/ 215 h 247343"/>
                <a:gd name="connsiteX38" fmla="*/ 135129 w 239193"/>
                <a:gd name="connsiteY38" fmla="*/ 2174 h 247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9193" h="247343">
                  <a:moveTo>
                    <a:pt x="144781" y="23142"/>
                  </a:moveTo>
                  <a:lnTo>
                    <a:pt x="149826" y="27839"/>
                  </a:lnTo>
                  <a:lnTo>
                    <a:pt x="157716" y="43100"/>
                  </a:lnTo>
                  <a:lnTo>
                    <a:pt x="186101" y="72218"/>
                  </a:lnTo>
                  <a:lnTo>
                    <a:pt x="196844" y="75080"/>
                  </a:lnTo>
                  <a:lnTo>
                    <a:pt x="196906" y="84482"/>
                  </a:lnTo>
                  <a:lnTo>
                    <a:pt x="204287" y="101434"/>
                  </a:lnTo>
                  <a:lnTo>
                    <a:pt x="223681" y="105549"/>
                  </a:lnTo>
                  <a:lnTo>
                    <a:pt x="239666" y="117696"/>
                  </a:lnTo>
                  <a:lnTo>
                    <a:pt x="204180" y="137564"/>
                  </a:lnTo>
                  <a:lnTo>
                    <a:pt x="181663" y="157826"/>
                  </a:lnTo>
                  <a:lnTo>
                    <a:pt x="173308" y="176003"/>
                  </a:lnTo>
                  <a:lnTo>
                    <a:pt x="165768" y="186300"/>
                  </a:lnTo>
                  <a:lnTo>
                    <a:pt x="152117" y="188491"/>
                  </a:lnTo>
                  <a:lnTo>
                    <a:pt x="147715" y="201650"/>
                  </a:lnTo>
                  <a:lnTo>
                    <a:pt x="145175" y="210265"/>
                  </a:lnTo>
                  <a:lnTo>
                    <a:pt x="129135" y="216705"/>
                  </a:lnTo>
                  <a:lnTo>
                    <a:pt x="108722" y="215337"/>
                  </a:lnTo>
                  <a:lnTo>
                    <a:pt x="96735" y="207590"/>
                  </a:lnTo>
                  <a:lnTo>
                    <a:pt x="86170" y="204235"/>
                  </a:lnTo>
                  <a:lnTo>
                    <a:pt x="73933" y="210640"/>
                  </a:lnTo>
                  <a:lnTo>
                    <a:pt x="67796" y="223906"/>
                  </a:lnTo>
                  <a:lnTo>
                    <a:pt x="55917" y="232262"/>
                  </a:lnTo>
                  <a:lnTo>
                    <a:pt x="43375" y="244705"/>
                  </a:lnTo>
                  <a:lnTo>
                    <a:pt x="25403" y="247559"/>
                  </a:lnTo>
                  <a:lnTo>
                    <a:pt x="19812" y="237754"/>
                  </a:lnTo>
                  <a:lnTo>
                    <a:pt x="22120" y="220820"/>
                  </a:lnTo>
                  <a:lnTo>
                    <a:pt x="7253" y="194583"/>
                  </a:lnTo>
                  <a:lnTo>
                    <a:pt x="482" y="190450"/>
                  </a:lnTo>
                  <a:lnTo>
                    <a:pt x="472" y="111184"/>
                  </a:lnTo>
                  <a:lnTo>
                    <a:pt x="25198" y="110245"/>
                  </a:lnTo>
                  <a:lnTo>
                    <a:pt x="25931" y="15691"/>
                  </a:lnTo>
                  <a:lnTo>
                    <a:pt x="44610" y="14823"/>
                  </a:lnTo>
                  <a:lnTo>
                    <a:pt x="83272" y="5645"/>
                  </a:lnTo>
                  <a:lnTo>
                    <a:pt x="92861" y="16451"/>
                  </a:lnTo>
                  <a:lnTo>
                    <a:pt x="108874" y="6173"/>
                  </a:lnTo>
                  <a:lnTo>
                    <a:pt x="116478" y="6120"/>
                  </a:lnTo>
                  <a:lnTo>
                    <a:pt x="130621" y="215"/>
                  </a:lnTo>
                  <a:lnTo>
                    <a:pt x="135129" y="2174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/>
            <p:cNvSpPr/>
            <p:nvPr/>
          </p:nvSpPr>
          <p:spPr>
            <a:xfrm>
              <a:off x="6419574" y="2958493"/>
              <a:ext cx="238129" cy="205486"/>
            </a:xfrm>
            <a:custGeom>
              <a:avLst/>
              <a:gdLst>
                <a:gd name="connsiteX0" fmla="*/ 7614 w 238129"/>
                <a:gd name="connsiteY0" fmla="*/ 98713 h 205486"/>
                <a:gd name="connsiteX1" fmla="*/ 31857 w 238129"/>
                <a:gd name="connsiteY1" fmla="*/ 98999 h 205486"/>
                <a:gd name="connsiteX2" fmla="*/ 59087 w 238129"/>
                <a:gd name="connsiteY2" fmla="*/ 82924 h 205486"/>
                <a:gd name="connsiteX3" fmla="*/ 64911 w 238129"/>
                <a:gd name="connsiteY3" fmla="*/ 58557 h 205486"/>
                <a:gd name="connsiteX4" fmla="*/ 85476 w 238129"/>
                <a:gd name="connsiteY4" fmla="*/ 44584 h 205486"/>
                <a:gd name="connsiteX5" fmla="*/ 83114 w 238129"/>
                <a:gd name="connsiteY5" fmla="*/ 24841 h 205486"/>
                <a:gd name="connsiteX6" fmla="*/ 98367 w 238129"/>
                <a:gd name="connsiteY6" fmla="*/ 17372 h 205486"/>
                <a:gd name="connsiteX7" fmla="*/ 125310 w 238129"/>
                <a:gd name="connsiteY7" fmla="*/ 116 h 205486"/>
                <a:gd name="connsiteX8" fmla="*/ 151717 w 238129"/>
                <a:gd name="connsiteY8" fmla="*/ 11351 h 205486"/>
                <a:gd name="connsiteX9" fmla="*/ 155278 w 238129"/>
                <a:gd name="connsiteY9" fmla="*/ 22408 h 205486"/>
                <a:gd name="connsiteX10" fmla="*/ 168446 w 238129"/>
                <a:gd name="connsiteY10" fmla="*/ 17103 h 205486"/>
                <a:gd name="connsiteX11" fmla="*/ 192965 w 238129"/>
                <a:gd name="connsiteY11" fmla="*/ 27686 h 205486"/>
                <a:gd name="connsiteX12" fmla="*/ 195416 w 238129"/>
                <a:gd name="connsiteY12" fmla="*/ 48332 h 205486"/>
                <a:gd name="connsiteX13" fmla="*/ 190049 w 238129"/>
                <a:gd name="connsiteY13" fmla="*/ 60086 h 205486"/>
                <a:gd name="connsiteX14" fmla="*/ 205766 w 238129"/>
                <a:gd name="connsiteY14" fmla="*/ 88292 h 205486"/>
                <a:gd name="connsiteX15" fmla="*/ 215982 w 238129"/>
                <a:gd name="connsiteY15" fmla="*/ 96065 h 205486"/>
                <a:gd name="connsiteX16" fmla="*/ 214470 w 238129"/>
                <a:gd name="connsiteY16" fmla="*/ 103741 h 205486"/>
                <a:gd name="connsiteX17" fmla="*/ 231377 w 238129"/>
                <a:gd name="connsiteY17" fmla="*/ 111174 h 205486"/>
                <a:gd name="connsiteX18" fmla="*/ 238605 w 238129"/>
                <a:gd name="connsiteY18" fmla="*/ 122392 h 205486"/>
                <a:gd name="connsiteX19" fmla="*/ 228846 w 238129"/>
                <a:gd name="connsiteY19" fmla="*/ 131534 h 205486"/>
                <a:gd name="connsiteX20" fmla="*/ 208611 w 238129"/>
                <a:gd name="connsiteY20" fmla="*/ 130085 h 205486"/>
                <a:gd name="connsiteX21" fmla="*/ 203780 w 238129"/>
                <a:gd name="connsiteY21" fmla="*/ 133976 h 205486"/>
                <a:gd name="connsiteX22" fmla="*/ 209675 w 238129"/>
                <a:gd name="connsiteY22" fmla="*/ 147753 h 205486"/>
                <a:gd name="connsiteX23" fmla="*/ 215839 w 238129"/>
                <a:gd name="connsiteY23" fmla="*/ 174025 h 205486"/>
                <a:gd name="connsiteX24" fmla="*/ 194307 w 238129"/>
                <a:gd name="connsiteY24" fmla="*/ 176441 h 205486"/>
                <a:gd name="connsiteX25" fmla="*/ 186578 w 238129"/>
                <a:gd name="connsiteY25" fmla="*/ 185341 h 205486"/>
                <a:gd name="connsiteX26" fmla="*/ 184968 w 238129"/>
                <a:gd name="connsiteY26" fmla="*/ 205603 h 205486"/>
                <a:gd name="connsiteX27" fmla="*/ 174994 w 238129"/>
                <a:gd name="connsiteY27" fmla="*/ 201730 h 205486"/>
                <a:gd name="connsiteX28" fmla="*/ 152352 w 238129"/>
                <a:gd name="connsiteY28" fmla="*/ 203653 h 205486"/>
                <a:gd name="connsiteX29" fmla="*/ 145778 w 238129"/>
                <a:gd name="connsiteY29" fmla="*/ 194260 h 205486"/>
                <a:gd name="connsiteX30" fmla="*/ 136376 w 238129"/>
                <a:gd name="connsiteY30" fmla="*/ 201264 h 205486"/>
                <a:gd name="connsiteX31" fmla="*/ 126938 w 238129"/>
                <a:gd name="connsiteY31" fmla="*/ 195459 h 205486"/>
                <a:gd name="connsiteX32" fmla="*/ 107187 w 238129"/>
                <a:gd name="connsiteY32" fmla="*/ 194654 h 205486"/>
                <a:gd name="connsiteX33" fmla="*/ 79196 w 238129"/>
                <a:gd name="connsiteY33" fmla="*/ 184957 h 205486"/>
                <a:gd name="connsiteX34" fmla="*/ 53862 w 238129"/>
                <a:gd name="connsiteY34" fmla="*/ 181781 h 205486"/>
                <a:gd name="connsiteX35" fmla="*/ 34424 w 238129"/>
                <a:gd name="connsiteY35" fmla="*/ 182685 h 205486"/>
                <a:gd name="connsiteX36" fmla="*/ 20684 w 238129"/>
                <a:gd name="connsiteY36" fmla="*/ 193643 h 205486"/>
                <a:gd name="connsiteX37" fmla="*/ 8688 w 238129"/>
                <a:gd name="connsiteY37" fmla="*/ 195208 h 205486"/>
                <a:gd name="connsiteX38" fmla="*/ 8214 w 238129"/>
                <a:gd name="connsiteY38" fmla="*/ 177201 h 205486"/>
                <a:gd name="connsiteX39" fmla="*/ 476 w 238129"/>
                <a:gd name="connsiteY39" fmla="*/ 158263 h 205486"/>
                <a:gd name="connsiteX40" fmla="*/ 15513 w 238129"/>
                <a:gd name="connsiteY40" fmla="*/ 149855 h 205486"/>
                <a:gd name="connsiteX41" fmla="*/ 15666 w 238129"/>
                <a:gd name="connsiteY41" fmla="*/ 133323 h 205486"/>
                <a:gd name="connsiteX42" fmla="*/ 8706 w 238129"/>
                <a:gd name="connsiteY42" fmla="*/ 117409 h 205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38129" h="205486">
                  <a:moveTo>
                    <a:pt x="7614" y="98713"/>
                  </a:moveTo>
                  <a:lnTo>
                    <a:pt x="31857" y="98999"/>
                  </a:lnTo>
                  <a:lnTo>
                    <a:pt x="59087" y="82924"/>
                  </a:lnTo>
                  <a:lnTo>
                    <a:pt x="64911" y="58557"/>
                  </a:lnTo>
                  <a:lnTo>
                    <a:pt x="85476" y="44584"/>
                  </a:lnTo>
                  <a:lnTo>
                    <a:pt x="83114" y="24841"/>
                  </a:lnTo>
                  <a:lnTo>
                    <a:pt x="98367" y="17372"/>
                  </a:lnTo>
                  <a:lnTo>
                    <a:pt x="125310" y="116"/>
                  </a:lnTo>
                  <a:lnTo>
                    <a:pt x="151717" y="11351"/>
                  </a:lnTo>
                  <a:lnTo>
                    <a:pt x="155278" y="22408"/>
                  </a:lnTo>
                  <a:lnTo>
                    <a:pt x="168446" y="17103"/>
                  </a:lnTo>
                  <a:lnTo>
                    <a:pt x="192965" y="27686"/>
                  </a:lnTo>
                  <a:lnTo>
                    <a:pt x="195416" y="48332"/>
                  </a:lnTo>
                  <a:lnTo>
                    <a:pt x="190049" y="60086"/>
                  </a:lnTo>
                  <a:lnTo>
                    <a:pt x="205766" y="88292"/>
                  </a:lnTo>
                  <a:lnTo>
                    <a:pt x="215982" y="96065"/>
                  </a:lnTo>
                  <a:lnTo>
                    <a:pt x="214470" y="103741"/>
                  </a:lnTo>
                  <a:lnTo>
                    <a:pt x="231377" y="111174"/>
                  </a:lnTo>
                  <a:lnTo>
                    <a:pt x="238605" y="122392"/>
                  </a:lnTo>
                  <a:lnTo>
                    <a:pt x="228846" y="131534"/>
                  </a:lnTo>
                  <a:lnTo>
                    <a:pt x="208611" y="130085"/>
                  </a:lnTo>
                  <a:lnTo>
                    <a:pt x="203780" y="133976"/>
                  </a:lnTo>
                  <a:lnTo>
                    <a:pt x="209675" y="147753"/>
                  </a:lnTo>
                  <a:lnTo>
                    <a:pt x="215839" y="174025"/>
                  </a:lnTo>
                  <a:lnTo>
                    <a:pt x="194307" y="176441"/>
                  </a:lnTo>
                  <a:lnTo>
                    <a:pt x="186578" y="185341"/>
                  </a:lnTo>
                  <a:lnTo>
                    <a:pt x="184968" y="205603"/>
                  </a:lnTo>
                  <a:lnTo>
                    <a:pt x="174994" y="201730"/>
                  </a:lnTo>
                  <a:lnTo>
                    <a:pt x="152352" y="203653"/>
                  </a:lnTo>
                  <a:lnTo>
                    <a:pt x="145778" y="194260"/>
                  </a:lnTo>
                  <a:lnTo>
                    <a:pt x="136376" y="201264"/>
                  </a:lnTo>
                  <a:lnTo>
                    <a:pt x="126938" y="195459"/>
                  </a:lnTo>
                  <a:lnTo>
                    <a:pt x="107187" y="194654"/>
                  </a:lnTo>
                  <a:lnTo>
                    <a:pt x="79196" y="184957"/>
                  </a:lnTo>
                  <a:lnTo>
                    <a:pt x="53862" y="181781"/>
                  </a:lnTo>
                  <a:lnTo>
                    <a:pt x="34424" y="182685"/>
                  </a:lnTo>
                  <a:lnTo>
                    <a:pt x="20684" y="193643"/>
                  </a:lnTo>
                  <a:lnTo>
                    <a:pt x="8688" y="195208"/>
                  </a:lnTo>
                  <a:lnTo>
                    <a:pt x="8214" y="177201"/>
                  </a:lnTo>
                  <a:lnTo>
                    <a:pt x="476" y="158263"/>
                  </a:lnTo>
                  <a:lnTo>
                    <a:pt x="15513" y="149855"/>
                  </a:lnTo>
                  <a:lnTo>
                    <a:pt x="15666" y="133323"/>
                  </a:lnTo>
                  <a:lnTo>
                    <a:pt x="8706" y="11740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/>
            <p:cNvSpPr/>
            <p:nvPr/>
          </p:nvSpPr>
          <p:spPr>
            <a:xfrm>
              <a:off x="6471360" y="5052339"/>
              <a:ext cx="190261" cy="178364"/>
            </a:xfrm>
            <a:custGeom>
              <a:avLst/>
              <a:gdLst>
                <a:gd name="connsiteX0" fmla="*/ 149142 w 190261"/>
                <a:gd name="connsiteY0" fmla="*/ 178030 h 178364"/>
                <a:gd name="connsiteX1" fmla="*/ 135814 w 190261"/>
                <a:gd name="connsiteY1" fmla="*/ 175337 h 178364"/>
                <a:gd name="connsiteX2" fmla="*/ 127360 w 190261"/>
                <a:gd name="connsiteY2" fmla="*/ 178576 h 178364"/>
                <a:gd name="connsiteX3" fmla="*/ 115221 w 190261"/>
                <a:gd name="connsiteY3" fmla="*/ 174004 h 178364"/>
                <a:gd name="connsiteX4" fmla="*/ 105014 w 190261"/>
                <a:gd name="connsiteY4" fmla="*/ 173718 h 178364"/>
                <a:gd name="connsiteX5" fmla="*/ 89029 w 190261"/>
                <a:gd name="connsiteY5" fmla="*/ 161570 h 178364"/>
                <a:gd name="connsiteX6" fmla="*/ 69635 w 190261"/>
                <a:gd name="connsiteY6" fmla="*/ 157455 h 178364"/>
                <a:gd name="connsiteX7" fmla="*/ 62254 w 190261"/>
                <a:gd name="connsiteY7" fmla="*/ 140503 h 178364"/>
                <a:gd name="connsiteX8" fmla="*/ 62192 w 190261"/>
                <a:gd name="connsiteY8" fmla="*/ 131102 h 178364"/>
                <a:gd name="connsiteX9" fmla="*/ 51449 w 190261"/>
                <a:gd name="connsiteY9" fmla="*/ 128239 h 178364"/>
                <a:gd name="connsiteX10" fmla="*/ 23064 w 190261"/>
                <a:gd name="connsiteY10" fmla="*/ 99122 h 178364"/>
                <a:gd name="connsiteX11" fmla="*/ 15174 w 190261"/>
                <a:gd name="connsiteY11" fmla="*/ 83861 h 178364"/>
                <a:gd name="connsiteX12" fmla="*/ 10129 w 190261"/>
                <a:gd name="connsiteY12" fmla="*/ 79164 h 178364"/>
                <a:gd name="connsiteX13" fmla="*/ 477 w 190261"/>
                <a:gd name="connsiteY13" fmla="*/ 58196 h 178364"/>
                <a:gd name="connsiteX14" fmla="*/ 28512 w 190261"/>
                <a:gd name="connsiteY14" fmla="*/ 61058 h 178364"/>
                <a:gd name="connsiteX15" fmla="*/ 36662 w 190261"/>
                <a:gd name="connsiteY15" fmla="*/ 64082 h 178364"/>
                <a:gd name="connsiteX16" fmla="*/ 45133 w 190261"/>
                <a:gd name="connsiteY16" fmla="*/ 63474 h 178364"/>
                <a:gd name="connsiteX17" fmla="*/ 59016 w 190261"/>
                <a:gd name="connsiteY17" fmla="*/ 46540 h 178364"/>
                <a:gd name="connsiteX18" fmla="*/ 80835 w 190261"/>
                <a:gd name="connsiteY18" fmla="*/ 25115 h 178364"/>
                <a:gd name="connsiteX19" fmla="*/ 89807 w 190261"/>
                <a:gd name="connsiteY19" fmla="*/ 23076 h 178364"/>
                <a:gd name="connsiteX20" fmla="*/ 92857 w 190261"/>
                <a:gd name="connsiteY20" fmla="*/ 14077 h 178364"/>
                <a:gd name="connsiteX21" fmla="*/ 107143 w 190261"/>
                <a:gd name="connsiteY21" fmla="*/ 3753 h 178364"/>
                <a:gd name="connsiteX22" fmla="*/ 126144 w 190261"/>
                <a:gd name="connsiteY22" fmla="*/ 211 h 178364"/>
                <a:gd name="connsiteX23" fmla="*/ 127762 w 190261"/>
                <a:gd name="connsiteY23" fmla="*/ 9872 h 178364"/>
                <a:gd name="connsiteX24" fmla="*/ 148686 w 190261"/>
                <a:gd name="connsiteY24" fmla="*/ 9353 h 178364"/>
                <a:gd name="connsiteX25" fmla="*/ 160306 w 190261"/>
                <a:gd name="connsiteY25" fmla="*/ 14828 h 178364"/>
                <a:gd name="connsiteX26" fmla="*/ 165718 w 190261"/>
                <a:gd name="connsiteY26" fmla="*/ 21251 h 178364"/>
                <a:gd name="connsiteX27" fmla="*/ 177652 w 190261"/>
                <a:gd name="connsiteY27" fmla="*/ 23139 h 178364"/>
                <a:gd name="connsiteX28" fmla="*/ 190686 w 190261"/>
                <a:gd name="connsiteY28" fmla="*/ 31494 h 178364"/>
                <a:gd name="connsiteX29" fmla="*/ 190739 w 190261"/>
                <a:gd name="connsiteY29" fmla="*/ 64547 h 178364"/>
                <a:gd name="connsiteX30" fmla="*/ 185855 w 190261"/>
                <a:gd name="connsiteY30" fmla="*/ 82751 h 178364"/>
                <a:gd name="connsiteX31" fmla="*/ 184772 w 190261"/>
                <a:gd name="connsiteY31" fmla="*/ 102458 h 178364"/>
                <a:gd name="connsiteX32" fmla="*/ 188807 w 190261"/>
                <a:gd name="connsiteY32" fmla="*/ 110295 h 178364"/>
                <a:gd name="connsiteX33" fmla="*/ 185971 w 190261"/>
                <a:gd name="connsiteY33" fmla="*/ 125913 h 178364"/>
                <a:gd name="connsiteX34" fmla="*/ 182178 w 190261"/>
                <a:gd name="connsiteY34" fmla="*/ 128337 h 178364"/>
                <a:gd name="connsiteX35" fmla="*/ 175568 w 190261"/>
                <a:gd name="connsiteY35" fmla="*/ 147571 h 178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0261" h="178364">
                  <a:moveTo>
                    <a:pt x="149142" y="178030"/>
                  </a:moveTo>
                  <a:lnTo>
                    <a:pt x="135814" y="175337"/>
                  </a:lnTo>
                  <a:lnTo>
                    <a:pt x="127360" y="178576"/>
                  </a:lnTo>
                  <a:lnTo>
                    <a:pt x="115221" y="174004"/>
                  </a:lnTo>
                  <a:lnTo>
                    <a:pt x="105014" y="173718"/>
                  </a:lnTo>
                  <a:lnTo>
                    <a:pt x="89029" y="161570"/>
                  </a:lnTo>
                  <a:lnTo>
                    <a:pt x="69635" y="157455"/>
                  </a:lnTo>
                  <a:lnTo>
                    <a:pt x="62254" y="140503"/>
                  </a:lnTo>
                  <a:lnTo>
                    <a:pt x="62192" y="131102"/>
                  </a:lnTo>
                  <a:lnTo>
                    <a:pt x="51449" y="128239"/>
                  </a:lnTo>
                  <a:lnTo>
                    <a:pt x="23064" y="99122"/>
                  </a:lnTo>
                  <a:lnTo>
                    <a:pt x="15174" y="83861"/>
                  </a:lnTo>
                  <a:lnTo>
                    <a:pt x="10129" y="79164"/>
                  </a:lnTo>
                  <a:lnTo>
                    <a:pt x="477" y="58196"/>
                  </a:lnTo>
                  <a:lnTo>
                    <a:pt x="28512" y="61058"/>
                  </a:lnTo>
                  <a:lnTo>
                    <a:pt x="36662" y="64082"/>
                  </a:lnTo>
                  <a:lnTo>
                    <a:pt x="45133" y="63474"/>
                  </a:lnTo>
                  <a:lnTo>
                    <a:pt x="59016" y="46540"/>
                  </a:lnTo>
                  <a:lnTo>
                    <a:pt x="80835" y="25115"/>
                  </a:lnTo>
                  <a:lnTo>
                    <a:pt x="89807" y="23076"/>
                  </a:lnTo>
                  <a:lnTo>
                    <a:pt x="92857" y="14077"/>
                  </a:lnTo>
                  <a:lnTo>
                    <a:pt x="107143" y="3753"/>
                  </a:lnTo>
                  <a:lnTo>
                    <a:pt x="126144" y="211"/>
                  </a:lnTo>
                  <a:lnTo>
                    <a:pt x="127762" y="9872"/>
                  </a:lnTo>
                  <a:lnTo>
                    <a:pt x="148686" y="9353"/>
                  </a:lnTo>
                  <a:lnTo>
                    <a:pt x="160306" y="14828"/>
                  </a:lnTo>
                  <a:lnTo>
                    <a:pt x="165718" y="21251"/>
                  </a:lnTo>
                  <a:lnTo>
                    <a:pt x="177652" y="23139"/>
                  </a:lnTo>
                  <a:lnTo>
                    <a:pt x="190686" y="31494"/>
                  </a:lnTo>
                  <a:lnTo>
                    <a:pt x="190739" y="64547"/>
                  </a:lnTo>
                  <a:lnTo>
                    <a:pt x="185855" y="82751"/>
                  </a:lnTo>
                  <a:lnTo>
                    <a:pt x="184772" y="102458"/>
                  </a:lnTo>
                  <a:lnTo>
                    <a:pt x="188807" y="110295"/>
                  </a:lnTo>
                  <a:lnTo>
                    <a:pt x="185971" y="125913"/>
                  </a:lnTo>
                  <a:lnTo>
                    <a:pt x="182178" y="128337"/>
                  </a:lnTo>
                  <a:lnTo>
                    <a:pt x="175568" y="14757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/>
            <p:cNvSpPr/>
            <p:nvPr/>
          </p:nvSpPr>
          <p:spPr>
            <a:xfrm>
              <a:off x="6132003" y="5089552"/>
              <a:ext cx="334847" cy="328764"/>
            </a:xfrm>
            <a:custGeom>
              <a:avLst/>
              <a:gdLst>
                <a:gd name="connsiteX0" fmla="*/ 116112 w 334847"/>
                <a:gd name="connsiteY0" fmla="*/ 315634 h 328764"/>
                <a:gd name="connsiteX1" fmla="*/ 97470 w 334847"/>
                <a:gd name="connsiteY1" fmla="*/ 294246 h 328764"/>
                <a:gd name="connsiteX2" fmla="*/ 87657 w 334847"/>
                <a:gd name="connsiteY2" fmla="*/ 273716 h 328764"/>
                <a:gd name="connsiteX3" fmla="*/ 82120 w 334847"/>
                <a:gd name="connsiteY3" fmla="*/ 246549 h 328764"/>
                <a:gd name="connsiteX4" fmla="*/ 75938 w 334847"/>
                <a:gd name="connsiteY4" fmla="*/ 226483 h 328764"/>
                <a:gd name="connsiteX5" fmla="*/ 67530 w 334847"/>
                <a:gd name="connsiteY5" fmla="*/ 184234 h 328764"/>
                <a:gd name="connsiteX6" fmla="*/ 66966 w 334847"/>
                <a:gd name="connsiteY6" fmla="*/ 151753 h 328764"/>
                <a:gd name="connsiteX7" fmla="*/ 63755 w 334847"/>
                <a:gd name="connsiteY7" fmla="*/ 137047 h 328764"/>
                <a:gd name="connsiteX8" fmla="*/ 54004 w 334847"/>
                <a:gd name="connsiteY8" fmla="*/ 125963 h 328764"/>
                <a:gd name="connsiteX9" fmla="*/ 41051 w 334847"/>
                <a:gd name="connsiteY9" fmla="*/ 103850 h 328764"/>
                <a:gd name="connsiteX10" fmla="*/ 27874 w 334847"/>
                <a:gd name="connsiteY10" fmla="*/ 71968 h 328764"/>
                <a:gd name="connsiteX11" fmla="*/ 22391 w 334847"/>
                <a:gd name="connsiteY11" fmla="*/ 55374 h 328764"/>
                <a:gd name="connsiteX12" fmla="*/ 1986 w 334847"/>
                <a:gd name="connsiteY12" fmla="*/ 29701 h 328764"/>
                <a:gd name="connsiteX13" fmla="*/ 465 w 334847"/>
                <a:gd name="connsiteY13" fmla="*/ 9627 h 328764"/>
                <a:gd name="connsiteX14" fmla="*/ 12533 w 334847"/>
                <a:gd name="connsiteY14" fmla="*/ 4662 h 328764"/>
                <a:gd name="connsiteX15" fmla="*/ 27552 w 334847"/>
                <a:gd name="connsiteY15" fmla="*/ 216 h 328764"/>
                <a:gd name="connsiteX16" fmla="*/ 43815 w 334847"/>
                <a:gd name="connsiteY16" fmla="*/ 995 h 328764"/>
                <a:gd name="connsiteX17" fmla="*/ 58763 w 334847"/>
                <a:gd name="connsiteY17" fmla="*/ 12803 h 328764"/>
                <a:gd name="connsiteX18" fmla="*/ 62556 w 334847"/>
                <a:gd name="connsiteY18" fmla="*/ 10960 h 328764"/>
                <a:gd name="connsiteX19" fmla="*/ 164222 w 334847"/>
                <a:gd name="connsiteY19" fmla="*/ 9832 h 328764"/>
                <a:gd name="connsiteX20" fmla="*/ 181603 w 334847"/>
                <a:gd name="connsiteY20" fmla="*/ 22365 h 328764"/>
                <a:gd name="connsiteX21" fmla="*/ 242325 w 334847"/>
                <a:gd name="connsiteY21" fmla="*/ 26069 h 328764"/>
                <a:gd name="connsiteX22" fmla="*/ 288430 w 334847"/>
                <a:gd name="connsiteY22" fmla="*/ 15406 h 328764"/>
                <a:gd name="connsiteX23" fmla="*/ 308969 w 334847"/>
                <a:gd name="connsiteY23" fmla="*/ 9466 h 328764"/>
                <a:gd name="connsiteX24" fmla="*/ 325223 w 334847"/>
                <a:gd name="connsiteY24" fmla="*/ 10969 h 328764"/>
                <a:gd name="connsiteX25" fmla="*/ 335125 w 334847"/>
                <a:gd name="connsiteY25" fmla="*/ 16864 h 328764"/>
                <a:gd name="connsiteX26" fmla="*/ 335313 w 334847"/>
                <a:gd name="connsiteY26" fmla="*/ 19029 h 328764"/>
                <a:gd name="connsiteX27" fmla="*/ 321170 w 334847"/>
                <a:gd name="connsiteY27" fmla="*/ 24933 h 328764"/>
                <a:gd name="connsiteX28" fmla="*/ 313567 w 334847"/>
                <a:gd name="connsiteY28" fmla="*/ 24986 h 328764"/>
                <a:gd name="connsiteX29" fmla="*/ 297554 w 334847"/>
                <a:gd name="connsiteY29" fmla="*/ 35265 h 328764"/>
                <a:gd name="connsiteX30" fmla="*/ 287965 w 334847"/>
                <a:gd name="connsiteY30" fmla="*/ 24458 h 328764"/>
                <a:gd name="connsiteX31" fmla="*/ 249302 w 334847"/>
                <a:gd name="connsiteY31" fmla="*/ 33637 h 328764"/>
                <a:gd name="connsiteX32" fmla="*/ 230624 w 334847"/>
                <a:gd name="connsiteY32" fmla="*/ 34504 h 328764"/>
                <a:gd name="connsiteX33" fmla="*/ 229891 w 334847"/>
                <a:gd name="connsiteY33" fmla="*/ 129058 h 328764"/>
                <a:gd name="connsiteX34" fmla="*/ 205165 w 334847"/>
                <a:gd name="connsiteY34" fmla="*/ 129998 h 328764"/>
                <a:gd name="connsiteX35" fmla="*/ 205174 w 334847"/>
                <a:gd name="connsiteY35" fmla="*/ 209264 h 328764"/>
                <a:gd name="connsiteX36" fmla="*/ 205147 w 334847"/>
                <a:gd name="connsiteY36" fmla="*/ 312351 h 328764"/>
                <a:gd name="connsiteX37" fmla="*/ 182756 w 334847"/>
                <a:gd name="connsiteY37" fmla="*/ 326897 h 328764"/>
                <a:gd name="connsiteX38" fmla="*/ 169285 w 334847"/>
                <a:gd name="connsiteY38" fmla="*/ 328981 h 328764"/>
                <a:gd name="connsiteX39" fmla="*/ 153514 w 334847"/>
                <a:gd name="connsiteY39" fmla="*/ 323596 h 328764"/>
                <a:gd name="connsiteX40" fmla="*/ 142260 w 334847"/>
                <a:gd name="connsiteY40" fmla="*/ 321521 h 328764"/>
                <a:gd name="connsiteX41" fmla="*/ 138029 w 334847"/>
                <a:gd name="connsiteY41" fmla="*/ 309373 h 328764"/>
                <a:gd name="connsiteX42" fmla="*/ 128126 w 334847"/>
                <a:gd name="connsiteY42" fmla="*/ 301617 h 328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34847" h="328764">
                  <a:moveTo>
                    <a:pt x="116112" y="315634"/>
                  </a:moveTo>
                  <a:lnTo>
                    <a:pt x="97470" y="294246"/>
                  </a:lnTo>
                  <a:lnTo>
                    <a:pt x="87657" y="273716"/>
                  </a:lnTo>
                  <a:lnTo>
                    <a:pt x="82120" y="246549"/>
                  </a:lnTo>
                  <a:lnTo>
                    <a:pt x="75938" y="226483"/>
                  </a:lnTo>
                  <a:lnTo>
                    <a:pt x="67530" y="184234"/>
                  </a:lnTo>
                  <a:lnTo>
                    <a:pt x="66966" y="151753"/>
                  </a:lnTo>
                  <a:lnTo>
                    <a:pt x="63755" y="137047"/>
                  </a:lnTo>
                  <a:lnTo>
                    <a:pt x="54004" y="125963"/>
                  </a:lnTo>
                  <a:lnTo>
                    <a:pt x="41051" y="103850"/>
                  </a:lnTo>
                  <a:lnTo>
                    <a:pt x="27874" y="71968"/>
                  </a:lnTo>
                  <a:lnTo>
                    <a:pt x="22391" y="55374"/>
                  </a:lnTo>
                  <a:lnTo>
                    <a:pt x="1986" y="29701"/>
                  </a:lnTo>
                  <a:lnTo>
                    <a:pt x="465" y="9627"/>
                  </a:lnTo>
                  <a:lnTo>
                    <a:pt x="12533" y="4662"/>
                  </a:lnTo>
                  <a:lnTo>
                    <a:pt x="27552" y="216"/>
                  </a:lnTo>
                  <a:lnTo>
                    <a:pt x="43815" y="995"/>
                  </a:lnTo>
                  <a:lnTo>
                    <a:pt x="58763" y="12803"/>
                  </a:lnTo>
                  <a:lnTo>
                    <a:pt x="62556" y="10960"/>
                  </a:lnTo>
                  <a:lnTo>
                    <a:pt x="164222" y="9832"/>
                  </a:lnTo>
                  <a:lnTo>
                    <a:pt x="181603" y="22365"/>
                  </a:lnTo>
                  <a:lnTo>
                    <a:pt x="242325" y="26069"/>
                  </a:lnTo>
                  <a:lnTo>
                    <a:pt x="288430" y="15406"/>
                  </a:lnTo>
                  <a:lnTo>
                    <a:pt x="308969" y="9466"/>
                  </a:lnTo>
                  <a:lnTo>
                    <a:pt x="325223" y="10969"/>
                  </a:lnTo>
                  <a:lnTo>
                    <a:pt x="335125" y="16864"/>
                  </a:lnTo>
                  <a:lnTo>
                    <a:pt x="335313" y="19029"/>
                  </a:lnTo>
                  <a:lnTo>
                    <a:pt x="321170" y="24933"/>
                  </a:lnTo>
                  <a:lnTo>
                    <a:pt x="313567" y="24986"/>
                  </a:lnTo>
                  <a:lnTo>
                    <a:pt x="297554" y="35265"/>
                  </a:lnTo>
                  <a:lnTo>
                    <a:pt x="287965" y="24458"/>
                  </a:lnTo>
                  <a:lnTo>
                    <a:pt x="249302" y="33637"/>
                  </a:lnTo>
                  <a:lnTo>
                    <a:pt x="230624" y="34504"/>
                  </a:lnTo>
                  <a:lnTo>
                    <a:pt x="229891" y="129058"/>
                  </a:lnTo>
                  <a:lnTo>
                    <a:pt x="205165" y="129998"/>
                  </a:lnTo>
                  <a:lnTo>
                    <a:pt x="205174" y="209264"/>
                  </a:lnTo>
                  <a:lnTo>
                    <a:pt x="205147" y="312351"/>
                  </a:lnTo>
                  <a:lnTo>
                    <a:pt x="182756" y="326897"/>
                  </a:lnTo>
                  <a:lnTo>
                    <a:pt x="169285" y="328981"/>
                  </a:lnTo>
                  <a:lnTo>
                    <a:pt x="153514" y="323596"/>
                  </a:lnTo>
                  <a:lnTo>
                    <a:pt x="142260" y="321521"/>
                  </a:lnTo>
                  <a:lnTo>
                    <a:pt x="138029" y="309373"/>
                  </a:lnTo>
                  <a:lnTo>
                    <a:pt x="128126" y="301617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/>
            <p:cNvSpPr/>
            <p:nvPr/>
          </p:nvSpPr>
          <p:spPr>
            <a:xfrm>
              <a:off x="6594647" y="4919570"/>
              <a:ext cx="265770" cy="433722"/>
            </a:xfrm>
            <a:custGeom>
              <a:avLst/>
              <a:gdLst>
                <a:gd name="connsiteX0" fmla="*/ 110353 w 265770"/>
                <a:gd name="connsiteY0" fmla="*/ 30733 h 433722"/>
                <a:gd name="connsiteX1" fmla="*/ 129228 w 265770"/>
                <a:gd name="connsiteY1" fmla="*/ 28684 h 433722"/>
                <a:gd name="connsiteX2" fmla="*/ 159366 w 265770"/>
                <a:gd name="connsiteY2" fmla="*/ 35850 h 433722"/>
                <a:gd name="connsiteX3" fmla="*/ 165914 w 265770"/>
                <a:gd name="connsiteY3" fmla="*/ 32629 h 433722"/>
                <a:gd name="connsiteX4" fmla="*/ 183376 w 265770"/>
                <a:gd name="connsiteY4" fmla="*/ 31976 h 433722"/>
                <a:gd name="connsiteX5" fmla="*/ 192312 w 265770"/>
                <a:gd name="connsiteY5" fmla="*/ 24355 h 433722"/>
                <a:gd name="connsiteX6" fmla="*/ 207358 w 265770"/>
                <a:gd name="connsiteY6" fmla="*/ 24766 h 433722"/>
                <a:gd name="connsiteX7" fmla="*/ 234785 w 265770"/>
                <a:gd name="connsiteY7" fmla="*/ 14908 h 433722"/>
                <a:gd name="connsiteX8" fmla="*/ 254742 w 265770"/>
                <a:gd name="connsiteY8" fmla="*/ 211 h 433722"/>
                <a:gd name="connsiteX9" fmla="*/ 258804 w 265770"/>
                <a:gd name="connsiteY9" fmla="*/ 11572 h 433722"/>
                <a:gd name="connsiteX10" fmla="*/ 257766 w 265770"/>
                <a:gd name="connsiteY10" fmla="*/ 36887 h 433722"/>
                <a:gd name="connsiteX11" fmla="*/ 260861 w 265770"/>
                <a:gd name="connsiteY11" fmla="*/ 59260 h 433722"/>
                <a:gd name="connsiteX12" fmla="*/ 261836 w 265770"/>
                <a:gd name="connsiteY12" fmla="*/ 99300 h 433722"/>
                <a:gd name="connsiteX13" fmla="*/ 266255 w 265770"/>
                <a:gd name="connsiteY13" fmla="*/ 111913 h 433722"/>
                <a:gd name="connsiteX14" fmla="*/ 258768 w 265770"/>
                <a:gd name="connsiteY14" fmla="*/ 130359 h 433722"/>
                <a:gd name="connsiteX15" fmla="*/ 249035 w 265770"/>
                <a:gd name="connsiteY15" fmla="*/ 148339 h 433722"/>
                <a:gd name="connsiteX16" fmla="*/ 233068 w 265770"/>
                <a:gd name="connsiteY16" fmla="*/ 164459 h 433722"/>
                <a:gd name="connsiteX17" fmla="*/ 210140 w 265770"/>
                <a:gd name="connsiteY17" fmla="*/ 174362 h 433722"/>
                <a:gd name="connsiteX18" fmla="*/ 181864 w 265770"/>
                <a:gd name="connsiteY18" fmla="*/ 187038 h 433722"/>
                <a:gd name="connsiteX19" fmla="*/ 153524 w 265770"/>
                <a:gd name="connsiteY19" fmla="*/ 215189 h 433722"/>
                <a:gd name="connsiteX20" fmla="*/ 143872 w 265770"/>
                <a:gd name="connsiteY20" fmla="*/ 220002 h 433722"/>
                <a:gd name="connsiteX21" fmla="*/ 126365 w 265770"/>
                <a:gd name="connsiteY21" fmla="*/ 238751 h 433722"/>
                <a:gd name="connsiteX22" fmla="*/ 116034 w 265770"/>
                <a:gd name="connsiteY22" fmla="*/ 244879 h 433722"/>
                <a:gd name="connsiteX23" fmla="*/ 113914 w 265770"/>
                <a:gd name="connsiteY23" fmla="*/ 263816 h 433722"/>
                <a:gd name="connsiteX24" fmla="*/ 125811 w 265770"/>
                <a:gd name="connsiteY24" fmla="*/ 284025 h 433722"/>
                <a:gd name="connsiteX25" fmla="*/ 130758 w 265770"/>
                <a:gd name="connsiteY25" fmla="*/ 299751 h 433722"/>
                <a:gd name="connsiteX26" fmla="*/ 131071 w 265770"/>
                <a:gd name="connsiteY26" fmla="*/ 307793 h 433722"/>
                <a:gd name="connsiteX27" fmla="*/ 135499 w 265770"/>
                <a:gd name="connsiteY27" fmla="*/ 306451 h 433722"/>
                <a:gd name="connsiteX28" fmla="*/ 134784 w 265770"/>
                <a:gd name="connsiteY28" fmla="*/ 332939 h 433722"/>
                <a:gd name="connsiteX29" fmla="*/ 130713 w 265770"/>
                <a:gd name="connsiteY29" fmla="*/ 345552 h 433722"/>
                <a:gd name="connsiteX30" fmla="*/ 136626 w 265770"/>
                <a:gd name="connsiteY30" fmla="*/ 350212 h 433722"/>
                <a:gd name="connsiteX31" fmla="*/ 132896 w 265770"/>
                <a:gd name="connsiteY31" fmla="*/ 361564 h 433722"/>
                <a:gd name="connsiteX32" fmla="*/ 122412 w 265770"/>
                <a:gd name="connsiteY32" fmla="*/ 371306 h 433722"/>
                <a:gd name="connsiteX33" fmla="*/ 101721 w 265770"/>
                <a:gd name="connsiteY33" fmla="*/ 380573 h 433722"/>
                <a:gd name="connsiteX34" fmla="*/ 71557 w 265770"/>
                <a:gd name="connsiteY34" fmla="*/ 395486 h 433722"/>
                <a:gd name="connsiteX35" fmla="*/ 60553 w 265770"/>
                <a:gd name="connsiteY35" fmla="*/ 405701 h 433722"/>
                <a:gd name="connsiteX36" fmla="*/ 62710 w 265770"/>
                <a:gd name="connsiteY36" fmla="*/ 417393 h 433722"/>
                <a:gd name="connsiteX37" fmla="*/ 69115 w 265770"/>
                <a:gd name="connsiteY37" fmla="*/ 419263 h 433722"/>
                <a:gd name="connsiteX38" fmla="*/ 66968 w 265770"/>
                <a:gd name="connsiteY38" fmla="*/ 433933 h 433722"/>
                <a:gd name="connsiteX39" fmla="*/ 47941 w 265770"/>
                <a:gd name="connsiteY39" fmla="*/ 433701 h 433722"/>
                <a:gd name="connsiteX40" fmla="*/ 45794 w 265770"/>
                <a:gd name="connsiteY40" fmla="*/ 421374 h 433722"/>
                <a:gd name="connsiteX41" fmla="*/ 42072 w 265770"/>
                <a:gd name="connsiteY41" fmla="*/ 408921 h 433722"/>
                <a:gd name="connsiteX42" fmla="*/ 39934 w 265770"/>
                <a:gd name="connsiteY42" fmla="*/ 398983 h 433722"/>
                <a:gd name="connsiteX43" fmla="*/ 44407 w 265770"/>
                <a:gd name="connsiteY43" fmla="*/ 368318 h 433722"/>
                <a:gd name="connsiteX44" fmla="*/ 37877 w 265770"/>
                <a:gd name="connsiteY44" fmla="*/ 348915 h 433722"/>
                <a:gd name="connsiteX45" fmla="*/ 25863 w 265770"/>
                <a:gd name="connsiteY45" fmla="*/ 310798 h 433722"/>
                <a:gd name="connsiteX46" fmla="*/ 52288 w 265770"/>
                <a:gd name="connsiteY46" fmla="*/ 280339 h 433722"/>
                <a:gd name="connsiteX47" fmla="*/ 58899 w 265770"/>
                <a:gd name="connsiteY47" fmla="*/ 261106 h 433722"/>
                <a:gd name="connsiteX48" fmla="*/ 62692 w 265770"/>
                <a:gd name="connsiteY48" fmla="*/ 258682 h 433722"/>
                <a:gd name="connsiteX49" fmla="*/ 65527 w 265770"/>
                <a:gd name="connsiteY49" fmla="*/ 243063 h 433722"/>
                <a:gd name="connsiteX50" fmla="*/ 61493 w 265770"/>
                <a:gd name="connsiteY50" fmla="*/ 235227 h 433722"/>
                <a:gd name="connsiteX51" fmla="*/ 62575 w 265770"/>
                <a:gd name="connsiteY51" fmla="*/ 215520 h 433722"/>
                <a:gd name="connsiteX52" fmla="*/ 67460 w 265770"/>
                <a:gd name="connsiteY52" fmla="*/ 197316 h 433722"/>
                <a:gd name="connsiteX53" fmla="*/ 67406 w 265770"/>
                <a:gd name="connsiteY53" fmla="*/ 164262 h 433722"/>
                <a:gd name="connsiteX54" fmla="*/ 54372 w 265770"/>
                <a:gd name="connsiteY54" fmla="*/ 155907 h 433722"/>
                <a:gd name="connsiteX55" fmla="*/ 42439 w 265770"/>
                <a:gd name="connsiteY55" fmla="*/ 154020 h 433722"/>
                <a:gd name="connsiteX56" fmla="*/ 37027 w 265770"/>
                <a:gd name="connsiteY56" fmla="*/ 147597 h 433722"/>
                <a:gd name="connsiteX57" fmla="*/ 25407 w 265770"/>
                <a:gd name="connsiteY57" fmla="*/ 142122 h 433722"/>
                <a:gd name="connsiteX58" fmla="*/ 4483 w 265770"/>
                <a:gd name="connsiteY58" fmla="*/ 142641 h 433722"/>
                <a:gd name="connsiteX59" fmla="*/ 2864 w 265770"/>
                <a:gd name="connsiteY59" fmla="*/ 132980 h 433722"/>
                <a:gd name="connsiteX60" fmla="*/ 485 w 265770"/>
                <a:gd name="connsiteY60" fmla="*/ 114597 h 433722"/>
                <a:gd name="connsiteX61" fmla="*/ 76593 w 265770"/>
                <a:gd name="connsiteY61" fmla="*/ 93396 h 433722"/>
                <a:gd name="connsiteX62" fmla="*/ 91031 w 265770"/>
                <a:gd name="connsiteY62" fmla="*/ 105732 h 433722"/>
                <a:gd name="connsiteX63" fmla="*/ 97937 w 265770"/>
                <a:gd name="connsiteY63" fmla="*/ 103370 h 433722"/>
                <a:gd name="connsiteX64" fmla="*/ 107839 w 265770"/>
                <a:gd name="connsiteY64" fmla="*/ 109883 h 433722"/>
                <a:gd name="connsiteX65" fmla="*/ 109289 w 265770"/>
                <a:gd name="connsiteY65" fmla="*/ 120215 h 433722"/>
                <a:gd name="connsiteX66" fmla="*/ 104011 w 265770"/>
                <a:gd name="connsiteY66" fmla="*/ 132229 h 433722"/>
                <a:gd name="connsiteX67" fmla="*/ 105872 w 265770"/>
                <a:gd name="connsiteY67" fmla="*/ 150486 h 433722"/>
                <a:gd name="connsiteX68" fmla="*/ 122233 w 265770"/>
                <a:gd name="connsiteY68" fmla="*/ 166552 h 433722"/>
                <a:gd name="connsiteX69" fmla="*/ 129890 w 265770"/>
                <a:gd name="connsiteY69" fmla="*/ 148509 h 433722"/>
                <a:gd name="connsiteX70" fmla="*/ 140750 w 265770"/>
                <a:gd name="connsiteY70" fmla="*/ 143052 h 433722"/>
                <a:gd name="connsiteX71" fmla="*/ 138612 w 265770"/>
                <a:gd name="connsiteY71" fmla="*/ 109829 h 433722"/>
                <a:gd name="connsiteX72" fmla="*/ 128110 w 265770"/>
                <a:gd name="connsiteY72" fmla="*/ 91240 h 433722"/>
                <a:gd name="connsiteX73" fmla="*/ 119057 w 265770"/>
                <a:gd name="connsiteY73" fmla="*/ 82965 h 433722"/>
                <a:gd name="connsiteX74" fmla="*/ 110353 w 265770"/>
                <a:gd name="connsiteY74" fmla="*/ 83332 h 433722"/>
                <a:gd name="connsiteX75" fmla="*/ 103331 w 265770"/>
                <a:gd name="connsiteY75" fmla="*/ 50091 h 4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65770" h="433722">
                  <a:moveTo>
                    <a:pt x="110353" y="30733"/>
                  </a:moveTo>
                  <a:lnTo>
                    <a:pt x="129228" y="28684"/>
                  </a:lnTo>
                  <a:lnTo>
                    <a:pt x="159366" y="35850"/>
                  </a:lnTo>
                  <a:lnTo>
                    <a:pt x="165914" y="32629"/>
                  </a:lnTo>
                  <a:lnTo>
                    <a:pt x="183376" y="31976"/>
                  </a:lnTo>
                  <a:lnTo>
                    <a:pt x="192312" y="24355"/>
                  </a:lnTo>
                  <a:lnTo>
                    <a:pt x="207358" y="24766"/>
                  </a:lnTo>
                  <a:lnTo>
                    <a:pt x="234785" y="14908"/>
                  </a:lnTo>
                  <a:lnTo>
                    <a:pt x="254742" y="211"/>
                  </a:lnTo>
                  <a:lnTo>
                    <a:pt x="258804" y="11572"/>
                  </a:lnTo>
                  <a:lnTo>
                    <a:pt x="257766" y="36887"/>
                  </a:lnTo>
                  <a:lnTo>
                    <a:pt x="260861" y="59260"/>
                  </a:lnTo>
                  <a:lnTo>
                    <a:pt x="261836" y="99300"/>
                  </a:lnTo>
                  <a:lnTo>
                    <a:pt x="266255" y="111913"/>
                  </a:lnTo>
                  <a:lnTo>
                    <a:pt x="258768" y="130359"/>
                  </a:lnTo>
                  <a:lnTo>
                    <a:pt x="249035" y="148339"/>
                  </a:lnTo>
                  <a:lnTo>
                    <a:pt x="233068" y="164459"/>
                  </a:lnTo>
                  <a:lnTo>
                    <a:pt x="210140" y="174362"/>
                  </a:lnTo>
                  <a:lnTo>
                    <a:pt x="181864" y="187038"/>
                  </a:lnTo>
                  <a:lnTo>
                    <a:pt x="153524" y="215189"/>
                  </a:lnTo>
                  <a:lnTo>
                    <a:pt x="143872" y="220002"/>
                  </a:lnTo>
                  <a:lnTo>
                    <a:pt x="126365" y="238751"/>
                  </a:lnTo>
                  <a:lnTo>
                    <a:pt x="116034" y="244879"/>
                  </a:lnTo>
                  <a:lnTo>
                    <a:pt x="113914" y="263816"/>
                  </a:lnTo>
                  <a:lnTo>
                    <a:pt x="125811" y="284025"/>
                  </a:lnTo>
                  <a:lnTo>
                    <a:pt x="130758" y="299751"/>
                  </a:lnTo>
                  <a:lnTo>
                    <a:pt x="131071" y="307793"/>
                  </a:lnTo>
                  <a:lnTo>
                    <a:pt x="135499" y="306451"/>
                  </a:lnTo>
                  <a:lnTo>
                    <a:pt x="134784" y="332939"/>
                  </a:lnTo>
                  <a:lnTo>
                    <a:pt x="130713" y="345552"/>
                  </a:lnTo>
                  <a:lnTo>
                    <a:pt x="136626" y="350212"/>
                  </a:lnTo>
                  <a:lnTo>
                    <a:pt x="132896" y="361564"/>
                  </a:lnTo>
                  <a:lnTo>
                    <a:pt x="122412" y="371306"/>
                  </a:lnTo>
                  <a:lnTo>
                    <a:pt x="101721" y="380573"/>
                  </a:lnTo>
                  <a:lnTo>
                    <a:pt x="71557" y="395486"/>
                  </a:lnTo>
                  <a:lnTo>
                    <a:pt x="60553" y="405701"/>
                  </a:lnTo>
                  <a:lnTo>
                    <a:pt x="62710" y="417393"/>
                  </a:lnTo>
                  <a:lnTo>
                    <a:pt x="69115" y="419263"/>
                  </a:lnTo>
                  <a:lnTo>
                    <a:pt x="66968" y="433933"/>
                  </a:lnTo>
                  <a:lnTo>
                    <a:pt x="47941" y="433701"/>
                  </a:lnTo>
                  <a:lnTo>
                    <a:pt x="45794" y="421374"/>
                  </a:lnTo>
                  <a:lnTo>
                    <a:pt x="42072" y="408921"/>
                  </a:lnTo>
                  <a:lnTo>
                    <a:pt x="39934" y="398983"/>
                  </a:lnTo>
                  <a:lnTo>
                    <a:pt x="44407" y="368318"/>
                  </a:lnTo>
                  <a:lnTo>
                    <a:pt x="37877" y="348915"/>
                  </a:lnTo>
                  <a:lnTo>
                    <a:pt x="25863" y="310798"/>
                  </a:lnTo>
                  <a:lnTo>
                    <a:pt x="52288" y="280339"/>
                  </a:lnTo>
                  <a:lnTo>
                    <a:pt x="58899" y="261106"/>
                  </a:lnTo>
                  <a:lnTo>
                    <a:pt x="62692" y="258682"/>
                  </a:lnTo>
                  <a:lnTo>
                    <a:pt x="65527" y="243063"/>
                  </a:lnTo>
                  <a:lnTo>
                    <a:pt x="61493" y="235227"/>
                  </a:lnTo>
                  <a:lnTo>
                    <a:pt x="62575" y="215520"/>
                  </a:lnTo>
                  <a:lnTo>
                    <a:pt x="67460" y="197316"/>
                  </a:lnTo>
                  <a:lnTo>
                    <a:pt x="67406" y="164262"/>
                  </a:lnTo>
                  <a:lnTo>
                    <a:pt x="54372" y="155907"/>
                  </a:lnTo>
                  <a:lnTo>
                    <a:pt x="42439" y="154020"/>
                  </a:lnTo>
                  <a:lnTo>
                    <a:pt x="37027" y="147597"/>
                  </a:lnTo>
                  <a:lnTo>
                    <a:pt x="25407" y="142122"/>
                  </a:lnTo>
                  <a:lnTo>
                    <a:pt x="4483" y="142641"/>
                  </a:lnTo>
                  <a:lnTo>
                    <a:pt x="2864" y="132980"/>
                  </a:lnTo>
                  <a:lnTo>
                    <a:pt x="485" y="114597"/>
                  </a:lnTo>
                  <a:lnTo>
                    <a:pt x="76593" y="93396"/>
                  </a:lnTo>
                  <a:lnTo>
                    <a:pt x="91031" y="105732"/>
                  </a:lnTo>
                  <a:lnTo>
                    <a:pt x="97937" y="103370"/>
                  </a:lnTo>
                  <a:lnTo>
                    <a:pt x="107839" y="109883"/>
                  </a:lnTo>
                  <a:lnTo>
                    <a:pt x="109289" y="120215"/>
                  </a:lnTo>
                  <a:lnTo>
                    <a:pt x="104011" y="132229"/>
                  </a:lnTo>
                  <a:lnTo>
                    <a:pt x="105872" y="150486"/>
                  </a:lnTo>
                  <a:lnTo>
                    <a:pt x="122233" y="166552"/>
                  </a:lnTo>
                  <a:lnTo>
                    <a:pt x="129890" y="148509"/>
                  </a:lnTo>
                  <a:lnTo>
                    <a:pt x="140750" y="143052"/>
                  </a:lnTo>
                  <a:lnTo>
                    <a:pt x="138612" y="109829"/>
                  </a:lnTo>
                  <a:lnTo>
                    <a:pt x="128110" y="91240"/>
                  </a:lnTo>
                  <a:lnTo>
                    <a:pt x="119057" y="82965"/>
                  </a:lnTo>
                  <a:lnTo>
                    <a:pt x="110353" y="83332"/>
                  </a:lnTo>
                  <a:lnTo>
                    <a:pt x="103331" y="5009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/>
            <p:cNvSpPr/>
            <p:nvPr/>
          </p:nvSpPr>
          <p:spPr>
            <a:xfrm>
              <a:off x="5845103" y="4059040"/>
              <a:ext cx="391464" cy="309514"/>
            </a:xfrm>
            <a:custGeom>
              <a:avLst/>
              <a:gdLst>
                <a:gd name="connsiteX0" fmla="*/ 47077 w 391464"/>
                <a:gd name="connsiteY0" fmla="*/ 302554 h 309514"/>
                <a:gd name="connsiteX1" fmla="*/ 47641 w 391464"/>
                <a:gd name="connsiteY1" fmla="*/ 285092 h 309514"/>
                <a:gd name="connsiteX2" fmla="*/ 18729 w 391464"/>
                <a:gd name="connsiteY2" fmla="*/ 279295 h 309514"/>
                <a:gd name="connsiteX3" fmla="*/ 17942 w 391464"/>
                <a:gd name="connsiteY3" fmla="*/ 266906 h 309514"/>
                <a:gd name="connsiteX4" fmla="*/ 3817 w 391464"/>
                <a:gd name="connsiteY4" fmla="*/ 250160 h 309514"/>
                <a:gd name="connsiteX5" fmla="*/ 453 w 391464"/>
                <a:gd name="connsiteY5" fmla="*/ 238450 h 309514"/>
                <a:gd name="connsiteX6" fmla="*/ 2439 w 391464"/>
                <a:gd name="connsiteY6" fmla="*/ 225962 h 309514"/>
                <a:gd name="connsiteX7" fmla="*/ 18514 w 391464"/>
                <a:gd name="connsiteY7" fmla="*/ 224942 h 309514"/>
                <a:gd name="connsiteX8" fmla="*/ 27791 w 391464"/>
                <a:gd name="connsiteY8" fmla="*/ 215773 h 309514"/>
                <a:gd name="connsiteX9" fmla="*/ 62007 w 391464"/>
                <a:gd name="connsiteY9" fmla="*/ 213555 h 309514"/>
                <a:gd name="connsiteX10" fmla="*/ 84291 w 391464"/>
                <a:gd name="connsiteY10" fmla="*/ 209449 h 309514"/>
                <a:gd name="connsiteX11" fmla="*/ 86428 w 391464"/>
                <a:gd name="connsiteY11" fmla="*/ 193481 h 309514"/>
                <a:gd name="connsiteX12" fmla="*/ 100142 w 391464"/>
                <a:gd name="connsiteY12" fmla="*/ 176118 h 309514"/>
                <a:gd name="connsiteX13" fmla="*/ 100070 w 391464"/>
                <a:gd name="connsiteY13" fmla="*/ 115736 h 309514"/>
                <a:gd name="connsiteX14" fmla="*/ 135441 w 391464"/>
                <a:gd name="connsiteY14" fmla="*/ 103955 h 309514"/>
                <a:gd name="connsiteX15" fmla="*/ 208061 w 391464"/>
                <a:gd name="connsiteY15" fmla="*/ 51623 h 309514"/>
                <a:gd name="connsiteX16" fmla="*/ 294009 w 391464"/>
                <a:gd name="connsiteY16" fmla="*/ 169 h 309514"/>
                <a:gd name="connsiteX17" fmla="*/ 333682 w 391464"/>
                <a:gd name="connsiteY17" fmla="*/ 11870 h 309514"/>
                <a:gd name="connsiteX18" fmla="*/ 347789 w 391464"/>
                <a:gd name="connsiteY18" fmla="*/ 26728 h 309514"/>
                <a:gd name="connsiteX19" fmla="*/ 365537 w 391464"/>
                <a:gd name="connsiteY19" fmla="*/ 16682 h 309514"/>
                <a:gd name="connsiteX20" fmla="*/ 371701 w 391464"/>
                <a:gd name="connsiteY20" fmla="*/ 58520 h 309514"/>
                <a:gd name="connsiteX21" fmla="*/ 381085 w 391464"/>
                <a:gd name="connsiteY21" fmla="*/ 65471 h 309514"/>
                <a:gd name="connsiteX22" fmla="*/ 381487 w 391464"/>
                <a:gd name="connsiteY22" fmla="*/ 73960 h 309514"/>
                <a:gd name="connsiteX23" fmla="*/ 391917 w 391464"/>
                <a:gd name="connsiteY23" fmla="*/ 83085 h 309514"/>
                <a:gd name="connsiteX24" fmla="*/ 386460 w 391464"/>
                <a:gd name="connsiteY24" fmla="*/ 94517 h 309514"/>
                <a:gd name="connsiteX25" fmla="*/ 376800 w 391464"/>
                <a:gd name="connsiteY25" fmla="*/ 148011 h 309514"/>
                <a:gd name="connsiteX26" fmla="*/ 375476 w 391464"/>
                <a:gd name="connsiteY26" fmla="*/ 181968 h 309514"/>
                <a:gd name="connsiteX27" fmla="*/ 343487 w 391464"/>
                <a:gd name="connsiteY27" fmla="*/ 206443 h 309514"/>
                <a:gd name="connsiteX28" fmla="*/ 332654 w 391464"/>
                <a:gd name="connsiteY28" fmla="*/ 240436 h 309514"/>
                <a:gd name="connsiteX29" fmla="*/ 343102 w 391464"/>
                <a:gd name="connsiteY29" fmla="*/ 249954 h 309514"/>
                <a:gd name="connsiteX30" fmla="*/ 343039 w 391464"/>
                <a:gd name="connsiteY30" fmla="*/ 266458 h 309514"/>
                <a:gd name="connsiteX31" fmla="*/ 359123 w 391464"/>
                <a:gd name="connsiteY31" fmla="*/ 267049 h 309514"/>
                <a:gd name="connsiteX32" fmla="*/ 356618 w 391464"/>
                <a:gd name="connsiteY32" fmla="*/ 279098 h 309514"/>
                <a:gd name="connsiteX33" fmla="*/ 349533 w 391464"/>
                <a:gd name="connsiteY33" fmla="*/ 280565 h 309514"/>
                <a:gd name="connsiteX34" fmla="*/ 348729 w 391464"/>
                <a:gd name="connsiteY34" fmla="*/ 288697 h 309514"/>
                <a:gd name="connsiteX35" fmla="*/ 344068 w 391464"/>
                <a:gd name="connsiteY35" fmla="*/ 289261 h 309514"/>
                <a:gd name="connsiteX36" fmla="*/ 327098 w 391464"/>
                <a:gd name="connsiteY36" fmla="*/ 261261 h 309514"/>
                <a:gd name="connsiteX37" fmla="*/ 321203 w 391464"/>
                <a:gd name="connsiteY37" fmla="*/ 260232 h 309514"/>
                <a:gd name="connsiteX38" fmla="*/ 301595 w 391464"/>
                <a:gd name="connsiteY38" fmla="*/ 274554 h 309514"/>
                <a:gd name="connsiteX39" fmla="*/ 282174 w 391464"/>
                <a:gd name="connsiteY39" fmla="*/ 267085 h 309514"/>
                <a:gd name="connsiteX40" fmla="*/ 268675 w 391464"/>
                <a:gd name="connsiteY40" fmla="*/ 265591 h 309514"/>
                <a:gd name="connsiteX41" fmla="*/ 261438 w 391464"/>
                <a:gd name="connsiteY41" fmla="*/ 269187 h 309514"/>
                <a:gd name="connsiteX42" fmla="*/ 246732 w 391464"/>
                <a:gd name="connsiteY42" fmla="*/ 268408 h 309514"/>
                <a:gd name="connsiteX43" fmla="*/ 231936 w 391464"/>
                <a:gd name="connsiteY43" fmla="*/ 279313 h 309514"/>
                <a:gd name="connsiteX44" fmla="*/ 219144 w 391464"/>
                <a:gd name="connsiteY44" fmla="*/ 279930 h 309514"/>
                <a:gd name="connsiteX45" fmla="*/ 188792 w 391464"/>
                <a:gd name="connsiteY45" fmla="*/ 266709 h 309514"/>
                <a:gd name="connsiteX46" fmla="*/ 176903 w 391464"/>
                <a:gd name="connsiteY46" fmla="*/ 272997 h 309514"/>
                <a:gd name="connsiteX47" fmla="*/ 164102 w 391464"/>
                <a:gd name="connsiteY47" fmla="*/ 272559 h 309514"/>
                <a:gd name="connsiteX48" fmla="*/ 154701 w 391464"/>
                <a:gd name="connsiteY48" fmla="*/ 262889 h 309514"/>
                <a:gd name="connsiteX49" fmla="*/ 129564 w 391464"/>
                <a:gd name="connsiteY49" fmla="*/ 253317 h 309514"/>
                <a:gd name="connsiteX50" fmla="*/ 102602 w 391464"/>
                <a:gd name="connsiteY50" fmla="*/ 256359 h 309514"/>
                <a:gd name="connsiteX51" fmla="*/ 96072 w 391464"/>
                <a:gd name="connsiteY51" fmla="*/ 261905 h 309514"/>
                <a:gd name="connsiteX52" fmla="*/ 92538 w 391464"/>
                <a:gd name="connsiteY52" fmla="*/ 276629 h 309514"/>
                <a:gd name="connsiteX53" fmla="*/ 85355 w 391464"/>
                <a:gd name="connsiteY53" fmla="*/ 286935 h 309514"/>
                <a:gd name="connsiteX54" fmla="*/ 83611 w 391464"/>
                <a:gd name="connsiteY54" fmla="*/ 309683 h 309514"/>
                <a:gd name="connsiteX55" fmla="*/ 64485 w 391464"/>
                <a:gd name="connsiteY55" fmla="*/ 295021 h 309514"/>
                <a:gd name="connsiteX56" fmla="*/ 55495 w 391464"/>
                <a:gd name="connsiteY56" fmla="*/ 295093 h 309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91464" h="309514">
                  <a:moveTo>
                    <a:pt x="47077" y="302554"/>
                  </a:moveTo>
                  <a:lnTo>
                    <a:pt x="47641" y="285092"/>
                  </a:lnTo>
                  <a:lnTo>
                    <a:pt x="18729" y="279295"/>
                  </a:lnTo>
                  <a:lnTo>
                    <a:pt x="17942" y="266906"/>
                  </a:lnTo>
                  <a:lnTo>
                    <a:pt x="3817" y="250160"/>
                  </a:lnTo>
                  <a:lnTo>
                    <a:pt x="453" y="238450"/>
                  </a:lnTo>
                  <a:lnTo>
                    <a:pt x="2439" y="225962"/>
                  </a:lnTo>
                  <a:lnTo>
                    <a:pt x="18514" y="224942"/>
                  </a:lnTo>
                  <a:lnTo>
                    <a:pt x="27791" y="215773"/>
                  </a:lnTo>
                  <a:lnTo>
                    <a:pt x="62007" y="213555"/>
                  </a:lnTo>
                  <a:lnTo>
                    <a:pt x="84291" y="209449"/>
                  </a:lnTo>
                  <a:lnTo>
                    <a:pt x="86428" y="193481"/>
                  </a:lnTo>
                  <a:lnTo>
                    <a:pt x="100142" y="176118"/>
                  </a:lnTo>
                  <a:lnTo>
                    <a:pt x="100070" y="115736"/>
                  </a:lnTo>
                  <a:lnTo>
                    <a:pt x="135441" y="103955"/>
                  </a:lnTo>
                  <a:lnTo>
                    <a:pt x="208061" y="51623"/>
                  </a:lnTo>
                  <a:lnTo>
                    <a:pt x="294009" y="169"/>
                  </a:lnTo>
                  <a:lnTo>
                    <a:pt x="333682" y="11870"/>
                  </a:lnTo>
                  <a:lnTo>
                    <a:pt x="347789" y="26728"/>
                  </a:lnTo>
                  <a:lnTo>
                    <a:pt x="365537" y="16682"/>
                  </a:lnTo>
                  <a:lnTo>
                    <a:pt x="371701" y="58520"/>
                  </a:lnTo>
                  <a:lnTo>
                    <a:pt x="381085" y="65471"/>
                  </a:lnTo>
                  <a:lnTo>
                    <a:pt x="381487" y="73960"/>
                  </a:lnTo>
                  <a:lnTo>
                    <a:pt x="391917" y="83085"/>
                  </a:lnTo>
                  <a:lnTo>
                    <a:pt x="386460" y="94517"/>
                  </a:lnTo>
                  <a:lnTo>
                    <a:pt x="376800" y="148011"/>
                  </a:lnTo>
                  <a:lnTo>
                    <a:pt x="375476" y="181968"/>
                  </a:lnTo>
                  <a:lnTo>
                    <a:pt x="343487" y="206443"/>
                  </a:lnTo>
                  <a:lnTo>
                    <a:pt x="332654" y="240436"/>
                  </a:lnTo>
                  <a:lnTo>
                    <a:pt x="343102" y="249954"/>
                  </a:lnTo>
                  <a:lnTo>
                    <a:pt x="343039" y="266458"/>
                  </a:lnTo>
                  <a:lnTo>
                    <a:pt x="359123" y="267049"/>
                  </a:lnTo>
                  <a:lnTo>
                    <a:pt x="356618" y="279098"/>
                  </a:lnTo>
                  <a:lnTo>
                    <a:pt x="349533" y="280565"/>
                  </a:lnTo>
                  <a:lnTo>
                    <a:pt x="348729" y="288697"/>
                  </a:lnTo>
                  <a:lnTo>
                    <a:pt x="344068" y="289261"/>
                  </a:lnTo>
                  <a:lnTo>
                    <a:pt x="327098" y="261261"/>
                  </a:lnTo>
                  <a:lnTo>
                    <a:pt x="321203" y="260232"/>
                  </a:lnTo>
                  <a:lnTo>
                    <a:pt x="301595" y="274554"/>
                  </a:lnTo>
                  <a:lnTo>
                    <a:pt x="282174" y="267085"/>
                  </a:lnTo>
                  <a:lnTo>
                    <a:pt x="268675" y="265591"/>
                  </a:lnTo>
                  <a:lnTo>
                    <a:pt x="261438" y="269187"/>
                  </a:lnTo>
                  <a:lnTo>
                    <a:pt x="246732" y="268408"/>
                  </a:lnTo>
                  <a:lnTo>
                    <a:pt x="231936" y="279313"/>
                  </a:lnTo>
                  <a:lnTo>
                    <a:pt x="219144" y="279930"/>
                  </a:lnTo>
                  <a:lnTo>
                    <a:pt x="188792" y="266709"/>
                  </a:lnTo>
                  <a:lnTo>
                    <a:pt x="176903" y="272997"/>
                  </a:lnTo>
                  <a:lnTo>
                    <a:pt x="164102" y="272559"/>
                  </a:lnTo>
                  <a:lnTo>
                    <a:pt x="154701" y="262889"/>
                  </a:lnTo>
                  <a:lnTo>
                    <a:pt x="129564" y="253317"/>
                  </a:lnTo>
                  <a:lnTo>
                    <a:pt x="102602" y="256359"/>
                  </a:lnTo>
                  <a:lnTo>
                    <a:pt x="96072" y="261905"/>
                  </a:lnTo>
                  <a:lnTo>
                    <a:pt x="92538" y="276629"/>
                  </a:lnTo>
                  <a:lnTo>
                    <a:pt x="85355" y="286935"/>
                  </a:lnTo>
                  <a:lnTo>
                    <a:pt x="83611" y="309683"/>
                  </a:lnTo>
                  <a:lnTo>
                    <a:pt x="64485" y="295021"/>
                  </a:lnTo>
                  <a:lnTo>
                    <a:pt x="55495" y="295093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/>
            <p:cNvSpPr/>
            <p:nvPr/>
          </p:nvSpPr>
          <p:spPr>
            <a:xfrm>
              <a:off x="6922580" y="4963349"/>
              <a:ext cx="181146" cy="358231"/>
            </a:xfrm>
            <a:custGeom>
              <a:avLst/>
              <a:gdLst>
                <a:gd name="connsiteX0" fmla="*/ 158252 w 181146"/>
                <a:gd name="connsiteY0" fmla="*/ 11160 h 358231"/>
                <a:gd name="connsiteX1" fmla="*/ 164907 w 181146"/>
                <a:gd name="connsiteY1" fmla="*/ 22029 h 358231"/>
                <a:gd name="connsiteX2" fmla="*/ 171115 w 181146"/>
                <a:gd name="connsiteY2" fmla="*/ 38936 h 358231"/>
                <a:gd name="connsiteX3" fmla="*/ 175159 w 181146"/>
                <a:gd name="connsiteY3" fmla="*/ 69861 h 358231"/>
                <a:gd name="connsiteX4" fmla="*/ 181644 w 181146"/>
                <a:gd name="connsiteY4" fmla="*/ 81928 h 358231"/>
                <a:gd name="connsiteX5" fmla="*/ 179157 w 181146"/>
                <a:gd name="connsiteY5" fmla="*/ 94327 h 358231"/>
                <a:gd name="connsiteX6" fmla="*/ 174720 w 181146"/>
                <a:gd name="connsiteY6" fmla="*/ 101957 h 358231"/>
                <a:gd name="connsiteX7" fmla="*/ 166204 w 181146"/>
                <a:gd name="connsiteY7" fmla="*/ 86786 h 358231"/>
                <a:gd name="connsiteX8" fmla="*/ 161481 w 181146"/>
                <a:gd name="connsiteY8" fmla="*/ 94443 h 358231"/>
                <a:gd name="connsiteX9" fmla="*/ 166276 w 181146"/>
                <a:gd name="connsiteY9" fmla="*/ 113658 h 358231"/>
                <a:gd name="connsiteX10" fmla="*/ 164039 w 181146"/>
                <a:gd name="connsiteY10" fmla="*/ 124688 h 358231"/>
                <a:gd name="connsiteX11" fmla="*/ 157124 w 181146"/>
                <a:gd name="connsiteY11" fmla="*/ 130708 h 358231"/>
                <a:gd name="connsiteX12" fmla="*/ 155541 w 181146"/>
                <a:gd name="connsiteY12" fmla="*/ 152857 h 358231"/>
                <a:gd name="connsiteX13" fmla="*/ 145665 w 181146"/>
                <a:gd name="connsiteY13" fmla="*/ 183514 h 358231"/>
                <a:gd name="connsiteX14" fmla="*/ 133293 w 181146"/>
                <a:gd name="connsiteY14" fmla="*/ 220029 h 358231"/>
                <a:gd name="connsiteX15" fmla="*/ 117800 w 181146"/>
                <a:gd name="connsiteY15" fmla="*/ 270794 h 358231"/>
                <a:gd name="connsiteX16" fmla="*/ 108193 w 181146"/>
                <a:gd name="connsiteY16" fmla="*/ 308491 h 358231"/>
                <a:gd name="connsiteX17" fmla="*/ 96858 w 181146"/>
                <a:gd name="connsiteY17" fmla="*/ 340248 h 358231"/>
                <a:gd name="connsiteX18" fmla="*/ 76454 w 181146"/>
                <a:gd name="connsiteY18" fmla="*/ 346769 h 358231"/>
                <a:gd name="connsiteX19" fmla="*/ 54564 w 181146"/>
                <a:gd name="connsiteY19" fmla="*/ 358443 h 358231"/>
                <a:gd name="connsiteX20" fmla="*/ 40118 w 181146"/>
                <a:gd name="connsiteY20" fmla="*/ 351394 h 358231"/>
                <a:gd name="connsiteX21" fmla="*/ 20205 w 181146"/>
                <a:gd name="connsiteY21" fmla="*/ 341527 h 358231"/>
                <a:gd name="connsiteX22" fmla="*/ 13281 w 181146"/>
                <a:gd name="connsiteY22" fmla="*/ 327044 h 358231"/>
                <a:gd name="connsiteX23" fmla="*/ 11626 w 181146"/>
                <a:gd name="connsiteY23" fmla="*/ 302828 h 358231"/>
                <a:gd name="connsiteX24" fmla="*/ 2797 w 181146"/>
                <a:gd name="connsiteY24" fmla="*/ 281198 h 358231"/>
                <a:gd name="connsiteX25" fmla="*/ 498 w 181146"/>
                <a:gd name="connsiteY25" fmla="*/ 261795 h 358231"/>
                <a:gd name="connsiteX26" fmla="*/ 4997 w 181146"/>
                <a:gd name="connsiteY26" fmla="*/ 242446 h 358231"/>
                <a:gd name="connsiteX27" fmla="*/ 16537 w 181146"/>
                <a:gd name="connsiteY27" fmla="*/ 237812 h 358231"/>
                <a:gd name="connsiteX28" fmla="*/ 16608 w 181146"/>
                <a:gd name="connsiteY28" fmla="*/ 228921 h 358231"/>
                <a:gd name="connsiteX29" fmla="*/ 28596 w 181146"/>
                <a:gd name="connsiteY29" fmla="*/ 208749 h 358231"/>
                <a:gd name="connsiteX30" fmla="*/ 30859 w 181146"/>
                <a:gd name="connsiteY30" fmla="*/ 191878 h 358231"/>
                <a:gd name="connsiteX31" fmla="*/ 25035 w 181146"/>
                <a:gd name="connsiteY31" fmla="*/ 179372 h 358231"/>
                <a:gd name="connsiteX32" fmla="*/ 20285 w 181146"/>
                <a:gd name="connsiteY32" fmla="*/ 162777 h 358231"/>
                <a:gd name="connsiteX33" fmla="*/ 18281 w 181146"/>
                <a:gd name="connsiteY33" fmla="*/ 138643 h 358231"/>
                <a:gd name="connsiteX34" fmla="*/ 27048 w 181146"/>
                <a:gd name="connsiteY34" fmla="*/ 124053 h 358231"/>
                <a:gd name="connsiteX35" fmla="*/ 30411 w 181146"/>
                <a:gd name="connsiteY35" fmla="*/ 107557 h 358231"/>
                <a:gd name="connsiteX36" fmla="*/ 42908 w 181146"/>
                <a:gd name="connsiteY36" fmla="*/ 106600 h 358231"/>
                <a:gd name="connsiteX37" fmla="*/ 56899 w 181146"/>
                <a:gd name="connsiteY37" fmla="*/ 101286 h 358231"/>
                <a:gd name="connsiteX38" fmla="*/ 66185 w 181146"/>
                <a:gd name="connsiteY38" fmla="*/ 96599 h 358231"/>
                <a:gd name="connsiteX39" fmla="*/ 77196 w 181146"/>
                <a:gd name="connsiteY39" fmla="*/ 96250 h 358231"/>
                <a:gd name="connsiteX40" fmla="*/ 91500 w 181146"/>
                <a:gd name="connsiteY40" fmla="*/ 81508 h 358231"/>
                <a:gd name="connsiteX41" fmla="*/ 112137 w 181146"/>
                <a:gd name="connsiteY41" fmla="*/ 65621 h 358231"/>
                <a:gd name="connsiteX42" fmla="*/ 119670 w 181146"/>
                <a:gd name="connsiteY42" fmla="*/ 52685 h 358231"/>
                <a:gd name="connsiteX43" fmla="*/ 116253 w 181146"/>
                <a:gd name="connsiteY43" fmla="*/ 41709 h 358231"/>
                <a:gd name="connsiteX44" fmla="*/ 126906 w 181146"/>
                <a:gd name="connsiteY44" fmla="*/ 44796 h 358231"/>
                <a:gd name="connsiteX45" fmla="*/ 140727 w 181146"/>
                <a:gd name="connsiteY45" fmla="*/ 26985 h 358231"/>
                <a:gd name="connsiteX46" fmla="*/ 141192 w 181146"/>
                <a:gd name="connsiteY46" fmla="*/ 11617 h 358231"/>
                <a:gd name="connsiteX47" fmla="*/ 149503 w 181146"/>
                <a:gd name="connsiteY47" fmla="*/ 211 h 358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81146" h="358231">
                  <a:moveTo>
                    <a:pt x="158252" y="11160"/>
                  </a:moveTo>
                  <a:lnTo>
                    <a:pt x="164907" y="22029"/>
                  </a:lnTo>
                  <a:lnTo>
                    <a:pt x="171115" y="38936"/>
                  </a:lnTo>
                  <a:lnTo>
                    <a:pt x="175159" y="69861"/>
                  </a:lnTo>
                  <a:lnTo>
                    <a:pt x="181644" y="81928"/>
                  </a:lnTo>
                  <a:lnTo>
                    <a:pt x="179157" y="94327"/>
                  </a:lnTo>
                  <a:lnTo>
                    <a:pt x="174720" y="101957"/>
                  </a:lnTo>
                  <a:lnTo>
                    <a:pt x="166204" y="86786"/>
                  </a:lnTo>
                  <a:lnTo>
                    <a:pt x="161481" y="94443"/>
                  </a:lnTo>
                  <a:lnTo>
                    <a:pt x="166276" y="113658"/>
                  </a:lnTo>
                  <a:lnTo>
                    <a:pt x="164039" y="124688"/>
                  </a:lnTo>
                  <a:lnTo>
                    <a:pt x="157124" y="130708"/>
                  </a:lnTo>
                  <a:lnTo>
                    <a:pt x="155541" y="152857"/>
                  </a:lnTo>
                  <a:lnTo>
                    <a:pt x="145665" y="183514"/>
                  </a:lnTo>
                  <a:lnTo>
                    <a:pt x="133293" y="220029"/>
                  </a:lnTo>
                  <a:lnTo>
                    <a:pt x="117800" y="270794"/>
                  </a:lnTo>
                  <a:lnTo>
                    <a:pt x="108193" y="308491"/>
                  </a:lnTo>
                  <a:lnTo>
                    <a:pt x="96858" y="340248"/>
                  </a:lnTo>
                  <a:lnTo>
                    <a:pt x="76454" y="346769"/>
                  </a:lnTo>
                  <a:lnTo>
                    <a:pt x="54564" y="358443"/>
                  </a:lnTo>
                  <a:lnTo>
                    <a:pt x="40118" y="351394"/>
                  </a:lnTo>
                  <a:lnTo>
                    <a:pt x="20205" y="341527"/>
                  </a:lnTo>
                  <a:lnTo>
                    <a:pt x="13281" y="327044"/>
                  </a:lnTo>
                  <a:lnTo>
                    <a:pt x="11626" y="302828"/>
                  </a:lnTo>
                  <a:lnTo>
                    <a:pt x="2797" y="281198"/>
                  </a:lnTo>
                  <a:lnTo>
                    <a:pt x="498" y="261795"/>
                  </a:lnTo>
                  <a:lnTo>
                    <a:pt x="4997" y="242446"/>
                  </a:lnTo>
                  <a:lnTo>
                    <a:pt x="16537" y="237812"/>
                  </a:lnTo>
                  <a:lnTo>
                    <a:pt x="16608" y="228921"/>
                  </a:lnTo>
                  <a:lnTo>
                    <a:pt x="28596" y="208749"/>
                  </a:lnTo>
                  <a:lnTo>
                    <a:pt x="30859" y="191878"/>
                  </a:lnTo>
                  <a:lnTo>
                    <a:pt x="25035" y="179372"/>
                  </a:lnTo>
                  <a:lnTo>
                    <a:pt x="20285" y="162777"/>
                  </a:lnTo>
                  <a:lnTo>
                    <a:pt x="18281" y="138643"/>
                  </a:lnTo>
                  <a:lnTo>
                    <a:pt x="27048" y="124053"/>
                  </a:lnTo>
                  <a:lnTo>
                    <a:pt x="30411" y="107557"/>
                  </a:lnTo>
                  <a:lnTo>
                    <a:pt x="42908" y="106600"/>
                  </a:lnTo>
                  <a:lnTo>
                    <a:pt x="56899" y="101286"/>
                  </a:lnTo>
                  <a:lnTo>
                    <a:pt x="66185" y="96599"/>
                  </a:lnTo>
                  <a:lnTo>
                    <a:pt x="77196" y="96250"/>
                  </a:lnTo>
                  <a:lnTo>
                    <a:pt x="91500" y="81508"/>
                  </a:lnTo>
                  <a:lnTo>
                    <a:pt x="112137" y="65621"/>
                  </a:lnTo>
                  <a:lnTo>
                    <a:pt x="119670" y="52685"/>
                  </a:lnTo>
                  <a:lnTo>
                    <a:pt x="116253" y="41709"/>
                  </a:lnTo>
                  <a:lnTo>
                    <a:pt x="126906" y="44796"/>
                  </a:lnTo>
                  <a:lnTo>
                    <a:pt x="140727" y="26985"/>
                  </a:lnTo>
                  <a:lnTo>
                    <a:pt x="141192" y="11617"/>
                  </a:lnTo>
                  <a:lnTo>
                    <a:pt x="149503" y="211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/>
            <p:cNvSpPr/>
            <p:nvPr/>
          </p:nvSpPr>
          <p:spPr>
            <a:xfrm>
              <a:off x="6350935" y="3493917"/>
              <a:ext cx="62439" cy="49361"/>
            </a:xfrm>
            <a:custGeom>
              <a:avLst/>
              <a:gdLst>
                <a:gd name="connsiteX0" fmla="*/ 3662 w 62439"/>
                <a:gd name="connsiteY0" fmla="*/ 15792 h 49361"/>
                <a:gd name="connsiteX1" fmla="*/ 6847 w 62439"/>
                <a:gd name="connsiteY1" fmla="*/ 16069 h 49361"/>
                <a:gd name="connsiteX2" fmla="*/ 7974 w 62439"/>
                <a:gd name="connsiteY2" fmla="*/ 9181 h 49361"/>
                <a:gd name="connsiteX3" fmla="*/ 22788 w 62439"/>
                <a:gd name="connsiteY3" fmla="*/ 3965 h 49361"/>
                <a:gd name="connsiteX4" fmla="*/ 28397 w 62439"/>
                <a:gd name="connsiteY4" fmla="*/ 2668 h 49361"/>
                <a:gd name="connsiteX5" fmla="*/ 36940 w 62439"/>
                <a:gd name="connsiteY5" fmla="*/ 700 h 49361"/>
                <a:gd name="connsiteX6" fmla="*/ 48569 w 62439"/>
                <a:gd name="connsiteY6" fmla="*/ 137 h 49361"/>
                <a:gd name="connsiteX7" fmla="*/ 61128 w 62439"/>
                <a:gd name="connsiteY7" fmla="*/ 10952 h 49361"/>
                <a:gd name="connsiteX8" fmla="*/ 62908 w 62439"/>
                <a:gd name="connsiteY8" fmla="*/ 33074 h 49361"/>
                <a:gd name="connsiteX9" fmla="*/ 58131 w 62439"/>
                <a:gd name="connsiteY9" fmla="*/ 34184 h 49361"/>
                <a:gd name="connsiteX10" fmla="*/ 53999 w 62439"/>
                <a:gd name="connsiteY10" fmla="*/ 39971 h 49361"/>
                <a:gd name="connsiteX11" fmla="*/ 40411 w 62439"/>
                <a:gd name="connsiteY11" fmla="*/ 39327 h 49361"/>
                <a:gd name="connsiteX12" fmla="*/ 30848 w 62439"/>
                <a:gd name="connsiteY12" fmla="*/ 46573 h 49361"/>
                <a:gd name="connsiteX13" fmla="*/ 14442 w 62439"/>
                <a:gd name="connsiteY13" fmla="*/ 49498 h 49361"/>
                <a:gd name="connsiteX14" fmla="*/ 4038 w 62439"/>
                <a:gd name="connsiteY14" fmla="*/ 41438 h 49361"/>
                <a:gd name="connsiteX15" fmla="*/ 469 w 62439"/>
                <a:gd name="connsiteY15" fmla="*/ 27179 h 49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439" h="49361">
                  <a:moveTo>
                    <a:pt x="3662" y="15792"/>
                  </a:moveTo>
                  <a:lnTo>
                    <a:pt x="6847" y="16069"/>
                  </a:lnTo>
                  <a:lnTo>
                    <a:pt x="7974" y="9181"/>
                  </a:lnTo>
                  <a:lnTo>
                    <a:pt x="22788" y="3965"/>
                  </a:lnTo>
                  <a:lnTo>
                    <a:pt x="28397" y="2668"/>
                  </a:lnTo>
                  <a:lnTo>
                    <a:pt x="36940" y="700"/>
                  </a:lnTo>
                  <a:lnTo>
                    <a:pt x="48569" y="137"/>
                  </a:lnTo>
                  <a:lnTo>
                    <a:pt x="61128" y="10952"/>
                  </a:lnTo>
                  <a:lnTo>
                    <a:pt x="62908" y="33074"/>
                  </a:lnTo>
                  <a:lnTo>
                    <a:pt x="58131" y="34184"/>
                  </a:lnTo>
                  <a:lnTo>
                    <a:pt x="53999" y="39971"/>
                  </a:lnTo>
                  <a:lnTo>
                    <a:pt x="40411" y="39327"/>
                  </a:lnTo>
                  <a:lnTo>
                    <a:pt x="30848" y="46573"/>
                  </a:lnTo>
                  <a:lnTo>
                    <a:pt x="14442" y="49498"/>
                  </a:lnTo>
                  <a:lnTo>
                    <a:pt x="4038" y="41438"/>
                  </a:lnTo>
                  <a:lnTo>
                    <a:pt x="469" y="27179"/>
                  </a:lnTo>
                  <a:close/>
                </a:path>
              </a:pathLst>
            </a:custGeom>
            <a:grpFill/>
            <a:ln w="6351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6" name="任意多边形: 形状 5"/>
          <p:cNvSpPr/>
          <p:nvPr/>
        </p:nvSpPr>
        <p:spPr>
          <a:xfrm>
            <a:off x="10373959" y="3281792"/>
            <a:ext cx="460374" cy="1351887"/>
          </a:xfrm>
          <a:custGeom>
            <a:avLst/>
            <a:gdLst>
              <a:gd name="connsiteX0" fmla="*/ 0 w 510540"/>
              <a:gd name="connsiteY0" fmla="*/ 1531620 h 1531620"/>
              <a:gd name="connsiteX1" fmla="*/ 510540 w 510540"/>
              <a:gd name="connsiteY1" fmla="*/ 0 h 1531620"/>
              <a:gd name="connsiteX0-1" fmla="*/ 0 w 510540"/>
              <a:gd name="connsiteY0-2" fmla="*/ 1531620 h 1531620"/>
              <a:gd name="connsiteX1-3" fmla="*/ 510540 w 510540"/>
              <a:gd name="connsiteY1-4" fmla="*/ 0 h 1531620"/>
              <a:gd name="connsiteX0-5" fmla="*/ 11041 w 521581"/>
              <a:gd name="connsiteY0-6" fmla="*/ 1531620 h 1531620"/>
              <a:gd name="connsiteX1-7" fmla="*/ 521581 w 521581"/>
              <a:gd name="connsiteY1-8" fmla="*/ 0 h 153162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521581" h="1531620">
                <a:moveTo>
                  <a:pt x="11041" y="1531620"/>
                </a:moveTo>
                <a:cubicBezTo>
                  <a:pt x="-39759" y="693420"/>
                  <a:pt x="77081" y="411480"/>
                  <a:pt x="521581" y="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/>
          <p:cNvSpPr/>
          <p:nvPr/>
        </p:nvSpPr>
        <p:spPr>
          <a:xfrm>
            <a:off x="9650593" y="2938775"/>
            <a:ext cx="726387" cy="1681451"/>
          </a:xfrm>
          <a:custGeom>
            <a:avLst/>
            <a:gdLst>
              <a:gd name="connsiteX0" fmla="*/ 822960 w 822960"/>
              <a:gd name="connsiteY0" fmla="*/ 1905000 h 1905000"/>
              <a:gd name="connsiteX1" fmla="*/ 0 w 822960"/>
              <a:gd name="connsiteY1" fmla="*/ 0 h 1905000"/>
              <a:gd name="connsiteX0-1" fmla="*/ 822960 w 822960"/>
              <a:gd name="connsiteY0-2" fmla="*/ 1905000 h 1905000"/>
              <a:gd name="connsiteX1-3" fmla="*/ 0 w 822960"/>
              <a:gd name="connsiteY1-4" fmla="*/ 0 h 1905000"/>
              <a:gd name="connsiteX0-5" fmla="*/ 822960 w 822960"/>
              <a:gd name="connsiteY0-6" fmla="*/ 1905000 h 1905000"/>
              <a:gd name="connsiteX1-7" fmla="*/ 0 w 822960"/>
              <a:gd name="connsiteY1-8" fmla="*/ 0 h 1905000"/>
              <a:gd name="connsiteX0-9" fmla="*/ 822960 w 822960"/>
              <a:gd name="connsiteY0-10" fmla="*/ 1905000 h 1905000"/>
              <a:gd name="connsiteX1-11" fmla="*/ 0 w 822960"/>
              <a:gd name="connsiteY1-12" fmla="*/ 0 h 1905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822960" h="1905000">
                <a:moveTo>
                  <a:pt x="822960" y="1905000"/>
                </a:moveTo>
                <a:cubicBezTo>
                  <a:pt x="381000" y="1231900"/>
                  <a:pt x="182880" y="741680"/>
                  <a:pt x="0" y="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5668916" y="2711067"/>
            <a:ext cx="4714789" cy="1915885"/>
          </a:xfrm>
          <a:custGeom>
            <a:avLst/>
            <a:gdLst>
              <a:gd name="connsiteX0" fmla="*/ 5341620 w 5341620"/>
              <a:gd name="connsiteY0" fmla="*/ 2141220 h 2141220"/>
              <a:gd name="connsiteX1" fmla="*/ 0 w 5341620"/>
              <a:gd name="connsiteY1" fmla="*/ 0 h 2141220"/>
              <a:gd name="connsiteX0-1" fmla="*/ 5341620 w 5341620"/>
              <a:gd name="connsiteY0-2" fmla="*/ 2141220 h 2141220"/>
              <a:gd name="connsiteX1-3" fmla="*/ 0 w 5341620"/>
              <a:gd name="connsiteY1-4" fmla="*/ 0 h 2141220"/>
              <a:gd name="connsiteX0-5" fmla="*/ 5341620 w 5341620"/>
              <a:gd name="connsiteY0-6" fmla="*/ 2170602 h 2170602"/>
              <a:gd name="connsiteX1-7" fmla="*/ 0 w 5341620"/>
              <a:gd name="connsiteY1-8" fmla="*/ 29382 h 217060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5341620" h="2170602">
                <a:moveTo>
                  <a:pt x="5341620" y="2170602"/>
                </a:moveTo>
                <a:cubicBezTo>
                  <a:pt x="3530600" y="191942"/>
                  <a:pt x="1551940" y="-110318"/>
                  <a:pt x="0" y="29382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: 形状 8"/>
          <p:cNvSpPr/>
          <p:nvPr/>
        </p:nvSpPr>
        <p:spPr>
          <a:xfrm>
            <a:off x="7901883" y="3779501"/>
            <a:ext cx="2481822" cy="864110"/>
          </a:xfrm>
          <a:custGeom>
            <a:avLst/>
            <a:gdLst>
              <a:gd name="connsiteX0" fmla="*/ 2811780 w 2811780"/>
              <a:gd name="connsiteY0" fmla="*/ 960120 h 960120"/>
              <a:gd name="connsiteX1" fmla="*/ 0 w 2811780"/>
              <a:gd name="connsiteY1" fmla="*/ 0 h 960120"/>
              <a:gd name="connsiteX0-1" fmla="*/ 2811780 w 2811780"/>
              <a:gd name="connsiteY0-2" fmla="*/ 960120 h 976184"/>
              <a:gd name="connsiteX1-3" fmla="*/ 0 w 2811780"/>
              <a:gd name="connsiteY1-4" fmla="*/ 0 h 976184"/>
              <a:gd name="connsiteX0-5" fmla="*/ 2811780 w 2811780"/>
              <a:gd name="connsiteY0-6" fmla="*/ 960120 h 978993"/>
              <a:gd name="connsiteX1-7" fmla="*/ 0 w 2811780"/>
              <a:gd name="connsiteY1-8" fmla="*/ 0 h 97899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811780" h="978993">
                <a:moveTo>
                  <a:pt x="2811780" y="960120"/>
                </a:moveTo>
                <a:cubicBezTo>
                  <a:pt x="1958340" y="1097280"/>
                  <a:pt x="777240" y="457200"/>
                  <a:pt x="0" y="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/>
        </p:nvSpPr>
        <p:spPr>
          <a:xfrm rot="21416885">
            <a:off x="8564225" y="4536456"/>
            <a:ext cx="1795790" cy="173975"/>
          </a:xfrm>
          <a:custGeom>
            <a:avLst/>
            <a:gdLst>
              <a:gd name="connsiteX0" fmla="*/ 2034540 w 2034540"/>
              <a:gd name="connsiteY0" fmla="*/ 7620 h 7620"/>
              <a:gd name="connsiteX1" fmla="*/ 0 w 2034540"/>
              <a:gd name="connsiteY1" fmla="*/ 0 h 7620"/>
              <a:gd name="connsiteX0-1" fmla="*/ 10000 w 10000"/>
              <a:gd name="connsiteY0-2" fmla="*/ 268903 h 268903"/>
              <a:gd name="connsiteX1-3" fmla="*/ 0 w 10000"/>
              <a:gd name="connsiteY1-4" fmla="*/ 258903 h 268903"/>
              <a:gd name="connsiteX0-5" fmla="*/ 10000 w 10000"/>
              <a:gd name="connsiteY0-6" fmla="*/ 321429 h 321429"/>
              <a:gd name="connsiteX1-7" fmla="*/ 0 w 10000"/>
              <a:gd name="connsiteY1-8" fmla="*/ 311429 h 32142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10000" h="321429">
                <a:moveTo>
                  <a:pt x="10000" y="321429"/>
                </a:moveTo>
                <a:cubicBezTo>
                  <a:pt x="8352" y="108096"/>
                  <a:pt x="5543" y="-275238"/>
                  <a:pt x="0" y="311429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/>
          <p:cNvSpPr/>
          <p:nvPr/>
        </p:nvSpPr>
        <p:spPr>
          <a:xfrm>
            <a:off x="8243889" y="4659620"/>
            <a:ext cx="2108280" cy="350530"/>
          </a:xfrm>
          <a:custGeom>
            <a:avLst/>
            <a:gdLst>
              <a:gd name="connsiteX0" fmla="*/ 2339340 w 2339340"/>
              <a:gd name="connsiteY0" fmla="*/ 0 h 205740"/>
              <a:gd name="connsiteX1" fmla="*/ 0 w 2339340"/>
              <a:gd name="connsiteY1" fmla="*/ 205740 h 205740"/>
              <a:gd name="connsiteX0-1" fmla="*/ 2339340 w 2339340"/>
              <a:gd name="connsiteY0-2" fmla="*/ 0 h 443537"/>
              <a:gd name="connsiteX1-3" fmla="*/ 0 w 2339340"/>
              <a:gd name="connsiteY1-4" fmla="*/ 205740 h 443537"/>
              <a:gd name="connsiteX0-5" fmla="*/ 2339340 w 2339340"/>
              <a:gd name="connsiteY0-6" fmla="*/ 0 h 471198"/>
              <a:gd name="connsiteX1-7" fmla="*/ 0 w 2339340"/>
              <a:gd name="connsiteY1-8" fmla="*/ 205740 h 471198"/>
              <a:gd name="connsiteX0-9" fmla="*/ 2339340 w 2339340"/>
              <a:gd name="connsiteY0-10" fmla="*/ 0 h 454291"/>
              <a:gd name="connsiteX1-11" fmla="*/ 0 w 2339340"/>
              <a:gd name="connsiteY1-12" fmla="*/ 205740 h 45429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339340" h="454291">
                <a:moveTo>
                  <a:pt x="2339340" y="0"/>
                </a:moveTo>
                <a:cubicBezTo>
                  <a:pt x="1993900" y="213360"/>
                  <a:pt x="1016000" y="777240"/>
                  <a:pt x="0" y="20574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/>
          <p:cNvSpPr/>
          <p:nvPr/>
        </p:nvSpPr>
        <p:spPr>
          <a:xfrm>
            <a:off x="5920279" y="3820147"/>
            <a:ext cx="4425580" cy="1313077"/>
          </a:xfrm>
          <a:custGeom>
            <a:avLst/>
            <a:gdLst>
              <a:gd name="connsiteX0" fmla="*/ 5013960 w 5013960"/>
              <a:gd name="connsiteY0" fmla="*/ 975360 h 975360"/>
              <a:gd name="connsiteX1" fmla="*/ 0 w 5013960"/>
              <a:gd name="connsiteY1" fmla="*/ 0 h 975360"/>
              <a:gd name="connsiteX0-1" fmla="*/ 5013960 w 5013960"/>
              <a:gd name="connsiteY0-2" fmla="*/ 975360 h 1432389"/>
              <a:gd name="connsiteX1-3" fmla="*/ 0 w 5013960"/>
              <a:gd name="connsiteY1-4" fmla="*/ 0 h 1432389"/>
              <a:gd name="connsiteX0-5" fmla="*/ 5013960 w 5013960"/>
              <a:gd name="connsiteY0-6" fmla="*/ 975360 h 1487650"/>
              <a:gd name="connsiteX1-7" fmla="*/ 0 w 5013960"/>
              <a:gd name="connsiteY1-8" fmla="*/ 0 h 14876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5013960" h="1487650">
                <a:moveTo>
                  <a:pt x="5013960" y="975360"/>
                </a:moveTo>
                <a:cubicBezTo>
                  <a:pt x="3533140" y="2311400"/>
                  <a:pt x="741680" y="690880"/>
                  <a:pt x="0" y="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: 形状 12"/>
          <p:cNvSpPr/>
          <p:nvPr/>
        </p:nvSpPr>
        <p:spPr>
          <a:xfrm rot="-60000">
            <a:off x="6423359" y="4933396"/>
            <a:ext cx="3736144" cy="568659"/>
          </a:xfrm>
          <a:custGeom>
            <a:avLst/>
            <a:gdLst>
              <a:gd name="connsiteX0" fmla="*/ 4472940 w 4472940"/>
              <a:gd name="connsiteY0" fmla="*/ 0 h 213360"/>
              <a:gd name="connsiteX1" fmla="*/ 0 w 4472940"/>
              <a:gd name="connsiteY1" fmla="*/ 213360 h 213360"/>
              <a:gd name="connsiteX0-1" fmla="*/ 4472940 w 4472940"/>
              <a:gd name="connsiteY0-2" fmla="*/ 0 h 512011"/>
              <a:gd name="connsiteX1-3" fmla="*/ 0 w 4472940"/>
              <a:gd name="connsiteY1-4" fmla="*/ 213360 h 512011"/>
              <a:gd name="connsiteX0-5" fmla="*/ 4472940 w 4472940"/>
              <a:gd name="connsiteY0-6" fmla="*/ 0 h 752565"/>
              <a:gd name="connsiteX1-7" fmla="*/ 0 w 4472940"/>
              <a:gd name="connsiteY1-8" fmla="*/ 213360 h 752565"/>
              <a:gd name="connsiteX0-9" fmla="*/ 4232863 w 4232863"/>
              <a:gd name="connsiteY0-10" fmla="*/ 201312 h 778276"/>
              <a:gd name="connsiteX1-11" fmla="*/ 0 w 4232863"/>
              <a:gd name="connsiteY1-12" fmla="*/ -1 h 778276"/>
              <a:gd name="connsiteX0-13" fmla="*/ 4232863 w 4232863"/>
              <a:gd name="connsiteY0-14" fmla="*/ 201313 h 580896"/>
              <a:gd name="connsiteX1-15" fmla="*/ 0 w 4232863"/>
              <a:gd name="connsiteY1-16" fmla="*/ 0 h 58089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4232863" h="580896">
                <a:moveTo>
                  <a:pt x="4232863" y="201313"/>
                </a:moveTo>
                <a:cubicBezTo>
                  <a:pt x="2558233" y="792935"/>
                  <a:pt x="1414780" y="668020"/>
                  <a:pt x="0" y="0"/>
                </a:cubicBezTo>
              </a:path>
            </a:pathLst>
          </a:custGeom>
          <a:noFill/>
          <a:ln w="6350">
            <a:solidFill>
              <a:schemeClr val="accent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5" name="组合 14"/>
          <p:cNvGrpSpPr/>
          <p:nvPr/>
        </p:nvGrpSpPr>
        <p:grpSpPr>
          <a:xfrm>
            <a:off x="10436779" y="4297646"/>
            <a:ext cx="90035" cy="115047"/>
            <a:chOff x="10637874" y="3784618"/>
            <a:chExt cx="1147836" cy="1466701"/>
          </a:xfrm>
        </p:grpSpPr>
        <p:sp>
          <p:nvSpPr>
            <p:cNvPr id="39" name="椭圆 38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任意多边形: 形状 39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6" name="图形 206"/>
          <p:cNvSpPr/>
          <p:nvPr/>
        </p:nvSpPr>
        <p:spPr>
          <a:xfrm>
            <a:off x="10308045" y="4620848"/>
            <a:ext cx="90874" cy="86162"/>
          </a:xfrm>
          <a:custGeom>
            <a:avLst/>
            <a:gdLst>
              <a:gd name="connsiteX0" fmla="*/ 2005179 w 2008786"/>
              <a:gd name="connsiteY0" fmla="*/ 722200 h 1904665"/>
              <a:gd name="connsiteX1" fmla="*/ 1933497 w 2008786"/>
              <a:gd name="connsiteY1" fmla="*/ 670333 h 1904665"/>
              <a:gd name="connsiteX2" fmla="*/ 1278360 w 2008786"/>
              <a:gd name="connsiteY2" fmla="*/ 670333 h 1904665"/>
              <a:gd name="connsiteX3" fmla="*/ 1075903 w 2008786"/>
              <a:gd name="connsiteY3" fmla="*/ 51764 h 1904665"/>
              <a:gd name="connsiteX4" fmla="*/ 1004452 w 2008786"/>
              <a:gd name="connsiteY4" fmla="*/ 0 h 1904665"/>
              <a:gd name="connsiteX5" fmla="*/ 933001 w 2008786"/>
              <a:gd name="connsiteY5" fmla="*/ 51532 h 1904665"/>
              <a:gd name="connsiteX6" fmla="*/ 730311 w 2008786"/>
              <a:gd name="connsiteY6" fmla="*/ 670333 h 1904665"/>
              <a:gd name="connsiteX7" fmla="*/ 75306 w 2008786"/>
              <a:gd name="connsiteY7" fmla="*/ 670333 h 1904665"/>
              <a:gd name="connsiteX8" fmla="*/ 3727 w 2008786"/>
              <a:gd name="connsiteY8" fmla="*/ 722200 h 1904665"/>
              <a:gd name="connsiteX9" fmla="*/ 31045 w 2008786"/>
              <a:gd name="connsiteY9" fmla="*/ 805754 h 1904665"/>
              <a:gd name="connsiteX10" fmla="*/ 561070 w 2008786"/>
              <a:gd name="connsiteY10" fmla="*/ 1187896 h 1904665"/>
              <a:gd name="connsiteX11" fmla="*/ 358715 w 2008786"/>
              <a:gd name="connsiteY11" fmla="*/ 1806800 h 1904665"/>
              <a:gd name="connsiteX12" fmla="*/ 386035 w 2008786"/>
              <a:gd name="connsiteY12" fmla="*/ 1890359 h 1904665"/>
              <a:gd name="connsiteX13" fmla="*/ 474428 w 2008786"/>
              <a:gd name="connsiteY13" fmla="*/ 1890359 h 1904665"/>
              <a:gd name="connsiteX14" fmla="*/ 1004452 w 2008786"/>
              <a:gd name="connsiteY14" fmla="*/ 1507979 h 1904665"/>
              <a:gd name="connsiteX15" fmla="*/ 1534579 w 2008786"/>
              <a:gd name="connsiteY15" fmla="*/ 1890359 h 1904665"/>
              <a:gd name="connsiteX16" fmla="*/ 1578738 w 2008786"/>
              <a:gd name="connsiteY16" fmla="*/ 1904665 h 1904665"/>
              <a:gd name="connsiteX17" fmla="*/ 1622972 w 2008786"/>
              <a:gd name="connsiteY17" fmla="*/ 1890359 h 1904665"/>
              <a:gd name="connsiteX18" fmla="*/ 1650189 w 2008786"/>
              <a:gd name="connsiteY18" fmla="*/ 1806800 h 1904665"/>
              <a:gd name="connsiteX19" fmla="*/ 1448039 w 2008786"/>
              <a:gd name="connsiteY19" fmla="*/ 1187896 h 1904665"/>
              <a:gd name="connsiteX20" fmla="*/ 1977749 w 2008786"/>
              <a:gd name="connsiteY20" fmla="*/ 805754 h 1904665"/>
              <a:gd name="connsiteX21" fmla="*/ 2005179 w 2008786"/>
              <a:gd name="connsiteY21" fmla="*/ 722200 h 190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08786" h="1904665">
                <a:moveTo>
                  <a:pt x="2005179" y="722200"/>
                </a:moveTo>
                <a:cubicBezTo>
                  <a:pt x="1995000" y="691182"/>
                  <a:pt x="1966062" y="670333"/>
                  <a:pt x="1933497" y="670333"/>
                </a:cubicBezTo>
                <a:lnTo>
                  <a:pt x="1278360" y="670333"/>
                </a:lnTo>
                <a:lnTo>
                  <a:pt x="1075903" y="51764"/>
                </a:lnTo>
                <a:cubicBezTo>
                  <a:pt x="1066067" y="20850"/>
                  <a:pt x="1037230" y="0"/>
                  <a:pt x="1004452" y="0"/>
                </a:cubicBezTo>
                <a:cubicBezTo>
                  <a:pt x="971881" y="0"/>
                  <a:pt x="942940" y="20850"/>
                  <a:pt x="933001" y="51532"/>
                </a:cubicBezTo>
                <a:lnTo>
                  <a:pt x="730311" y="670333"/>
                </a:lnTo>
                <a:lnTo>
                  <a:pt x="75306" y="670333"/>
                </a:lnTo>
                <a:cubicBezTo>
                  <a:pt x="42632" y="670333"/>
                  <a:pt x="13768" y="691182"/>
                  <a:pt x="3727" y="722200"/>
                </a:cubicBezTo>
                <a:cubicBezTo>
                  <a:pt x="-6444" y="752909"/>
                  <a:pt x="4705" y="786860"/>
                  <a:pt x="31045" y="805754"/>
                </a:cubicBezTo>
                <a:lnTo>
                  <a:pt x="561070" y="1187896"/>
                </a:lnTo>
                <a:lnTo>
                  <a:pt x="358715" y="1806800"/>
                </a:lnTo>
                <a:cubicBezTo>
                  <a:pt x="348443" y="1837611"/>
                  <a:pt x="359592" y="1871253"/>
                  <a:pt x="386035" y="1890359"/>
                </a:cubicBezTo>
                <a:cubicBezTo>
                  <a:pt x="412143" y="1909353"/>
                  <a:pt x="448191" y="1909353"/>
                  <a:pt x="474428" y="1890359"/>
                </a:cubicBezTo>
                <a:lnTo>
                  <a:pt x="1004452" y="1507979"/>
                </a:lnTo>
                <a:lnTo>
                  <a:pt x="1534579" y="1890359"/>
                </a:lnTo>
                <a:cubicBezTo>
                  <a:pt x="1547583" y="1899772"/>
                  <a:pt x="1563108" y="1904665"/>
                  <a:pt x="1578738" y="1904665"/>
                </a:cubicBezTo>
                <a:cubicBezTo>
                  <a:pt x="1594237" y="1904665"/>
                  <a:pt x="1609867" y="1899772"/>
                  <a:pt x="1622972" y="1890359"/>
                </a:cubicBezTo>
                <a:cubicBezTo>
                  <a:pt x="1649313" y="1871253"/>
                  <a:pt x="1660461" y="1837611"/>
                  <a:pt x="1650189" y="1806800"/>
                </a:cubicBezTo>
                <a:lnTo>
                  <a:pt x="1448039" y="1187896"/>
                </a:lnTo>
                <a:lnTo>
                  <a:pt x="1977749" y="805754"/>
                </a:lnTo>
                <a:cubicBezTo>
                  <a:pt x="2004062" y="786860"/>
                  <a:pt x="2015116" y="752909"/>
                  <a:pt x="2005179" y="722200"/>
                </a:cubicBezTo>
                <a:close/>
              </a:path>
            </a:pathLst>
          </a:custGeom>
          <a:solidFill>
            <a:schemeClr val="accent2"/>
          </a:solidFill>
          <a:ln w="186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图形 206"/>
          <p:cNvSpPr/>
          <p:nvPr/>
        </p:nvSpPr>
        <p:spPr>
          <a:xfrm>
            <a:off x="10360937" y="4576764"/>
            <a:ext cx="85712" cy="81268"/>
          </a:xfrm>
          <a:custGeom>
            <a:avLst/>
            <a:gdLst>
              <a:gd name="connsiteX0" fmla="*/ 2005179 w 2008786"/>
              <a:gd name="connsiteY0" fmla="*/ 722200 h 1904665"/>
              <a:gd name="connsiteX1" fmla="*/ 1933497 w 2008786"/>
              <a:gd name="connsiteY1" fmla="*/ 670333 h 1904665"/>
              <a:gd name="connsiteX2" fmla="*/ 1278360 w 2008786"/>
              <a:gd name="connsiteY2" fmla="*/ 670333 h 1904665"/>
              <a:gd name="connsiteX3" fmla="*/ 1075903 w 2008786"/>
              <a:gd name="connsiteY3" fmla="*/ 51764 h 1904665"/>
              <a:gd name="connsiteX4" fmla="*/ 1004452 w 2008786"/>
              <a:gd name="connsiteY4" fmla="*/ 0 h 1904665"/>
              <a:gd name="connsiteX5" fmla="*/ 933001 w 2008786"/>
              <a:gd name="connsiteY5" fmla="*/ 51532 h 1904665"/>
              <a:gd name="connsiteX6" fmla="*/ 730311 w 2008786"/>
              <a:gd name="connsiteY6" fmla="*/ 670333 h 1904665"/>
              <a:gd name="connsiteX7" fmla="*/ 75306 w 2008786"/>
              <a:gd name="connsiteY7" fmla="*/ 670333 h 1904665"/>
              <a:gd name="connsiteX8" fmla="*/ 3727 w 2008786"/>
              <a:gd name="connsiteY8" fmla="*/ 722200 h 1904665"/>
              <a:gd name="connsiteX9" fmla="*/ 31045 w 2008786"/>
              <a:gd name="connsiteY9" fmla="*/ 805754 h 1904665"/>
              <a:gd name="connsiteX10" fmla="*/ 561070 w 2008786"/>
              <a:gd name="connsiteY10" fmla="*/ 1187896 h 1904665"/>
              <a:gd name="connsiteX11" fmla="*/ 358715 w 2008786"/>
              <a:gd name="connsiteY11" fmla="*/ 1806800 h 1904665"/>
              <a:gd name="connsiteX12" fmla="*/ 386035 w 2008786"/>
              <a:gd name="connsiteY12" fmla="*/ 1890359 h 1904665"/>
              <a:gd name="connsiteX13" fmla="*/ 474428 w 2008786"/>
              <a:gd name="connsiteY13" fmla="*/ 1890359 h 1904665"/>
              <a:gd name="connsiteX14" fmla="*/ 1004452 w 2008786"/>
              <a:gd name="connsiteY14" fmla="*/ 1507979 h 1904665"/>
              <a:gd name="connsiteX15" fmla="*/ 1534579 w 2008786"/>
              <a:gd name="connsiteY15" fmla="*/ 1890359 h 1904665"/>
              <a:gd name="connsiteX16" fmla="*/ 1578738 w 2008786"/>
              <a:gd name="connsiteY16" fmla="*/ 1904665 h 1904665"/>
              <a:gd name="connsiteX17" fmla="*/ 1622972 w 2008786"/>
              <a:gd name="connsiteY17" fmla="*/ 1890359 h 1904665"/>
              <a:gd name="connsiteX18" fmla="*/ 1650189 w 2008786"/>
              <a:gd name="connsiteY18" fmla="*/ 1806800 h 1904665"/>
              <a:gd name="connsiteX19" fmla="*/ 1448039 w 2008786"/>
              <a:gd name="connsiteY19" fmla="*/ 1187896 h 1904665"/>
              <a:gd name="connsiteX20" fmla="*/ 1977749 w 2008786"/>
              <a:gd name="connsiteY20" fmla="*/ 805754 h 1904665"/>
              <a:gd name="connsiteX21" fmla="*/ 2005179 w 2008786"/>
              <a:gd name="connsiteY21" fmla="*/ 722200 h 190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08786" h="1904665">
                <a:moveTo>
                  <a:pt x="2005179" y="722200"/>
                </a:moveTo>
                <a:cubicBezTo>
                  <a:pt x="1995000" y="691182"/>
                  <a:pt x="1966062" y="670333"/>
                  <a:pt x="1933497" y="670333"/>
                </a:cubicBezTo>
                <a:lnTo>
                  <a:pt x="1278360" y="670333"/>
                </a:lnTo>
                <a:lnTo>
                  <a:pt x="1075903" y="51764"/>
                </a:lnTo>
                <a:cubicBezTo>
                  <a:pt x="1066067" y="20850"/>
                  <a:pt x="1037230" y="0"/>
                  <a:pt x="1004452" y="0"/>
                </a:cubicBezTo>
                <a:cubicBezTo>
                  <a:pt x="971881" y="0"/>
                  <a:pt x="942940" y="20850"/>
                  <a:pt x="933001" y="51532"/>
                </a:cubicBezTo>
                <a:lnTo>
                  <a:pt x="730311" y="670333"/>
                </a:lnTo>
                <a:lnTo>
                  <a:pt x="75306" y="670333"/>
                </a:lnTo>
                <a:cubicBezTo>
                  <a:pt x="42632" y="670333"/>
                  <a:pt x="13768" y="691182"/>
                  <a:pt x="3727" y="722200"/>
                </a:cubicBezTo>
                <a:cubicBezTo>
                  <a:pt x="-6444" y="752909"/>
                  <a:pt x="4705" y="786860"/>
                  <a:pt x="31045" y="805754"/>
                </a:cubicBezTo>
                <a:lnTo>
                  <a:pt x="561070" y="1187896"/>
                </a:lnTo>
                <a:lnTo>
                  <a:pt x="358715" y="1806800"/>
                </a:lnTo>
                <a:cubicBezTo>
                  <a:pt x="348443" y="1837611"/>
                  <a:pt x="359592" y="1871253"/>
                  <a:pt x="386035" y="1890359"/>
                </a:cubicBezTo>
                <a:cubicBezTo>
                  <a:pt x="412143" y="1909353"/>
                  <a:pt x="448191" y="1909353"/>
                  <a:pt x="474428" y="1890359"/>
                </a:cubicBezTo>
                <a:lnTo>
                  <a:pt x="1004452" y="1507979"/>
                </a:lnTo>
                <a:lnTo>
                  <a:pt x="1534579" y="1890359"/>
                </a:lnTo>
                <a:cubicBezTo>
                  <a:pt x="1547583" y="1899772"/>
                  <a:pt x="1563108" y="1904665"/>
                  <a:pt x="1578738" y="1904665"/>
                </a:cubicBezTo>
                <a:cubicBezTo>
                  <a:pt x="1594237" y="1904665"/>
                  <a:pt x="1609867" y="1899772"/>
                  <a:pt x="1622972" y="1890359"/>
                </a:cubicBezTo>
                <a:cubicBezTo>
                  <a:pt x="1649313" y="1871253"/>
                  <a:pt x="1660461" y="1837611"/>
                  <a:pt x="1650189" y="1806800"/>
                </a:cubicBezTo>
                <a:lnTo>
                  <a:pt x="1448039" y="1187896"/>
                </a:lnTo>
                <a:lnTo>
                  <a:pt x="1977749" y="805754"/>
                </a:lnTo>
                <a:cubicBezTo>
                  <a:pt x="2004062" y="786860"/>
                  <a:pt x="2015116" y="752909"/>
                  <a:pt x="2005179" y="722200"/>
                </a:cubicBezTo>
                <a:close/>
              </a:path>
            </a:pathLst>
          </a:custGeom>
          <a:solidFill>
            <a:schemeClr val="accent2"/>
          </a:solidFill>
          <a:ln w="186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19" name="组合 18"/>
          <p:cNvGrpSpPr/>
          <p:nvPr/>
        </p:nvGrpSpPr>
        <p:grpSpPr>
          <a:xfrm>
            <a:off x="10369150" y="4063301"/>
            <a:ext cx="90035" cy="115047"/>
            <a:chOff x="10637874" y="3784618"/>
            <a:chExt cx="1147836" cy="1466701"/>
          </a:xfrm>
        </p:grpSpPr>
        <p:sp>
          <p:nvSpPr>
            <p:cNvPr id="35" name="椭圆 34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任意多边形: 形状 35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10894369" y="4193201"/>
            <a:ext cx="90035" cy="115047"/>
            <a:chOff x="10637874" y="3784618"/>
            <a:chExt cx="1147836" cy="1466701"/>
          </a:xfrm>
        </p:grpSpPr>
        <p:sp>
          <p:nvSpPr>
            <p:cNvPr id="33" name="椭圆 32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1" name="矩形 20"/>
          <p:cNvSpPr/>
          <p:nvPr/>
        </p:nvSpPr>
        <p:spPr>
          <a:xfrm>
            <a:off x="11068708" y="4075082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Tokyo</a:t>
            </a:r>
          </a:p>
          <a:p>
            <a:pPr algn="ctr"/>
            <a:r>
              <a:rPr lang="zh-CN" altLang="en-US" sz="700" dirty="0"/>
              <a:t>东京</a:t>
            </a:r>
          </a:p>
        </p:txBody>
      </p:sp>
      <p:sp>
        <p:nvSpPr>
          <p:cNvPr id="22" name="矩形 21"/>
          <p:cNvSpPr/>
          <p:nvPr/>
        </p:nvSpPr>
        <p:spPr>
          <a:xfrm>
            <a:off x="10682273" y="4338036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Shanghai</a:t>
            </a:r>
          </a:p>
          <a:p>
            <a:pPr algn="ctr"/>
            <a:r>
              <a:rPr lang="zh-CN" altLang="en-US" sz="700" dirty="0"/>
              <a:t>上海</a:t>
            </a:r>
          </a:p>
        </p:txBody>
      </p:sp>
      <p:sp>
        <p:nvSpPr>
          <p:cNvPr id="24" name="矩形 23"/>
          <p:cNvSpPr/>
          <p:nvPr/>
        </p:nvSpPr>
        <p:spPr>
          <a:xfrm>
            <a:off x="9834770" y="3941212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Beijing</a:t>
            </a:r>
          </a:p>
          <a:p>
            <a:pPr algn="ctr"/>
            <a:r>
              <a:rPr lang="zh-CN" altLang="en-US" sz="700" dirty="0"/>
              <a:t>北京</a:t>
            </a:r>
          </a:p>
        </p:txBody>
      </p:sp>
      <p:sp>
        <p:nvSpPr>
          <p:cNvPr id="25" name="矩形 24"/>
          <p:cNvSpPr/>
          <p:nvPr/>
        </p:nvSpPr>
        <p:spPr>
          <a:xfrm>
            <a:off x="10578164" y="4584701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Shenzhen</a:t>
            </a:r>
          </a:p>
          <a:p>
            <a:pPr algn="ctr"/>
            <a:r>
              <a:rPr lang="zh-CN" altLang="en-US" sz="700" dirty="0"/>
              <a:t>深圳</a:t>
            </a:r>
          </a:p>
        </p:txBody>
      </p:sp>
      <p:sp>
        <p:nvSpPr>
          <p:cNvPr id="26" name="矩形 25"/>
          <p:cNvSpPr/>
          <p:nvPr/>
        </p:nvSpPr>
        <p:spPr>
          <a:xfrm>
            <a:off x="10084691" y="4762131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 err="1"/>
              <a:t>Hong Kong</a:t>
            </a:r>
            <a:endParaRPr lang="en-US" altLang="zh-CN" sz="600" dirty="0"/>
          </a:p>
          <a:p>
            <a:pPr algn="ctr"/>
            <a:r>
              <a:rPr lang="zh-CN" altLang="en-US" sz="700" dirty="0"/>
              <a:t>香港</a:t>
            </a:r>
          </a:p>
        </p:txBody>
      </p:sp>
      <p:sp>
        <p:nvSpPr>
          <p:cNvPr id="27" name="等腰三角形 26"/>
          <p:cNvSpPr/>
          <p:nvPr/>
        </p:nvSpPr>
        <p:spPr>
          <a:xfrm rot="16200000">
            <a:off x="11013069" y="4211414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等腰三角形 27"/>
          <p:cNvSpPr/>
          <p:nvPr/>
        </p:nvSpPr>
        <p:spPr>
          <a:xfrm rot="16200000">
            <a:off x="10623971" y="4376648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等腰三角形 28"/>
          <p:cNvSpPr/>
          <p:nvPr/>
        </p:nvSpPr>
        <p:spPr>
          <a:xfrm rot="16200000">
            <a:off x="10525193" y="4644968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等腰三角形 29"/>
          <p:cNvSpPr/>
          <p:nvPr/>
        </p:nvSpPr>
        <p:spPr>
          <a:xfrm rot="5400000" flipH="1">
            <a:off x="10348336" y="4323804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等腰三角形 30"/>
          <p:cNvSpPr/>
          <p:nvPr/>
        </p:nvSpPr>
        <p:spPr>
          <a:xfrm rot="5400000" flipH="1">
            <a:off x="10288175" y="4064787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等腰三角形 31"/>
          <p:cNvSpPr/>
          <p:nvPr/>
        </p:nvSpPr>
        <p:spPr>
          <a:xfrm flipH="1">
            <a:off x="10326772" y="4717225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4" name="矩形 293"/>
          <p:cNvSpPr/>
          <p:nvPr/>
        </p:nvSpPr>
        <p:spPr>
          <a:xfrm>
            <a:off x="9745800" y="4411624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Chongqing</a:t>
            </a:r>
          </a:p>
          <a:p>
            <a:pPr algn="ctr"/>
            <a:r>
              <a:rPr lang="zh-CN" altLang="en-US" sz="700" dirty="0"/>
              <a:t>重庆</a:t>
            </a:r>
          </a:p>
        </p:txBody>
      </p:sp>
      <p:sp>
        <p:nvSpPr>
          <p:cNvPr id="295" name="等腰三角形 294"/>
          <p:cNvSpPr/>
          <p:nvPr/>
        </p:nvSpPr>
        <p:spPr>
          <a:xfrm rot="5400000" flipH="1">
            <a:off x="10198318" y="4438106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7" name="标题 1"/>
          <p:cNvSpPr txBox="1"/>
          <p:nvPr/>
        </p:nvSpPr>
        <p:spPr>
          <a:xfrm>
            <a:off x="309563" y="646657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dirty="0"/>
              <a:t>赋能</a:t>
            </a:r>
            <a:r>
              <a:rPr lang="en-US" altLang="zh-CN" dirty="0"/>
              <a:t>1000+</a:t>
            </a:r>
            <a:r>
              <a:rPr lang="zh-CN" altLang="en-US" dirty="0"/>
              <a:t>行业应用场景，支持</a:t>
            </a:r>
            <a:r>
              <a:rPr lang="en-US" altLang="zh-CN" dirty="0"/>
              <a:t>300+</a:t>
            </a:r>
            <a:r>
              <a:rPr lang="zh-CN" altLang="en-US" dirty="0"/>
              <a:t>检测任务</a:t>
            </a:r>
          </a:p>
        </p:txBody>
      </p:sp>
      <p:sp>
        <p:nvSpPr>
          <p:cNvPr id="234" name="矩形: 圆角 233"/>
          <p:cNvSpPr/>
          <p:nvPr/>
        </p:nvSpPr>
        <p:spPr>
          <a:xfrm>
            <a:off x="356331" y="5497011"/>
            <a:ext cx="4662207" cy="660902"/>
          </a:xfrm>
          <a:prstGeom prst="roundRect">
            <a:avLst>
              <a:gd name="adj" fmla="val 8187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235" name="TextBox 9"/>
          <p:cNvSpPr txBox="1"/>
          <p:nvPr/>
        </p:nvSpPr>
        <p:spPr>
          <a:xfrm>
            <a:off x="1974097" y="5186983"/>
            <a:ext cx="1426674" cy="2769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zh-CN"/>
            </a:defPPr>
            <a:lvl1pPr algn="ctr" defTabSz="1088390">
              <a:spcBef>
                <a:spcPts val="600"/>
              </a:spcBef>
              <a:buClr>
                <a:srgbClr val="F0AB00"/>
              </a:buClr>
              <a:buSzPct val="80000"/>
              <a:defRPr kern="0">
                <a:solidFill>
                  <a:schemeClr val="accent1"/>
                </a:solidFill>
                <a:latin typeface="+mj-ea"/>
                <a:ea typeface="+mj-ea"/>
                <a:cs typeface="Arial Unicode MS" pitchFamily="34" charset="-128"/>
              </a:defRPr>
            </a:lvl1pPr>
          </a:lstStyle>
          <a:p>
            <a:r>
              <a:rPr lang="en-US" altLang="zh-CN" dirty="0">
                <a:latin typeface="+mn-ea"/>
                <a:ea typeface="+mn-ea"/>
              </a:rPr>
              <a:t>26</a:t>
            </a:r>
            <a:r>
              <a:rPr lang="zh-CN" altLang="en-US" dirty="0">
                <a:latin typeface="+mn-ea"/>
                <a:ea typeface="+mn-ea"/>
              </a:rPr>
              <a:t>个行业应用</a:t>
            </a:r>
            <a:endParaRPr lang="de-DE" altLang="zh-CN" dirty="0">
              <a:latin typeface="+mn-ea"/>
              <a:ea typeface="+mn-ea"/>
            </a:endParaRPr>
          </a:p>
        </p:txBody>
      </p:sp>
      <p:pic>
        <p:nvPicPr>
          <p:cNvPr id="239" name="Picture 2" descr="https://www.shopperscritique.com/wp-content/uploads/2011/05/automotive-icon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4837" y="5905755"/>
            <a:ext cx="207880" cy="155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" name="Picture 4" descr="http://www.davemanuel.com/images/bank_icon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639" y="5856999"/>
            <a:ext cx="353018" cy="253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1" name="Picture 6" descr="http://www.flaticon.com/png/256/31772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1204" y="5880054"/>
            <a:ext cx="207124" cy="207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2" name="Picture 14" descr="http://www.greenpeace.org/eastasia/Global/hk/publications/impact-reports/issue03/financial-summary/icon-toxic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6729" y="5604340"/>
            <a:ext cx="133042" cy="143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" name="Picture 14" descr="http://icons.iconarchive.com/icons/visualpharm/ios7v2/256/Industry-Engineering-icon.pn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360" y="5904621"/>
            <a:ext cx="157990" cy="157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4" name="Picture 16" descr="http://www.clker.com/cliparts/c/5/0/a/1339532743805901737Metal%20Icon.svg.hi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7286" y="5609927"/>
            <a:ext cx="189666" cy="13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" name="Picture 18" descr="Plants Trees Deciduous tree icon"/>
          <p:cNvPicPr>
            <a:picLocks noChangeAspect="1" noChangeArrowheads="1"/>
          </p:cNvPicPr>
          <p:nvPr/>
        </p:nvPicPr>
        <p:blipFill>
          <a:blip r:embed="rId1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267" y="5898196"/>
            <a:ext cx="170840" cy="17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" name="Picture 22" descr="http://unrestrictedstock.com/wp-content/uploads/medical-icons-testing-science-diagnostic-treatment-study-doctor-health-doctorsoffice-office-healthcare-care-sickness-illness-sick.jpg"/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45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961" y="5561740"/>
            <a:ext cx="351104" cy="22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7" name="Picture 34" descr="https://pushlegal.com/wp-content/uploads/2012/10/Search-Icon.png"/>
          <p:cNvPicPr>
            <a:picLocks noChangeAspect="1" noChangeArrowheads="1"/>
          </p:cNvPicPr>
          <p:nvPr/>
        </p:nvPicPr>
        <p:blipFill>
          <a:blip r:embed="rId1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contrast="-65000"/>
                    </a14:imgEffect>
                    <a14:imgEffect>
                      <a14:saturation sat="400000"/>
                    </a14:imgEffect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708" y="5910762"/>
            <a:ext cx="145708" cy="145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8" name="Picture 36" descr="http://megaicons.net/static/img/icons_title/8/178/title/industry-robot-icon.png"/>
          <p:cNvPicPr>
            <a:picLocks noChangeAspect="1" noChangeArrowheads="1"/>
          </p:cNvPicPr>
          <p:nvPr/>
        </p:nvPicPr>
        <p:blipFill>
          <a:blip r:embed="rId1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607" y="5906889"/>
            <a:ext cx="153454" cy="153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9" name="Picture 40" descr="http://mmbio.byu.edu/Portals/8/images/Careers/microscope.png"/>
          <p:cNvPicPr>
            <a:picLocks noChangeAspect="1" noChangeArrowheads="1"/>
          </p:cNvPicPr>
          <p:nvPr/>
        </p:nvPicPr>
        <p:blipFill>
          <a:blip r:embed="rId20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9047" y="5569189"/>
            <a:ext cx="218462" cy="213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0" name="Picture 50" descr="http://icons.greenmap.org/gallery/data/media/311/mining_site.gif"/>
          <p:cNvPicPr>
            <a:picLocks noChangeAspect="1" noChangeArrowheads="1"/>
          </p:cNvPicPr>
          <p:nvPr/>
        </p:nvPicPr>
        <p:blipFill>
          <a:blip r:embed="rId21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580" y="5605851"/>
            <a:ext cx="140602" cy="14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1" name="Picture 56" descr="http://etc-mysitemyway.s3.amazonaws.com/icons/legacy-previews/icons/blue-jelly-icons-sports-hobbies/043278-blue-jelly-icon-sports-hobbies-film-projector.png"/>
          <p:cNvPicPr>
            <a:picLocks noChangeAspect="1" noChangeArrowheads="1"/>
          </p:cNvPicPr>
          <p:nvPr/>
        </p:nvPicPr>
        <p:blipFill>
          <a:blip r:embed="rId22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1102" y="5873754"/>
            <a:ext cx="219724" cy="219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2" name="Picture 63"/>
          <p:cNvPicPr>
            <a:picLocks noChangeAspect="1" noChangeArrowheads="1"/>
          </p:cNvPicPr>
          <p:nvPr/>
        </p:nvPicPr>
        <p:blipFill>
          <a:blip r:embed="rId2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9314" y="5574858"/>
            <a:ext cx="89956" cy="20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" name="Picture 65" descr="http://symphonyventures.com.sg/symphonyshipping/wp-content/uploads/2013/05/icon1.png"/>
          <p:cNvPicPr>
            <a:picLocks noChangeAspect="1" noChangeArrowheads="1"/>
          </p:cNvPicPr>
          <p:nvPr/>
        </p:nvPicPr>
        <p:blipFill>
          <a:blip r:embed="rId2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427" y="5628151"/>
            <a:ext cx="271376" cy="96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4" name="Picture 67" descr="See full size image"/>
          <p:cNvPicPr>
            <a:picLocks noChangeAspect="1" noChangeArrowheads="1"/>
          </p:cNvPicPr>
          <p:nvPr/>
        </p:nvPicPr>
        <p:blipFill>
          <a:blip r:embed="rId2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8959" y="5605225"/>
            <a:ext cx="120578" cy="141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8" name="矩形: 圆角 237"/>
          <p:cNvSpPr/>
          <p:nvPr/>
        </p:nvSpPr>
        <p:spPr>
          <a:xfrm>
            <a:off x="356331" y="2913044"/>
            <a:ext cx="4662207" cy="642697"/>
          </a:xfrm>
          <a:prstGeom prst="roundRect">
            <a:avLst>
              <a:gd name="adj" fmla="val 8187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269" name="文本框 268"/>
          <p:cNvSpPr txBox="1"/>
          <p:nvPr/>
        </p:nvSpPr>
        <p:spPr>
          <a:xfrm>
            <a:off x="474754" y="2971438"/>
            <a:ext cx="4538339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划痕、缺胶、缺角、偏移、异物、漏材、气泡等</a:t>
            </a:r>
            <a:endParaRPr lang="en-US" altLang="zh-CN" sz="1200" kern="0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  <a:p>
            <a:pPr marL="177800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字符识别、弯曲识别</a:t>
            </a:r>
          </a:p>
        </p:txBody>
      </p:sp>
      <p:sp>
        <p:nvSpPr>
          <p:cNvPr id="270" name="TextBox 9"/>
          <p:cNvSpPr txBox="1"/>
          <p:nvPr/>
        </p:nvSpPr>
        <p:spPr>
          <a:xfrm>
            <a:off x="1811392" y="2603016"/>
            <a:ext cx="1752083" cy="2769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zh-CN"/>
            </a:defPPr>
            <a:lvl1pPr algn="ctr" defTabSz="1088390">
              <a:spcBef>
                <a:spcPts val="600"/>
              </a:spcBef>
              <a:buClr>
                <a:srgbClr val="F0AB00"/>
              </a:buClr>
              <a:buSzPct val="80000"/>
              <a:defRPr sz="2000" kern="0">
                <a:solidFill>
                  <a:schemeClr val="accent1"/>
                </a:solidFill>
                <a:latin typeface="+mj-ea"/>
                <a:ea typeface="+mj-ea"/>
                <a:cs typeface="Arial Unicode MS" pitchFamily="34" charset="-128"/>
              </a:defRPr>
            </a:lvl1pPr>
          </a:lstStyle>
          <a:p>
            <a:r>
              <a:rPr lang="en-US" altLang="zh-CN" sz="1800" dirty="0">
                <a:latin typeface="+mn-ea"/>
                <a:ea typeface="+mn-ea"/>
                <a:sym typeface="+mn-lt"/>
              </a:rPr>
              <a:t>300+ </a:t>
            </a:r>
            <a:r>
              <a:rPr lang="zh-CN" altLang="en-US" sz="1800" dirty="0">
                <a:latin typeface="+mn-ea"/>
                <a:ea typeface="+mn-ea"/>
                <a:sym typeface="+mn-lt"/>
              </a:rPr>
              <a:t>种处理任务</a:t>
            </a:r>
          </a:p>
        </p:txBody>
      </p:sp>
      <p:sp>
        <p:nvSpPr>
          <p:cNvPr id="236" name="矩形: 圆角 235"/>
          <p:cNvSpPr/>
          <p:nvPr/>
        </p:nvSpPr>
        <p:spPr>
          <a:xfrm>
            <a:off x="356331" y="4104468"/>
            <a:ext cx="4662207" cy="843816"/>
          </a:xfrm>
          <a:prstGeom prst="roundRect">
            <a:avLst>
              <a:gd name="adj" fmla="val 8187"/>
            </a:avLst>
          </a:prstGeom>
          <a:solidFill>
            <a:schemeClr val="accent1">
              <a:alpha val="7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237" name="TextBox 9"/>
          <p:cNvSpPr txBox="1"/>
          <p:nvPr/>
        </p:nvSpPr>
        <p:spPr>
          <a:xfrm>
            <a:off x="2225769" y="3794440"/>
            <a:ext cx="923330" cy="2769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zh-CN"/>
            </a:defPPr>
            <a:lvl1pPr algn="ctr" defTabSz="1088390">
              <a:spcBef>
                <a:spcPts val="600"/>
              </a:spcBef>
              <a:buClr>
                <a:srgbClr val="F0AB00"/>
              </a:buClr>
              <a:buSzPct val="80000"/>
              <a:defRPr sz="2000" kern="0">
                <a:solidFill>
                  <a:schemeClr val="accent1"/>
                </a:solidFill>
                <a:latin typeface="+mj-ea"/>
                <a:ea typeface="+mj-ea"/>
                <a:cs typeface="Arial Unicode MS" pitchFamily="34" charset="-128"/>
              </a:defRPr>
            </a:lvl1pPr>
          </a:lstStyle>
          <a:p>
            <a:r>
              <a:rPr lang="zh-CN" altLang="en-US" sz="1800" dirty="0">
                <a:latin typeface="+mn-ea"/>
                <a:ea typeface="+mn-ea"/>
              </a:rPr>
              <a:t>降本增效</a:t>
            </a:r>
            <a:endParaRPr lang="de-DE" altLang="zh-CN" sz="1800" dirty="0">
              <a:latin typeface="+mn-ea"/>
              <a:ea typeface="+mn-ea"/>
            </a:endParaRPr>
          </a:p>
        </p:txBody>
      </p:sp>
      <p:grpSp>
        <p:nvGrpSpPr>
          <p:cNvPr id="255" name="组合 254"/>
          <p:cNvGrpSpPr/>
          <p:nvPr/>
        </p:nvGrpSpPr>
        <p:grpSpPr>
          <a:xfrm>
            <a:off x="2794410" y="4209060"/>
            <a:ext cx="194622" cy="194622"/>
            <a:chOff x="8959802" y="5849462"/>
            <a:chExt cx="540000" cy="540000"/>
          </a:xfrm>
        </p:grpSpPr>
        <p:sp>
          <p:nvSpPr>
            <p:cNvPr id="256" name="任意多边形: 形状 255"/>
            <p:cNvSpPr/>
            <p:nvPr/>
          </p:nvSpPr>
          <p:spPr>
            <a:xfrm>
              <a:off x="8959802" y="5849462"/>
              <a:ext cx="540000" cy="540000"/>
            </a:xfrm>
            <a:custGeom>
              <a:avLst/>
              <a:gdLst>
                <a:gd name="connsiteX0" fmla="*/ 376798 w 376797"/>
                <a:gd name="connsiteY0" fmla="*/ 188399 h 376797"/>
                <a:gd name="connsiteX1" fmla="*/ 188399 w 376797"/>
                <a:gd name="connsiteY1" fmla="*/ 376798 h 376797"/>
                <a:gd name="connsiteX2" fmla="*/ 0 w 376797"/>
                <a:gd name="connsiteY2" fmla="*/ 188399 h 376797"/>
                <a:gd name="connsiteX3" fmla="*/ 188399 w 376797"/>
                <a:gd name="connsiteY3" fmla="*/ 0 h 376797"/>
                <a:gd name="connsiteX4" fmla="*/ 376798 w 376797"/>
                <a:gd name="connsiteY4" fmla="*/ 188399 h 37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797" h="376797">
                  <a:moveTo>
                    <a:pt x="376798" y="188399"/>
                  </a:moveTo>
                  <a:cubicBezTo>
                    <a:pt x="376798" y="292449"/>
                    <a:pt x="292449" y="376798"/>
                    <a:pt x="188399" y="376798"/>
                  </a:cubicBezTo>
                  <a:cubicBezTo>
                    <a:pt x="84349" y="376798"/>
                    <a:pt x="0" y="292449"/>
                    <a:pt x="0" y="188399"/>
                  </a:cubicBezTo>
                  <a:cubicBezTo>
                    <a:pt x="0" y="84349"/>
                    <a:pt x="84349" y="0"/>
                    <a:pt x="188399" y="0"/>
                  </a:cubicBezTo>
                  <a:cubicBezTo>
                    <a:pt x="292448" y="0"/>
                    <a:pt x="376798" y="84349"/>
                    <a:pt x="376798" y="188399"/>
                  </a:cubicBez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/>
            <p:cNvSpPr/>
            <p:nvPr/>
          </p:nvSpPr>
          <p:spPr>
            <a:xfrm>
              <a:off x="9076411" y="6064308"/>
              <a:ext cx="306782" cy="110309"/>
            </a:xfrm>
            <a:custGeom>
              <a:avLst/>
              <a:gdLst>
                <a:gd name="connsiteX0" fmla="*/ 0 w 210348"/>
                <a:gd name="connsiteY0" fmla="*/ 78652 h 78651"/>
                <a:gd name="connsiteX1" fmla="*/ 69506 w 210348"/>
                <a:gd name="connsiteY1" fmla="*/ 3658 h 78651"/>
                <a:gd name="connsiteX2" fmla="*/ 140842 w 210348"/>
                <a:gd name="connsiteY2" fmla="*/ 78652 h 78651"/>
                <a:gd name="connsiteX3" fmla="*/ 210348 w 210348"/>
                <a:gd name="connsiteY3" fmla="*/ 0 h 7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348" h="78651">
                  <a:moveTo>
                    <a:pt x="0" y="78652"/>
                  </a:moveTo>
                  <a:lnTo>
                    <a:pt x="69506" y="3658"/>
                  </a:lnTo>
                  <a:lnTo>
                    <a:pt x="140842" y="78652"/>
                  </a:lnTo>
                  <a:lnTo>
                    <a:pt x="210348" y="0"/>
                  </a:lnTo>
                </a:path>
              </a:pathLst>
            </a:custGeom>
            <a:noFill/>
            <a:ln w="6350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258" name="组合 257"/>
          <p:cNvGrpSpPr/>
          <p:nvPr/>
        </p:nvGrpSpPr>
        <p:grpSpPr>
          <a:xfrm>
            <a:off x="4250908" y="4209060"/>
            <a:ext cx="194622" cy="194622"/>
            <a:chOff x="11086914" y="4628117"/>
            <a:chExt cx="194622" cy="194622"/>
          </a:xfrm>
        </p:grpSpPr>
        <p:sp>
          <p:nvSpPr>
            <p:cNvPr id="259" name="任意多边形: 形状 258"/>
            <p:cNvSpPr/>
            <p:nvPr/>
          </p:nvSpPr>
          <p:spPr>
            <a:xfrm>
              <a:off x="11086914" y="4628117"/>
              <a:ext cx="194622" cy="194622"/>
            </a:xfrm>
            <a:custGeom>
              <a:avLst/>
              <a:gdLst>
                <a:gd name="connsiteX0" fmla="*/ 376798 w 376797"/>
                <a:gd name="connsiteY0" fmla="*/ 188399 h 376797"/>
                <a:gd name="connsiteX1" fmla="*/ 188399 w 376797"/>
                <a:gd name="connsiteY1" fmla="*/ 376798 h 376797"/>
                <a:gd name="connsiteX2" fmla="*/ 0 w 376797"/>
                <a:gd name="connsiteY2" fmla="*/ 188399 h 376797"/>
                <a:gd name="connsiteX3" fmla="*/ 188399 w 376797"/>
                <a:gd name="connsiteY3" fmla="*/ 0 h 376797"/>
                <a:gd name="connsiteX4" fmla="*/ 376798 w 376797"/>
                <a:gd name="connsiteY4" fmla="*/ 188399 h 37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797" h="376797">
                  <a:moveTo>
                    <a:pt x="376798" y="188399"/>
                  </a:moveTo>
                  <a:cubicBezTo>
                    <a:pt x="376798" y="292449"/>
                    <a:pt x="292449" y="376798"/>
                    <a:pt x="188399" y="376798"/>
                  </a:cubicBezTo>
                  <a:cubicBezTo>
                    <a:pt x="84349" y="376798"/>
                    <a:pt x="0" y="292449"/>
                    <a:pt x="0" y="188399"/>
                  </a:cubicBezTo>
                  <a:cubicBezTo>
                    <a:pt x="0" y="84349"/>
                    <a:pt x="84349" y="0"/>
                    <a:pt x="188399" y="0"/>
                  </a:cubicBezTo>
                  <a:cubicBezTo>
                    <a:pt x="292449" y="0"/>
                    <a:pt x="376798" y="84349"/>
                    <a:pt x="376798" y="188399"/>
                  </a:cubicBez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60" name="组合 259"/>
            <p:cNvGrpSpPr/>
            <p:nvPr/>
          </p:nvGrpSpPr>
          <p:grpSpPr>
            <a:xfrm>
              <a:off x="11152574" y="4673502"/>
              <a:ext cx="63301" cy="103853"/>
              <a:chOff x="10297281" y="6024887"/>
              <a:chExt cx="175636" cy="288153"/>
            </a:xfrm>
          </p:grpSpPr>
          <p:grpSp>
            <p:nvGrpSpPr>
              <p:cNvPr id="261" name="图形 2070"/>
              <p:cNvGrpSpPr/>
              <p:nvPr/>
            </p:nvGrpSpPr>
            <p:grpSpPr>
              <a:xfrm>
                <a:off x="10297281" y="6024887"/>
                <a:ext cx="175636" cy="254077"/>
                <a:chOff x="2673072" y="3642300"/>
                <a:chExt cx="130440" cy="184112"/>
              </a:xfrm>
              <a:solidFill>
                <a:srgbClr val="B6252D"/>
              </a:solidFill>
            </p:grpSpPr>
            <p:sp>
              <p:nvSpPr>
                <p:cNvPr id="263" name="任意多边形: 形状 262"/>
                <p:cNvSpPr/>
                <p:nvPr/>
              </p:nvSpPr>
              <p:spPr>
                <a:xfrm>
                  <a:off x="2673072" y="3645958"/>
                  <a:ext cx="72536" cy="180454"/>
                </a:xfrm>
                <a:custGeom>
                  <a:avLst/>
                  <a:gdLst>
                    <a:gd name="connsiteX0" fmla="*/ 63391 w 72536"/>
                    <a:gd name="connsiteY0" fmla="*/ 180455 h 180454"/>
                    <a:gd name="connsiteX1" fmla="*/ 56075 w 72536"/>
                    <a:gd name="connsiteY1" fmla="*/ 173138 h 180454"/>
                    <a:gd name="connsiteX2" fmla="*/ 56075 w 72536"/>
                    <a:gd name="connsiteY2" fmla="*/ 92657 h 180454"/>
                    <a:gd name="connsiteX3" fmla="*/ 1201 w 72536"/>
                    <a:gd name="connsiteY3" fmla="*/ 12176 h 180454"/>
                    <a:gd name="connsiteX4" fmla="*/ 3031 w 72536"/>
                    <a:gd name="connsiteY4" fmla="*/ 1201 h 180454"/>
                    <a:gd name="connsiteX5" fmla="*/ 14005 w 72536"/>
                    <a:gd name="connsiteY5" fmla="*/ 3031 h 180454"/>
                    <a:gd name="connsiteX6" fmla="*/ 70708 w 72536"/>
                    <a:gd name="connsiteY6" fmla="*/ 85341 h 180454"/>
                    <a:gd name="connsiteX7" fmla="*/ 72537 w 72536"/>
                    <a:gd name="connsiteY7" fmla="*/ 88999 h 180454"/>
                    <a:gd name="connsiteX8" fmla="*/ 72537 w 72536"/>
                    <a:gd name="connsiteY8" fmla="*/ 171309 h 180454"/>
                    <a:gd name="connsiteX9" fmla="*/ 63391 w 72536"/>
                    <a:gd name="connsiteY9" fmla="*/ 180455 h 180454"/>
                    <a:gd name="connsiteX10" fmla="*/ 63391 w 72536"/>
                    <a:gd name="connsiteY10" fmla="*/ 180455 h 180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2536" h="180454">
                      <a:moveTo>
                        <a:pt x="63391" y="180455"/>
                      </a:moveTo>
                      <a:cubicBezTo>
                        <a:pt x="59733" y="180455"/>
                        <a:pt x="56075" y="176796"/>
                        <a:pt x="56075" y="173138"/>
                      </a:cubicBezTo>
                      <a:lnTo>
                        <a:pt x="56075" y="92657"/>
                      </a:lnTo>
                      <a:lnTo>
                        <a:pt x="1201" y="12176"/>
                      </a:lnTo>
                      <a:cubicBezTo>
                        <a:pt x="-628" y="8518"/>
                        <a:pt x="-628" y="3031"/>
                        <a:pt x="3031" y="1201"/>
                      </a:cubicBezTo>
                      <a:cubicBezTo>
                        <a:pt x="6689" y="-628"/>
                        <a:pt x="12176" y="-628"/>
                        <a:pt x="14005" y="3031"/>
                      </a:cubicBezTo>
                      <a:lnTo>
                        <a:pt x="70708" y="85341"/>
                      </a:lnTo>
                      <a:cubicBezTo>
                        <a:pt x="70708" y="87170"/>
                        <a:pt x="72537" y="88999"/>
                        <a:pt x="72537" y="88999"/>
                      </a:cubicBezTo>
                      <a:lnTo>
                        <a:pt x="72537" y="171309"/>
                      </a:lnTo>
                      <a:cubicBezTo>
                        <a:pt x="70708" y="176796"/>
                        <a:pt x="67050" y="180455"/>
                        <a:pt x="63391" y="180455"/>
                      </a:cubicBezTo>
                      <a:lnTo>
                        <a:pt x="63391" y="18045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4" name="任意多边形: 形状 263"/>
                <p:cNvSpPr/>
                <p:nvPr/>
              </p:nvSpPr>
              <p:spPr>
                <a:xfrm>
                  <a:off x="2731604" y="3642300"/>
                  <a:ext cx="71909" cy="98144"/>
                </a:xfrm>
                <a:custGeom>
                  <a:avLst/>
                  <a:gdLst>
                    <a:gd name="connsiteX0" fmla="*/ 6689 w 71909"/>
                    <a:gd name="connsiteY0" fmla="*/ 98145 h 98144"/>
                    <a:gd name="connsiteX1" fmla="*/ 3031 w 71909"/>
                    <a:gd name="connsiteY1" fmla="*/ 96315 h 98144"/>
                    <a:gd name="connsiteX2" fmla="*/ 1201 w 71909"/>
                    <a:gd name="connsiteY2" fmla="*/ 85341 h 98144"/>
                    <a:gd name="connsiteX3" fmla="*/ 57904 w 71909"/>
                    <a:gd name="connsiteY3" fmla="*/ 3031 h 98144"/>
                    <a:gd name="connsiteX4" fmla="*/ 68879 w 71909"/>
                    <a:gd name="connsiteY4" fmla="*/ 1201 h 98144"/>
                    <a:gd name="connsiteX5" fmla="*/ 70708 w 71909"/>
                    <a:gd name="connsiteY5" fmla="*/ 12176 h 98144"/>
                    <a:gd name="connsiteX6" fmla="*/ 14005 w 71909"/>
                    <a:gd name="connsiteY6" fmla="*/ 94486 h 98144"/>
                    <a:gd name="connsiteX7" fmla="*/ 6689 w 71909"/>
                    <a:gd name="connsiteY7" fmla="*/ 98145 h 98144"/>
                    <a:gd name="connsiteX8" fmla="*/ 6689 w 71909"/>
                    <a:gd name="connsiteY8" fmla="*/ 98145 h 98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909" h="98144">
                      <a:moveTo>
                        <a:pt x="6689" y="98145"/>
                      </a:moveTo>
                      <a:cubicBezTo>
                        <a:pt x="4860" y="98145"/>
                        <a:pt x="3031" y="98145"/>
                        <a:pt x="3031" y="96315"/>
                      </a:cubicBezTo>
                      <a:cubicBezTo>
                        <a:pt x="-628" y="94486"/>
                        <a:pt x="-628" y="88999"/>
                        <a:pt x="1201" y="85341"/>
                      </a:cubicBezTo>
                      <a:lnTo>
                        <a:pt x="57904" y="3031"/>
                      </a:lnTo>
                      <a:cubicBezTo>
                        <a:pt x="59733" y="-628"/>
                        <a:pt x="65220" y="-628"/>
                        <a:pt x="68879" y="1201"/>
                      </a:cubicBezTo>
                      <a:cubicBezTo>
                        <a:pt x="72537" y="3031"/>
                        <a:pt x="72537" y="8518"/>
                        <a:pt x="70708" y="12176"/>
                      </a:cubicBezTo>
                      <a:lnTo>
                        <a:pt x="14005" y="94486"/>
                      </a:lnTo>
                      <a:cubicBezTo>
                        <a:pt x="12176" y="96315"/>
                        <a:pt x="10347" y="98145"/>
                        <a:pt x="6689" y="98145"/>
                      </a:cubicBezTo>
                      <a:lnTo>
                        <a:pt x="6689" y="9814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5" name="任意多边形: 形状 264"/>
                <p:cNvSpPr/>
                <p:nvPr/>
              </p:nvSpPr>
              <p:spPr>
                <a:xfrm>
                  <a:off x="2676103" y="3725811"/>
                  <a:ext cx="115234" cy="53044"/>
                </a:xfrm>
                <a:custGeom>
                  <a:avLst/>
                  <a:gdLst>
                    <a:gd name="connsiteX0" fmla="*/ 107918 w 115234"/>
                    <a:gd name="connsiteY0" fmla="*/ 14633 h 53044"/>
                    <a:gd name="connsiteX1" fmla="*/ 7316 w 115234"/>
                    <a:gd name="connsiteY1" fmla="*/ 14633 h 53044"/>
                    <a:gd name="connsiteX2" fmla="*/ 0 w 115234"/>
                    <a:gd name="connsiteY2" fmla="*/ 7316 h 53044"/>
                    <a:gd name="connsiteX3" fmla="*/ 7316 w 115234"/>
                    <a:gd name="connsiteY3" fmla="*/ 0 h 53044"/>
                    <a:gd name="connsiteX4" fmla="*/ 107918 w 115234"/>
                    <a:gd name="connsiteY4" fmla="*/ 0 h 53044"/>
                    <a:gd name="connsiteX5" fmla="*/ 115234 w 115234"/>
                    <a:gd name="connsiteY5" fmla="*/ 7316 h 53044"/>
                    <a:gd name="connsiteX6" fmla="*/ 107918 w 115234"/>
                    <a:gd name="connsiteY6" fmla="*/ 14633 h 53044"/>
                    <a:gd name="connsiteX7" fmla="*/ 107918 w 115234"/>
                    <a:gd name="connsiteY7" fmla="*/ 14633 h 53044"/>
                    <a:gd name="connsiteX8" fmla="*/ 107918 w 115234"/>
                    <a:gd name="connsiteY8" fmla="*/ 53044 h 53044"/>
                    <a:gd name="connsiteX9" fmla="*/ 7316 w 115234"/>
                    <a:gd name="connsiteY9" fmla="*/ 53044 h 53044"/>
                    <a:gd name="connsiteX10" fmla="*/ 0 w 115234"/>
                    <a:gd name="connsiteY10" fmla="*/ 45728 h 53044"/>
                    <a:gd name="connsiteX11" fmla="*/ 7316 w 115234"/>
                    <a:gd name="connsiteY11" fmla="*/ 38411 h 53044"/>
                    <a:gd name="connsiteX12" fmla="*/ 107918 w 115234"/>
                    <a:gd name="connsiteY12" fmla="*/ 38411 h 53044"/>
                    <a:gd name="connsiteX13" fmla="*/ 115234 w 115234"/>
                    <a:gd name="connsiteY13" fmla="*/ 45728 h 53044"/>
                    <a:gd name="connsiteX14" fmla="*/ 107918 w 115234"/>
                    <a:gd name="connsiteY14" fmla="*/ 53044 h 53044"/>
                    <a:gd name="connsiteX15" fmla="*/ 107918 w 115234"/>
                    <a:gd name="connsiteY15" fmla="*/ 53044 h 53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234" h="53044">
                      <a:moveTo>
                        <a:pt x="107918" y="14633"/>
                      </a:moveTo>
                      <a:lnTo>
                        <a:pt x="7316" y="14633"/>
                      </a:lnTo>
                      <a:cubicBezTo>
                        <a:pt x="3658" y="14633"/>
                        <a:pt x="0" y="10975"/>
                        <a:pt x="0" y="7316"/>
                      </a:cubicBezTo>
                      <a:cubicBezTo>
                        <a:pt x="0" y="3658"/>
                        <a:pt x="3658" y="0"/>
                        <a:pt x="7316" y="0"/>
                      </a:cubicBezTo>
                      <a:lnTo>
                        <a:pt x="107918" y="0"/>
                      </a:lnTo>
                      <a:cubicBezTo>
                        <a:pt x="111576" y="0"/>
                        <a:pt x="115234" y="3658"/>
                        <a:pt x="115234" y="7316"/>
                      </a:cubicBezTo>
                      <a:cubicBezTo>
                        <a:pt x="115234" y="10975"/>
                        <a:pt x="111576" y="14633"/>
                        <a:pt x="107918" y="14633"/>
                      </a:cubicBezTo>
                      <a:lnTo>
                        <a:pt x="107918" y="14633"/>
                      </a:lnTo>
                      <a:close/>
                      <a:moveTo>
                        <a:pt x="107918" y="53044"/>
                      </a:moveTo>
                      <a:lnTo>
                        <a:pt x="7316" y="53044"/>
                      </a:lnTo>
                      <a:cubicBezTo>
                        <a:pt x="3658" y="53044"/>
                        <a:pt x="0" y="49386"/>
                        <a:pt x="0" y="45728"/>
                      </a:cubicBezTo>
                      <a:cubicBezTo>
                        <a:pt x="0" y="42070"/>
                        <a:pt x="3658" y="38411"/>
                        <a:pt x="7316" y="38411"/>
                      </a:cubicBezTo>
                      <a:lnTo>
                        <a:pt x="107918" y="38411"/>
                      </a:lnTo>
                      <a:cubicBezTo>
                        <a:pt x="111576" y="38411"/>
                        <a:pt x="115234" y="42070"/>
                        <a:pt x="115234" y="45728"/>
                      </a:cubicBezTo>
                      <a:cubicBezTo>
                        <a:pt x="115234" y="49386"/>
                        <a:pt x="111576" y="53044"/>
                        <a:pt x="107918" y="53044"/>
                      </a:cubicBezTo>
                      <a:lnTo>
                        <a:pt x="107918" y="53044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62" name="任意多边形: 形状 261"/>
              <p:cNvSpPr/>
              <p:nvPr/>
            </p:nvSpPr>
            <p:spPr>
              <a:xfrm>
                <a:off x="10353563" y="6258771"/>
                <a:ext cx="57088" cy="54269"/>
              </a:xfrm>
              <a:custGeom>
                <a:avLst/>
                <a:gdLst>
                  <a:gd name="connsiteX0" fmla="*/ 27080 w 42398"/>
                  <a:gd name="connsiteY0" fmla="*/ 36582 h 39325"/>
                  <a:gd name="connsiteX1" fmla="*/ 41713 w 42398"/>
                  <a:gd name="connsiteY1" fmla="*/ 10975 h 39325"/>
                  <a:gd name="connsiteX2" fmla="*/ 36226 w 42398"/>
                  <a:gd name="connsiteY2" fmla="*/ 0 h 39325"/>
                  <a:gd name="connsiteX3" fmla="*/ 6960 w 42398"/>
                  <a:gd name="connsiteY3" fmla="*/ 0 h 39325"/>
                  <a:gd name="connsiteX4" fmla="*/ 1473 w 42398"/>
                  <a:gd name="connsiteY4" fmla="*/ 10975 h 39325"/>
                  <a:gd name="connsiteX5" fmla="*/ 16105 w 42398"/>
                  <a:gd name="connsiteY5" fmla="*/ 36582 h 39325"/>
                  <a:gd name="connsiteX6" fmla="*/ 27080 w 42398"/>
                  <a:gd name="connsiteY6" fmla="*/ 36582 h 39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398" h="39325">
                    <a:moveTo>
                      <a:pt x="27080" y="36582"/>
                    </a:moveTo>
                    <a:lnTo>
                      <a:pt x="41713" y="10975"/>
                    </a:lnTo>
                    <a:cubicBezTo>
                      <a:pt x="43542" y="7316"/>
                      <a:pt x="41713" y="0"/>
                      <a:pt x="36226" y="0"/>
                    </a:cubicBezTo>
                    <a:lnTo>
                      <a:pt x="6960" y="0"/>
                    </a:lnTo>
                    <a:cubicBezTo>
                      <a:pt x="1473" y="0"/>
                      <a:pt x="-2186" y="5487"/>
                      <a:pt x="1473" y="10975"/>
                    </a:cubicBezTo>
                    <a:lnTo>
                      <a:pt x="16105" y="36582"/>
                    </a:lnTo>
                    <a:cubicBezTo>
                      <a:pt x="17935" y="40241"/>
                      <a:pt x="25251" y="40241"/>
                      <a:pt x="27080" y="365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66" name="文本框 265"/>
          <p:cNvSpPr txBox="1"/>
          <p:nvPr/>
        </p:nvSpPr>
        <p:spPr>
          <a:xfrm>
            <a:off x="488732" y="4420679"/>
            <a:ext cx="15079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替代人力</a:t>
            </a:r>
            <a:br>
              <a:rPr lang="en-US" altLang="zh-CN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</a:br>
            <a:r>
              <a:rPr lang="zh-CN" altLang="en-US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实现</a:t>
            </a:r>
            <a:r>
              <a:rPr lang="en-US" altLang="zh-CN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100%</a:t>
            </a:r>
            <a:r>
              <a:rPr lang="zh-CN" altLang="en-US" sz="1200" kern="0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全检</a:t>
            </a:r>
          </a:p>
        </p:txBody>
      </p:sp>
      <p:sp>
        <p:nvSpPr>
          <p:cNvPr id="267" name="文本框 266"/>
          <p:cNvSpPr txBox="1"/>
          <p:nvPr/>
        </p:nvSpPr>
        <p:spPr>
          <a:xfrm>
            <a:off x="2330240" y="4420679"/>
            <a:ext cx="1122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spcBef>
                <a:spcPts val="600"/>
              </a:spcBef>
              <a:defRPr sz="1200" kern="0">
                <a:latin typeface="微软雅黑" panose="020B0503020204020204" charset="-122"/>
                <a:ea typeface="微软雅黑" panose="020B0503020204020204" charset="-122"/>
                <a:cs typeface="+mn-ea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  <a:t>机器提速</a:t>
            </a:r>
            <a:b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</a:b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  <a:t>产能提高</a:t>
            </a:r>
          </a:p>
        </p:txBody>
      </p:sp>
      <p:sp>
        <p:nvSpPr>
          <p:cNvPr id="268" name="文本框 267"/>
          <p:cNvSpPr txBox="1"/>
          <p:nvPr/>
        </p:nvSpPr>
        <p:spPr>
          <a:xfrm>
            <a:off x="3786738" y="4420679"/>
            <a:ext cx="1122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spcBef>
                <a:spcPts val="600"/>
              </a:spcBef>
              <a:defRPr sz="1200" kern="0">
                <a:latin typeface="微软雅黑" panose="020B0503020204020204" charset="-122"/>
                <a:ea typeface="微软雅黑" panose="020B0503020204020204" charset="-122"/>
                <a:cs typeface="+mn-ea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  <a:t>降低漏检</a:t>
            </a:r>
            <a:b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</a:b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lt"/>
              </a:rPr>
              <a:t>节约成本</a:t>
            </a:r>
          </a:p>
        </p:txBody>
      </p:sp>
      <p:grpSp>
        <p:nvGrpSpPr>
          <p:cNvPr id="271" name="组合 270"/>
          <p:cNvGrpSpPr/>
          <p:nvPr/>
        </p:nvGrpSpPr>
        <p:grpSpPr>
          <a:xfrm>
            <a:off x="1145407" y="4209060"/>
            <a:ext cx="194622" cy="194622"/>
            <a:chOff x="8058180" y="5712570"/>
            <a:chExt cx="540000" cy="540000"/>
          </a:xfrm>
        </p:grpSpPr>
        <p:sp>
          <p:nvSpPr>
            <p:cNvPr id="272" name="robotic-arm_22464"/>
            <p:cNvSpPr/>
            <p:nvPr/>
          </p:nvSpPr>
          <p:spPr>
            <a:xfrm>
              <a:off x="8172116" y="5822950"/>
              <a:ext cx="312128" cy="319240"/>
            </a:xfrm>
            <a:custGeom>
              <a:avLst/>
              <a:gdLst>
                <a:gd name="connsiteX0" fmla="*/ 213903 w 591826"/>
                <a:gd name="connsiteY0" fmla="*/ 528437 h 605310"/>
                <a:gd name="connsiteX1" fmla="*/ 213903 w 591826"/>
                <a:gd name="connsiteY1" fmla="*/ 587588 h 605310"/>
                <a:gd name="connsiteX2" fmla="*/ 401549 w 591826"/>
                <a:gd name="connsiteY2" fmla="*/ 587588 h 605310"/>
                <a:gd name="connsiteX3" fmla="*/ 401549 w 591826"/>
                <a:gd name="connsiteY3" fmla="*/ 528437 h 605310"/>
                <a:gd name="connsiteX4" fmla="*/ 182552 w 591826"/>
                <a:gd name="connsiteY4" fmla="*/ 364794 h 605310"/>
                <a:gd name="connsiteX5" fmla="*/ 162727 w 591826"/>
                <a:gd name="connsiteY5" fmla="*/ 392413 h 605310"/>
                <a:gd name="connsiteX6" fmla="*/ 132528 w 591826"/>
                <a:gd name="connsiteY6" fmla="*/ 413588 h 605310"/>
                <a:gd name="connsiteX7" fmla="*/ 230270 w 591826"/>
                <a:gd name="connsiteY7" fmla="*/ 511175 h 605310"/>
                <a:gd name="connsiteX8" fmla="*/ 329165 w 591826"/>
                <a:gd name="connsiteY8" fmla="*/ 511175 h 605310"/>
                <a:gd name="connsiteX9" fmla="*/ 176097 w 591826"/>
                <a:gd name="connsiteY9" fmla="*/ 333492 h 605310"/>
                <a:gd name="connsiteX10" fmla="*/ 353831 w 591826"/>
                <a:gd name="connsiteY10" fmla="*/ 510715 h 605310"/>
                <a:gd name="connsiteX11" fmla="*/ 419299 w 591826"/>
                <a:gd name="connsiteY11" fmla="*/ 510715 h 605310"/>
                <a:gd name="connsiteX12" fmla="*/ 419299 w 591826"/>
                <a:gd name="connsiteY12" fmla="*/ 605310 h 605310"/>
                <a:gd name="connsiteX13" fmla="*/ 196152 w 591826"/>
                <a:gd name="connsiteY13" fmla="*/ 605310 h 605310"/>
                <a:gd name="connsiteX14" fmla="*/ 196152 w 591826"/>
                <a:gd name="connsiteY14" fmla="*/ 510715 h 605310"/>
                <a:gd name="connsiteX15" fmla="*/ 204912 w 591826"/>
                <a:gd name="connsiteY15" fmla="*/ 510715 h 605310"/>
                <a:gd name="connsiteX16" fmla="*/ 100485 w 591826"/>
                <a:gd name="connsiteY16" fmla="*/ 406453 h 605310"/>
                <a:gd name="connsiteX17" fmla="*/ 114086 w 591826"/>
                <a:gd name="connsiteY17" fmla="*/ 402080 h 605310"/>
                <a:gd name="connsiteX18" fmla="*/ 150278 w 591826"/>
                <a:gd name="connsiteY18" fmla="*/ 379984 h 605310"/>
                <a:gd name="connsiteX19" fmla="*/ 171486 w 591826"/>
                <a:gd name="connsiteY19" fmla="*/ 346611 h 605310"/>
                <a:gd name="connsiteX20" fmla="*/ 85314 w 591826"/>
                <a:gd name="connsiteY20" fmla="*/ 273159 h 605310"/>
                <a:gd name="connsiteX21" fmla="*/ 119186 w 591826"/>
                <a:gd name="connsiteY21" fmla="*/ 306995 h 605310"/>
                <a:gd name="connsiteX22" fmla="*/ 85314 w 591826"/>
                <a:gd name="connsiteY22" fmla="*/ 340831 h 605310"/>
                <a:gd name="connsiteX23" fmla="*/ 51442 w 591826"/>
                <a:gd name="connsiteY23" fmla="*/ 306995 h 605310"/>
                <a:gd name="connsiteX24" fmla="*/ 85314 w 591826"/>
                <a:gd name="connsiteY24" fmla="*/ 273159 h 605310"/>
                <a:gd name="connsiteX25" fmla="*/ 85304 w 591826"/>
                <a:gd name="connsiteY25" fmla="*/ 243034 h 605310"/>
                <a:gd name="connsiteX26" fmla="*/ 21211 w 591826"/>
                <a:gd name="connsiteY26" fmla="*/ 307022 h 605310"/>
                <a:gd name="connsiteX27" fmla="*/ 85304 w 591826"/>
                <a:gd name="connsiteY27" fmla="*/ 371009 h 605310"/>
                <a:gd name="connsiteX28" fmla="*/ 149398 w 591826"/>
                <a:gd name="connsiteY28" fmla="*/ 307022 h 605310"/>
                <a:gd name="connsiteX29" fmla="*/ 85304 w 591826"/>
                <a:gd name="connsiteY29" fmla="*/ 243034 h 605310"/>
                <a:gd name="connsiteX30" fmla="*/ 85304 w 591826"/>
                <a:gd name="connsiteY30" fmla="*/ 221858 h 605310"/>
                <a:gd name="connsiteX31" fmla="*/ 170378 w 591826"/>
                <a:gd name="connsiteY31" fmla="*/ 298275 h 605310"/>
                <a:gd name="connsiteX32" fmla="*/ 170839 w 591826"/>
                <a:gd name="connsiteY32" fmla="*/ 307022 h 605310"/>
                <a:gd name="connsiteX33" fmla="*/ 85304 w 591826"/>
                <a:gd name="connsiteY33" fmla="*/ 392415 h 605310"/>
                <a:gd name="connsiteX34" fmla="*/ 0 w 591826"/>
                <a:gd name="connsiteY34" fmla="*/ 307022 h 605310"/>
                <a:gd name="connsiteX35" fmla="*/ 85304 w 591826"/>
                <a:gd name="connsiteY35" fmla="*/ 221858 h 605310"/>
                <a:gd name="connsiteX36" fmla="*/ 376835 w 591826"/>
                <a:gd name="connsiteY36" fmla="*/ 80557 h 605310"/>
                <a:gd name="connsiteX37" fmla="*/ 361854 w 591826"/>
                <a:gd name="connsiteY37" fmla="*/ 88613 h 605310"/>
                <a:gd name="connsiteX38" fmla="*/ 371534 w 591826"/>
                <a:gd name="connsiteY38" fmla="*/ 107487 h 605310"/>
                <a:gd name="connsiteX39" fmla="*/ 160887 w 591826"/>
                <a:gd name="connsiteY39" fmla="*/ 218656 h 605310"/>
                <a:gd name="connsiteX40" fmla="*/ 181168 w 591826"/>
                <a:gd name="connsiteY40" fmla="*/ 245815 h 605310"/>
                <a:gd name="connsiteX41" fmla="*/ 192692 w 591826"/>
                <a:gd name="connsiteY41" fmla="*/ 281030 h 605310"/>
                <a:gd name="connsiteX42" fmla="*/ 404491 w 591826"/>
                <a:gd name="connsiteY42" fmla="*/ 169170 h 605310"/>
                <a:gd name="connsiteX43" fmla="*/ 414401 w 591826"/>
                <a:gd name="connsiteY43" fmla="*/ 187814 h 605310"/>
                <a:gd name="connsiteX44" fmla="*/ 431225 w 591826"/>
                <a:gd name="connsiteY44" fmla="*/ 178837 h 605310"/>
                <a:gd name="connsiteX45" fmla="*/ 413479 w 591826"/>
                <a:gd name="connsiteY45" fmla="*/ 0 h 605310"/>
                <a:gd name="connsiteX46" fmla="*/ 548533 w 591826"/>
                <a:gd name="connsiteY46" fmla="*/ 8516 h 605310"/>
                <a:gd name="connsiteX47" fmla="*/ 555677 w 591826"/>
                <a:gd name="connsiteY47" fmla="*/ 11739 h 605310"/>
                <a:gd name="connsiteX48" fmla="*/ 557982 w 591826"/>
                <a:gd name="connsiteY48" fmla="*/ 19104 h 605310"/>
                <a:gd name="connsiteX49" fmla="*/ 552681 w 591826"/>
                <a:gd name="connsiteY49" fmla="*/ 27390 h 605310"/>
                <a:gd name="connsiteX50" fmla="*/ 548072 w 591826"/>
                <a:gd name="connsiteY50" fmla="*/ 28541 h 605310"/>
                <a:gd name="connsiteX51" fmla="*/ 547150 w 591826"/>
                <a:gd name="connsiteY51" fmla="*/ 28541 h 605310"/>
                <a:gd name="connsiteX52" fmla="*/ 419932 w 591826"/>
                <a:gd name="connsiteY52" fmla="*/ 20485 h 605310"/>
                <a:gd name="connsiteX53" fmla="*/ 396655 w 591826"/>
                <a:gd name="connsiteY53" fmla="*/ 79867 h 605310"/>
                <a:gd name="connsiteX54" fmla="*/ 441135 w 591826"/>
                <a:gd name="connsiteY54" fmla="*/ 160424 h 605310"/>
                <a:gd name="connsiteX55" fmla="*/ 510736 w 591826"/>
                <a:gd name="connsiteY55" fmla="*/ 174234 h 605310"/>
                <a:gd name="connsiteX56" fmla="*/ 572962 w 591826"/>
                <a:gd name="connsiteY56" fmla="*/ 63065 h 605310"/>
                <a:gd name="connsiteX57" fmla="*/ 576880 w 591826"/>
                <a:gd name="connsiteY57" fmla="*/ 59152 h 605310"/>
                <a:gd name="connsiteX58" fmla="*/ 586790 w 591826"/>
                <a:gd name="connsiteY58" fmla="*/ 59152 h 605310"/>
                <a:gd name="connsiteX59" fmla="*/ 590478 w 591826"/>
                <a:gd name="connsiteY59" fmla="*/ 72732 h 605310"/>
                <a:gd name="connsiteX60" fmla="*/ 524795 w 591826"/>
                <a:gd name="connsiteY60" fmla="*/ 190576 h 605310"/>
                <a:gd name="connsiteX61" fmla="*/ 516037 w 591826"/>
                <a:gd name="connsiteY61" fmla="*/ 195639 h 605310"/>
                <a:gd name="connsiteX62" fmla="*/ 513963 w 591826"/>
                <a:gd name="connsiteY62" fmla="*/ 195409 h 605310"/>
                <a:gd name="connsiteX63" fmla="*/ 455194 w 591826"/>
                <a:gd name="connsiteY63" fmla="*/ 183671 h 605310"/>
                <a:gd name="connsiteX64" fmla="*/ 457268 w 591826"/>
                <a:gd name="connsiteY64" fmla="*/ 186433 h 605310"/>
                <a:gd name="connsiteX65" fmla="*/ 447127 w 591826"/>
                <a:gd name="connsiteY65" fmla="*/ 190346 h 605310"/>
                <a:gd name="connsiteX66" fmla="*/ 407026 w 591826"/>
                <a:gd name="connsiteY66" fmla="*/ 211751 h 605310"/>
                <a:gd name="connsiteX67" fmla="*/ 397116 w 591826"/>
                <a:gd name="connsiteY67" fmla="*/ 192877 h 605310"/>
                <a:gd name="connsiteX68" fmla="*/ 176328 w 591826"/>
                <a:gd name="connsiteY68" fmla="*/ 309570 h 605310"/>
                <a:gd name="connsiteX69" fmla="*/ 176098 w 591826"/>
                <a:gd name="connsiteY69" fmla="*/ 295070 h 605310"/>
                <a:gd name="connsiteX70" fmla="*/ 165727 w 591826"/>
                <a:gd name="connsiteY70" fmla="*/ 254101 h 605310"/>
                <a:gd name="connsiteX71" fmla="*/ 139915 w 591826"/>
                <a:gd name="connsiteY71" fmla="*/ 223949 h 605310"/>
                <a:gd name="connsiteX72" fmla="*/ 128852 w 591826"/>
                <a:gd name="connsiteY72" fmla="*/ 215664 h 605310"/>
                <a:gd name="connsiteX73" fmla="*/ 347796 w 591826"/>
                <a:gd name="connsiteY73" fmla="*/ 100121 h 605310"/>
                <a:gd name="connsiteX74" fmla="*/ 337886 w 591826"/>
                <a:gd name="connsiteY74" fmla="*/ 81248 h 605310"/>
                <a:gd name="connsiteX75" fmla="*/ 383979 w 591826"/>
                <a:gd name="connsiteY75" fmla="*/ 57081 h 605310"/>
                <a:gd name="connsiteX76" fmla="*/ 404030 w 591826"/>
                <a:gd name="connsiteY76" fmla="*/ 6445 h 605310"/>
                <a:gd name="connsiteX77" fmla="*/ 413479 w 591826"/>
                <a:gd name="connsiteY77" fmla="*/ 0 h 60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591826" h="605310">
                  <a:moveTo>
                    <a:pt x="213903" y="528437"/>
                  </a:moveTo>
                  <a:lnTo>
                    <a:pt x="213903" y="587588"/>
                  </a:lnTo>
                  <a:lnTo>
                    <a:pt x="401549" y="587588"/>
                  </a:lnTo>
                  <a:cubicBezTo>
                    <a:pt x="401549" y="587588"/>
                    <a:pt x="401549" y="528437"/>
                    <a:pt x="401549" y="528437"/>
                  </a:cubicBezTo>
                  <a:close/>
                  <a:moveTo>
                    <a:pt x="182552" y="364794"/>
                  </a:moveTo>
                  <a:cubicBezTo>
                    <a:pt x="177480" y="375151"/>
                    <a:pt x="170795" y="384357"/>
                    <a:pt x="162727" y="392413"/>
                  </a:cubicBezTo>
                  <a:cubicBezTo>
                    <a:pt x="153967" y="401159"/>
                    <a:pt x="143824" y="408294"/>
                    <a:pt x="132528" y="413588"/>
                  </a:cubicBezTo>
                  <a:lnTo>
                    <a:pt x="230270" y="511175"/>
                  </a:lnTo>
                  <a:lnTo>
                    <a:pt x="329165" y="511175"/>
                  </a:lnTo>
                  <a:close/>
                  <a:moveTo>
                    <a:pt x="176097" y="333492"/>
                  </a:moveTo>
                  <a:lnTo>
                    <a:pt x="353831" y="510715"/>
                  </a:lnTo>
                  <a:lnTo>
                    <a:pt x="419299" y="510715"/>
                  </a:lnTo>
                  <a:lnTo>
                    <a:pt x="419299" y="605310"/>
                  </a:lnTo>
                  <a:lnTo>
                    <a:pt x="196152" y="605310"/>
                  </a:lnTo>
                  <a:lnTo>
                    <a:pt x="196152" y="510715"/>
                  </a:lnTo>
                  <a:lnTo>
                    <a:pt x="204912" y="510715"/>
                  </a:lnTo>
                  <a:lnTo>
                    <a:pt x="100485" y="406453"/>
                  </a:lnTo>
                  <a:lnTo>
                    <a:pt x="114086" y="402080"/>
                  </a:lnTo>
                  <a:cubicBezTo>
                    <a:pt x="127917" y="397477"/>
                    <a:pt x="140135" y="390111"/>
                    <a:pt x="150278" y="379984"/>
                  </a:cubicBezTo>
                  <a:cubicBezTo>
                    <a:pt x="159730" y="370548"/>
                    <a:pt x="166876" y="359270"/>
                    <a:pt x="171486" y="346611"/>
                  </a:cubicBezTo>
                  <a:close/>
                  <a:moveTo>
                    <a:pt x="85314" y="273159"/>
                  </a:moveTo>
                  <a:cubicBezTo>
                    <a:pt x="104021" y="273159"/>
                    <a:pt x="119186" y="288308"/>
                    <a:pt x="119186" y="306995"/>
                  </a:cubicBezTo>
                  <a:cubicBezTo>
                    <a:pt x="119186" y="325682"/>
                    <a:pt x="104021" y="340831"/>
                    <a:pt x="85314" y="340831"/>
                  </a:cubicBezTo>
                  <a:cubicBezTo>
                    <a:pt x="66607" y="340831"/>
                    <a:pt x="51442" y="325682"/>
                    <a:pt x="51442" y="306995"/>
                  </a:cubicBezTo>
                  <a:cubicBezTo>
                    <a:pt x="51442" y="288308"/>
                    <a:pt x="66607" y="273159"/>
                    <a:pt x="85314" y="273159"/>
                  </a:cubicBezTo>
                  <a:close/>
                  <a:moveTo>
                    <a:pt x="85304" y="243034"/>
                  </a:moveTo>
                  <a:cubicBezTo>
                    <a:pt x="50030" y="243034"/>
                    <a:pt x="21211" y="271805"/>
                    <a:pt x="21211" y="307022"/>
                  </a:cubicBezTo>
                  <a:cubicBezTo>
                    <a:pt x="21211" y="342468"/>
                    <a:pt x="50030" y="371009"/>
                    <a:pt x="85304" y="371009"/>
                  </a:cubicBezTo>
                  <a:cubicBezTo>
                    <a:pt x="120809" y="371009"/>
                    <a:pt x="149398" y="342468"/>
                    <a:pt x="149398" y="307022"/>
                  </a:cubicBezTo>
                  <a:cubicBezTo>
                    <a:pt x="149398" y="271805"/>
                    <a:pt x="120809" y="243034"/>
                    <a:pt x="85304" y="243034"/>
                  </a:cubicBezTo>
                  <a:close/>
                  <a:moveTo>
                    <a:pt x="85304" y="221858"/>
                  </a:moveTo>
                  <a:cubicBezTo>
                    <a:pt x="129340" y="221858"/>
                    <a:pt x="165998" y="254773"/>
                    <a:pt x="170378" y="298275"/>
                  </a:cubicBezTo>
                  <a:cubicBezTo>
                    <a:pt x="170609" y="301267"/>
                    <a:pt x="170839" y="304029"/>
                    <a:pt x="170839" y="307022"/>
                  </a:cubicBezTo>
                  <a:cubicBezTo>
                    <a:pt x="170839" y="354207"/>
                    <a:pt x="132568" y="392415"/>
                    <a:pt x="85304" y="392415"/>
                  </a:cubicBezTo>
                  <a:cubicBezTo>
                    <a:pt x="38271" y="392415"/>
                    <a:pt x="0" y="353977"/>
                    <a:pt x="0" y="307022"/>
                  </a:cubicBezTo>
                  <a:cubicBezTo>
                    <a:pt x="0" y="260067"/>
                    <a:pt x="38271" y="221858"/>
                    <a:pt x="85304" y="221858"/>
                  </a:cubicBezTo>
                  <a:close/>
                  <a:moveTo>
                    <a:pt x="376835" y="80557"/>
                  </a:moveTo>
                  <a:lnTo>
                    <a:pt x="361854" y="88613"/>
                  </a:lnTo>
                  <a:lnTo>
                    <a:pt x="371534" y="107487"/>
                  </a:lnTo>
                  <a:lnTo>
                    <a:pt x="160887" y="218656"/>
                  </a:lnTo>
                  <a:cubicBezTo>
                    <a:pt x="168954" y="226711"/>
                    <a:pt x="175868" y="235688"/>
                    <a:pt x="181168" y="245815"/>
                  </a:cubicBezTo>
                  <a:cubicBezTo>
                    <a:pt x="187160" y="256863"/>
                    <a:pt x="190848" y="268601"/>
                    <a:pt x="192692" y="281030"/>
                  </a:cubicBezTo>
                  <a:lnTo>
                    <a:pt x="404491" y="169170"/>
                  </a:lnTo>
                  <a:lnTo>
                    <a:pt x="414401" y="187814"/>
                  </a:lnTo>
                  <a:lnTo>
                    <a:pt x="431225" y="178837"/>
                  </a:lnTo>
                  <a:close/>
                  <a:moveTo>
                    <a:pt x="413479" y="0"/>
                  </a:moveTo>
                  <a:lnTo>
                    <a:pt x="548533" y="8516"/>
                  </a:lnTo>
                  <a:cubicBezTo>
                    <a:pt x="551298" y="8516"/>
                    <a:pt x="553833" y="9897"/>
                    <a:pt x="555677" y="11739"/>
                  </a:cubicBezTo>
                  <a:cubicBezTo>
                    <a:pt x="557290" y="13810"/>
                    <a:pt x="558212" y="16342"/>
                    <a:pt x="557982" y="19104"/>
                  </a:cubicBezTo>
                  <a:cubicBezTo>
                    <a:pt x="557751" y="22556"/>
                    <a:pt x="555908" y="25779"/>
                    <a:pt x="552681" y="27390"/>
                  </a:cubicBezTo>
                  <a:cubicBezTo>
                    <a:pt x="551298" y="28080"/>
                    <a:pt x="549685" y="28541"/>
                    <a:pt x="548072" y="28541"/>
                  </a:cubicBezTo>
                  <a:lnTo>
                    <a:pt x="547150" y="28541"/>
                  </a:lnTo>
                  <a:lnTo>
                    <a:pt x="419932" y="20485"/>
                  </a:lnTo>
                  <a:lnTo>
                    <a:pt x="396655" y="79867"/>
                  </a:lnTo>
                  <a:lnTo>
                    <a:pt x="441135" y="160424"/>
                  </a:lnTo>
                  <a:lnTo>
                    <a:pt x="510736" y="174234"/>
                  </a:lnTo>
                  <a:lnTo>
                    <a:pt x="572962" y="63065"/>
                  </a:lnTo>
                  <a:cubicBezTo>
                    <a:pt x="573884" y="61454"/>
                    <a:pt x="575267" y="60073"/>
                    <a:pt x="576880" y="59152"/>
                  </a:cubicBezTo>
                  <a:cubicBezTo>
                    <a:pt x="579876" y="57541"/>
                    <a:pt x="583794" y="57541"/>
                    <a:pt x="586790" y="59152"/>
                  </a:cubicBezTo>
                  <a:cubicBezTo>
                    <a:pt x="591630" y="61914"/>
                    <a:pt x="593243" y="67898"/>
                    <a:pt x="590478" y="72732"/>
                  </a:cubicBezTo>
                  <a:lnTo>
                    <a:pt x="524795" y="190576"/>
                  </a:lnTo>
                  <a:cubicBezTo>
                    <a:pt x="522951" y="193568"/>
                    <a:pt x="519494" y="195639"/>
                    <a:pt x="516037" y="195639"/>
                  </a:cubicBezTo>
                  <a:cubicBezTo>
                    <a:pt x="515345" y="195639"/>
                    <a:pt x="514654" y="195639"/>
                    <a:pt x="513963" y="195409"/>
                  </a:cubicBezTo>
                  <a:lnTo>
                    <a:pt x="455194" y="183671"/>
                  </a:lnTo>
                  <a:lnTo>
                    <a:pt x="457268" y="186433"/>
                  </a:lnTo>
                  <a:lnTo>
                    <a:pt x="447127" y="190346"/>
                  </a:lnTo>
                  <a:lnTo>
                    <a:pt x="407026" y="211751"/>
                  </a:lnTo>
                  <a:lnTo>
                    <a:pt x="397116" y="192877"/>
                  </a:lnTo>
                  <a:lnTo>
                    <a:pt x="176328" y="309570"/>
                  </a:lnTo>
                  <a:lnTo>
                    <a:pt x="176098" y="295070"/>
                  </a:lnTo>
                  <a:cubicBezTo>
                    <a:pt x="175868" y="280570"/>
                    <a:pt x="172411" y="266760"/>
                    <a:pt x="165727" y="254101"/>
                  </a:cubicBezTo>
                  <a:cubicBezTo>
                    <a:pt x="159504" y="242362"/>
                    <a:pt x="150747" y="232235"/>
                    <a:pt x="139915" y="223949"/>
                  </a:cubicBezTo>
                  <a:lnTo>
                    <a:pt x="128852" y="215664"/>
                  </a:lnTo>
                  <a:lnTo>
                    <a:pt x="347796" y="100121"/>
                  </a:lnTo>
                  <a:lnTo>
                    <a:pt x="337886" y="81248"/>
                  </a:lnTo>
                  <a:lnTo>
                    <a:pt x="383979" y="57081"/>
                  </a:lnTo>
                  <a:lnTo>
                    <a:pt x="404030" y="6445"/>
                  </a:lnTo>
                  <a:cubicBezTo>
                    <a:pt x="405643" y="2302"/>
                    <a:pt x="409100" y="0"/>
                    <a:pt x="41347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任意多边形: 形状 272"/>
            <p:cNvSpPr/>
            <p:nvPr/>
          </p:nvSpPr>
          <p:spPr>
            <a:xfrm>
              <a:off x="8058180" y="5712570"/>
              <a:ext cx="540000" cy="540000"/>
            </a:xfrm>
            <a:custGeom>
              <a:avLst/>
              <a:gdLst>
                <a:gd name="connsiteX0" fmla="*/ 376798 w 376797"/>
                <a:gd name="connsiteY0" fmla="*/ 188399 h 376797"/>
                <a:gd name="connsiteX1" fmla="*/ 188399 w 376797"/>
                <a:gd name="connsiteY1" fmla="*/ 376798 h 376797"/>
                <a:gd name="connsiteX2" fmla="*/ 0 w 376797"/>
                <a:gd name="connsiteY2" fmla="*/ 188399 h 376797"/>
                <a:gd name="connsiteX3" fmla="*/ 188399 w 376797"/>
                <a:gd name="connsiteY3" fmla="*/ 0 h 376797"/>
                <a:gd name="connsiteX4" fmla="*/ 376798 w 376797"/>
                <a:gd name="connsiteY4" fmla="*/ 188399 h 37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797" h="376797">
                  <a:moveTo>
                    <a:pt x="376798" y="188399"/>
                  </a:moveTo>
                  <a:cubicBezTo>
                    <a:pt x="376798" y="292449"/>
                    <a:pt x="292449" y="376798"/>
                    <a:pt x="188399" y="376798"/>
                  </a:cubicBezTo>
                  <a:cubicBezTo>
                    <a:pt x="84349" y="376798"/>
                    <a:pt x="0" y="292449"/>
                    <a:pt x="0" y="188399"/>
                  </a:cubicBezTo>
                  <a:cubicBezTo>
                    <a:pt x="0" y="84349"/>
                    <a:pt x="84349" y="0"/>
                    <a:pt x="188399" y="0"/>
                  </a:cubicBezTo>
                  <a:cubicBezTo>
                    <a:pt x="292448" y="0"/>
                    <a:pt x="376798" y="84349"/>
                    <a:pt x="376798" y="188399"/>
                  </a:cubicBezTo>
                  <a:close/>
                </a:path>
              </a:pathLst>
            </a:custGeom>
            <a:noFill/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</p:grpSp>
      <p:grpSp>
        <p:nvGrpSpPr>
          <p:cNvPr id="274" name="组合 273"/>
          <p:cNvGrpSpPr/>
          <p:nvPr/>
        </p:nvGrpSpPr>
        <p:grpSpPr>
          <a:xfrm>
            <a:off x="1924700" y="4617459"/>
            <a:ext cx="473869" cy="83394"/>
            <a:chOff x="5679281" y="2226379"/>
            <a:chExt cx="833438" cy="146672"/>
          </a:xfrm>
        </p:grpSpPr>
        <p:sp>
          <p:nvSpPr>
            <p:cNvPr id="275" name="任意多边形: 形状 274"/>
            <p:cNvSpPr/>
            <p:nvPr/>
          </p:nvSpPr>
          <p:spPr>
            <a:xfrm>
              <a:off x="5749123" y="2226379"/>
              <a:ext cx="763596" cy="126190"/>
            </a:xfrm>
            <a:custGeom>
              <a:avLst/>
              <a:gdLst>
                <a:gd name="connsiteX0" fmla="*/ 0 w 1528762"/>
                <a:gd name="connsiteY0" fmla="*/ 141208 h 260332"/>
                <a:gd name="connsiteX1" fmla="*/ 414337 w 1528762"/>
                <a:gd name="connsiteY1" fmla="*/ 3096 h 260332"/>
                <a:gd name="connsiteX2" fmla="*/ 976312 w 1528762"/>
                <a:gd name="connsiteY2" fmla="*/ 260271 h 260332"/>
                <a:gd name="connsiteX3" fmla="*/ 1528762 w 1528762"/>
                <a:gd name="connsiteY3" fmla="*/ 22146 h 2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762" h="260332">
                  <a:moveTo>
                    <a:pt x="0" y="141208"/>
                  </a:moveTo>
                  <a:cubicBezTo>
                    <a:pt x="125809" y="62230"/>
                    <a:pt x="251618" y="-16748"/>
                    <a:pt x="414337" y="3096"/>
                  </a:cubicBezTo>
                  <a:cubicBezTo>
                    <a:pt x="577056" y="22940"/>
                    <a:pt x="790575" y="257096"/>
                    <a:pt x="976312" y="260271"/>
                  </a:cubicBezTo>
                  <a:cubicBezTo>
                    <a:pt x="1162050" y="263446"/>
                    <a:pt x="1345406" y="142796"/>
                    <a:pt x="1528762" y="22146"/>
                  </a:cubicBezTo>
                </a:path>
              </a:pathLst>
            </a:cu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schemeClr val="tx1"/>
                </a:solidFill>
              </a:endParaRPr>
            </a:p>
          </p:txBody>
        </p:sp>
        <p:sp>
          <p:nvSpPr>
            <p:cNvPr id="276" name="任意多边形: 形状 275"/>
            <p:cNvSpPr/>
            <p:nvPr/>
          </p:nvSpPr>
          <p:spPr>
            <a:xfrm flipV="1">
              <a:off x="5679281" y="2246861"/>
              <a:ext cx="763596" cy="126190"/>
            </a:xfrm>
            <a:custGeom>
              <a:avLst/>
              <a:gdLst>
                <a:gd name="connsiteX0" fmla="*/ 0 w 1528762"/>
                <a:gd name="connsiteY0" fmla="*/ 141208 h 260332"/>
                <a:gd name="connsiteX1" fmla="*/ 414337 w 1528762"/>
                <a:gd name="connsiteY1" fmla="*/ 3096 h 260332"/>
                <a:gd name="connsiteX2" fmla="*/ 976312 w 1528762"/>
                <a:gd name="connsiteY2" fmla="*/ 260271 h 260332"/>
                <a:gd name="connsiteX3" fmla="*/ 1528762 w 1528762"/>
                <a:gd name="connsiteY3" fmla="*/ 22146 h 2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762" h="260332">
                  <a:moveTo>
                    <a:pt x="0" y="141208"/>
                  </a:moveTo>
                  <a:cubicBezTo>
                    <a:pt x="125809" y="62230"/>
                    <a:pt x="251618" y="-16748"/>
                    <a:pt x="414337" y="3096"/>
                  </a:cubicBezTo>
                  <a:cubicBezTo>
                    <a:pt x="577056" y="22940"/>
                    <a:pt x="790575" y="257096"/>
                    <a:pt x="976312" y="260271"/>
                  </a:cubicBezTo>
                  <a:cubicBezTo>
                    <a:pt x="1162050" y="263446"/>
                    <a:pt x="1345406" y="142796"/>
                    <a:pt x="1528762" y="22146"/>
                  </a:cubicBezTo>
                </a:path>
              </a:pathLst>
            </a:cu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277" name="组合 276"/>
          <p:cNvGrpSpPr/>
          <p:nvPr/>
        </p:nvGrpSpPr>
        <p:grpSpPr>
          <a:xfrm>
            <a:off x="3369325" y="4617459"/>
            <a:ext cx="473869" cy="83394"/>
            <a:chOff x="5679281" y="2226379"/>
            <a:chExt cx="833438" cy="146672"/>
          </a:xfrm>
        </p:grpSpPr>
        <p:sp>
          <p:nvSpPr>
            <p:cNvPr id="278" name="任意多边形: 形状 277"/>
            <p:cNvSpPr/>
            <p:nvPr/>
          </p:nvSpPr>
          <p:spPr>
            <a:xfrm>
              <a:off x="5749123" y="2226379"/>
              <a:ext cx="763596" cy="126190"/>
            </a:xfrm>
            <a:custGeom>
              <a:avLst/>
              <a:gdLst>
                <a:gd name="connsiteX0" fmla="*/ 0 w 1528762"/>
                <a:gd name="connsiteY0" fmla="*/ 141208 h 260332"/>
                <a:gd name="connsiteX1" fmla="*/ 414337 w 1528762"/>
                <a:gd name="connsiteY1" fmla="*/ 3096 h 260332"/>
                <a:gd name="connsiteX2" fmla="*/ 976312 w 1528762"/>
                <a:gd name="connsiteY2" fmla="*/ 260271 h 260332"/>
                <a:gd name="connsiteX3" fmla="*/ 1528762 w 1528762"/>
                <a:gd name="connsiteY3" fmla="*/ 22146 h 2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762" h="260332">
                  <a:moveTo>
                    <a:pt x="0" y="141208"/>
                  </a:moveTo>
                  <a:cubicBezTo>
                    <a:pt x="125809" y="62230"/>
                    <a:pt x="251618" y="-16748"/>
                    <a:pt x="414337" y="3096"/>
                  </a:cubicBezTo>
                  <a:cubicBezTo>
                    <a:pt x="577056" y="22940"/>
                    <a:pt x="790575" y="257096"/>
                    <a:pt x="976312" y="260271"/>
                  </a:cubicBezTo>
                  <a:cubicBezTo>
                    <a:pt x="1162050" y="263446"/>
                    <a:pt x="1345406" y="142796"/>
                    <a:pt x="1528762" y="22146"/>
                  </a:cubicBezTo>
                </a:path>
              </a:pathLst>
            </a:cu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schemeClr val="tx1"/>
                </a:solidFill>
              </a:endParaRPr>
            </a:p>
          </p:txBody>
        </p:sp>
        <p:sp>
          <p:nvSpPr>
            <p:cNvPr id="279" name="任意多边形: 形状 278"/>
            <p:cNvSpPr/>
            <p:nvPr/>
          </p:nvSpPr>
          <p:spPr>
            <a:xfrm flipV="1">
              <a:off x="5679281" y="2246861"/>
              <a:ext cx="763596" cy="126190"/>
            </a:xfrm>
            <a:custGeom>
              <a:avLst/>
              <a:gdLst>
                <a:gd name="connsiteX0" fmla="*/ 0 w 1528762"/>
                <a:gd name="connsiteY0" fmla="*/ 141208 h 260332"/>
                <a:gd name="connsiteX1" fmla="*/ 414337 w 1528762"/>
                <a:gd name="connsiteY1" fmla="*/ 3096 h 260332"/>
                <a:gd name="connsiteX2" fmla="*/ 976312 w 1528762"/>
                <a:gd name="connsiteY2" fmla="*/ 260271 h 260332"/>
                <a:gd name="connsiteX3" fmla="*/ 1528762 w 1528762"/>
                <a:gd name="connsiteY3" fmla="*/ 22146 h 2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762" h="260332">
                  <a:moveTo>
                    <a:pt x="0" y="141208"/>
                  </a:moveTo>
                  <a:cubicBezTo>
                    <a:pt x="125809" y="62230"/>
                    <a:pt x="251618" y="-16748"/>
                    <a:pt x="414337" y="3096"/>
                  </a:cubicBezTo>
                  <a:cubicBezTo>
                    <a:pt x="577056" y="22940"/>
                    <a:pt x="790575" y="257096"/>
                    <a:pt x="976312" y="260271"/>
                  </a:cubicBezTo>
                  <a:cubicBezTo>
                    <a:pt x="1162050" y="263446"/>
                    <a:pt x="1345406" y="142796"/>
                    <a:pt x="1528762" y="22146"/>
                  </a:cubicBezTo>
                </a:path>
              </a:pathLst>
            </a:custGeom>
            <a:noFill/>
            <a:ln w="3175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286" name="组合 285"/>
          <p:cNvGrpSpPr/>
          <p:nvPr/>
        </p:nvGrpSpPr>
        <p:grpSpPr>
          <a:xfrm>
            <a:off x="1063244" y="1210910"/>
            <a:ext cx="3248380" cy="966977"/>
            <a:chOff x="1063244" y="1261710"/>
            <a:chExt cx="3248380" cy="966977"/>
          </a:xfrm>
        </p:grpSpPr>
        <p:sp>
          <p:nvSpPr>
            <p:cNvPr id="228" name="文本框 227"/>
            <p:cNvSpPr txBox="1"/>
            <p:nvPr/>
          </p:nvSpPr>
          <p:spPr>
            <a:xfrm>
              <a:off x="1063244" y="1261710"/>
              <a:ext cx="152626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083310">
                <a:spcBef>
                  <a:spcPts val="1200"/>
                </a:spcBef>
                <a:buClr>
                  <a:srgbClr val="F0AB00"/>
                </a:buClr>
                <a:buSzPct val="80000"/>
                <a:defRPr/>
              </a:pPr>
              <a:r>
                <a:rPr lang="en-US" altLang="zh-CN" sz="36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1000</a:t>
              </a:r>
              <a:r>
                <a:rPr lang="en-US" altLang="zh-CN" sz="20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 </a:t>
              </a:r>
              <a:r>
                <a:rPr lang="en-US" altLang="zh-CN" sz="32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+</a:t>
              </a:r>
              <a:endParaRPr lang="en-US" altLang="zh-CN" sz="2400" kern="0" spc="-150" dirty="0">
                <a:solidFill>
                  <a:srgbClr val="000000"/>
                </a:solidFill>
                <a:latin typeface="+mn-ea"/>
                <a:cs typeface="Arial Unicode MS" pitchFamily="34" charset="-128"/>
              </a:endParaRPr>
            </a:p>
          </p:txBody>
        </p:sp>
        <p:sp>
          <p:nvSpPr>
            <p:cNvPr id="229" name="文本框 228"/>
            <p:cNvSpPr txBox="1"/>
            <p:nvPr/>
          </p:nvSpPr>
          <p:spPr>
            <a:xfrm>
              <a:off x="1063244" y="1859355"/>
              <a:ext cx="152626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083310">
                <a:spcBef>
                  <a:spcPts val="1200"/>
                </a:spcBef>
                <a:buClr>
                  <a:srgbClr val="F0AB00"/>
                </a:buClr>
                <a:buSzPct val="80000"/>
                <a:defRPr/>
              </a:pPr>
              <a:r>
                <a:rPr lang="zh-CN" altLang="en-US" kern="0" spc="-150" dirty="0">
                  <a:solidFill>
                    <a:srgbClr val="000000"/>
                  </a:solidFill>
                  <a:latin typeface="+mn-ea"/>
                  <a:cs typeface="Arial Unicode MS" pitchFamily="34" charset="-128"/>
                </a:rPr>
                <a:t>行业应用场景</a:t>
              </a:r>
              <a:endParaRPr lang="en-US" altLang="zh-CN" sz="2400" kern="0" spc="-150" dirty="0">
                <a:solidFill>
                  <a:srgbClr val="000000"/>
                </a:solidFill>
                <a:latin typeface="+mn-ea"/>
                <a:cs typeface="Arial Unicode MS" pitchFamily="34" charset="-128"/>
              </a:endParaRPr>
            </a:p>
          </p:txBody>
        </p:sp>
        <p:sp>
          <p:nvSpPr>
            <p:cNvPr id="231" name="文本框 230"/>
            <p:cNvSpPr txBox="1"/>
            <p:nvPr/>
          </p:nvSpPr>
          <p:spPr>
            <a:xfrm>
              <a:off x="2785364" y="1261710"/>
              <a:ext cx="152626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083310">
                <a:spcBef>
                  <a:spcPts val="1200"/>
                </a:spcBef>
                <a:buClr>
                  <a:srgbClr val="F0AB00"/>
                </a:buClr>
                <a:buSzPct val="80000"/>
                <a:defRPr/>
              </a:pPr>
              <a:r>
                <a:rPr lang="en-US" altLang="zh-CN" sz="36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300</a:t>
              </a:r>
              <a:r>
                <a:rPr lang="en-US" altLang="zh-CN" sz="20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 </a:t>
              </a:r>
              <a:r>
                <a:rPr lang="en-US" altLang="zh-CN" sz="3200" kern="0" spc="-15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+</a:t>
              </a:r>
              <a:endParaRPr lang="en-US" altLang="zh-CN" sz="2800" kern="0" spc="-150" dirty="0">
                <a:solidFill>
                  <a:schemeClr val="accent1"/>
                </a:solidFill>
                <a:latin typeface="+mn-ea"/>
                <a:cs typeface="Arial Unicode MS" pitchFamily="34" charset="-128"/>
              </a:endParaRPr>
            </a:p>
          </p:txBody>
        </p:sp>
        <p:sp>
          <p:nvSpPr>
            <p:cNvPr id="232" name="文本框 231"/>
            <p:cNvSpPr txBox="1"/>
            <p:nvPr/>
          </p:nvSpPr>
          <p:spPr>
            <a:xfrm>
              <a:off x="2785364" y="1859355"/>
              <a:ext cx="152626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083310">
                <a:spcBef>
                  <a:spcPts val="1200"/>
                </a:spcBef>
                <a:buClr>
                  <a:srgbClr val="F0AB00"/>
                </a:buClr>
                <a:buSzPct val="80000"/>
                <a:defRPr/>
              </a:pPr>
              <a:r>
                <a:rPr lang="zh-CN" altLang="en-US" sz="1800" kern="0" spc="-150" dirty="0">
                  <a:solidFill>
                    <a:srgbClr val="000000"/>
                  </a:solidFill>
                  <a:latin typeface="+mn-ea"/>
                  <a:cs typeface="Arial Unicode MS" pitchFamily="34" charset="-128"/>
                </a:rPr>
                <a:t>检测任务</a:t>
              </a:r>
              <a:endParaRPr lang="en-US" altLang="zh-CN" sz="2400" kern="0" spc="-150" dirty="0">
                <a:solidFill>
                  <a:srgbClr val="000000"/>
                </a:solidFill>
                <a:latin typeface="+mn-ea"/>
                <a:cs typeface="Arial Unicode MS" pitchFamily="34" charset="-128"/>
              </a:endParaRPr>
            </a:p>
          </p:txBody>
        </p:sp>
        <p:cxnSp>
          <p:nvCxnSpPr>
            <p:cNvPr id="281" name="直接连接符 280"/>
            <p:cNvCxnSpPr/>
            <p:nvPr/>
          </p:nvCxnSpPr>
          <p:spPr>
            <a:xfrm>
              <a:off x="1215348" y="1824615"/>
              <a:ext cx="1222052" cy="0"/>
            </a:xfrm>
            <a:prstGeom prst="line">
              <a:avLst/>
            </a:prstGeom>
            <a:ln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直接连接符 282"/>
            <p:cNvCxnSpPr/>
            <p:nvPr/>
          </p:nvCxnSpPr>
          <p:spPr>
            <a:xfrm>
              <a:off x="3077007" y="1824615"/>
              <a:ext cx="942975" cy="0"/>
            </a:xfrm>
            <a:prstGeom prst="line">
              <a:avLst/>
            </a:prstGeom>
            <a:ln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5" name="组合 314"/>
          <p:cNvGrpSpPr/>
          <p:nvPr/>
        </p:nvGrpSpPr>
        <p:grpSpPr>
          <a:xfrm>
            <a:off x="9300905" y="5533007"/>
            <a:ext cx="2169576" cy="288000"/>
            <a:chOff x="9300905" y="5533007"/>
            <a:chExt cx="2169576" cy="288000"/>
          </a:xfrm>
        </p:grpSpPr>
        <p:sp>
          <p:nvSpPr>
            <p:cNvPr id="289" name="TextBox 9"/>
            <p:cNvSpPr txBox="1"/>
            <p:nvPr/>
          </p:nvSpPr>
          <p:spPr>
            <a:xfrm>
              <a:off x="9300905" y="5533007"/>
              <a:ext cx="2169576" cy="288000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</p:spPr>
          <p:txBody>
            <a:bodyPr wrap="none" lIns="0" tIns="14400" rIns="0" bIns="0" anchor="ctr" anchorCtr="0">
              <a:noAutofit/>
            </a:bodyPr>
            <a:lstStyle/>
            <a:p>
              <a:pPr algn="ctr" defTabSz="1088390">
                <a:spcBef>
                  <a:spcPts val="600"/>
                </a:spcBef>
                <a:buClr>
                  <a:srgbClr val="F0AB00"/>
                </a:buClr>
                <a:buSzPct val="80000"/>
                <a:defRPr/>
              </a:pPr>
              <a:r>
                <a:rPr lang="zh-CN" altLang="en-US" sz="1400" kern="0" dirty="0">
                  <a:solidFill>
                    <a:schemeClr val="accent1"/>
                  </a:solidFill>
                  <a:latin typeface="+mn-ea"/>
                  <a:cs typeface="Arial Unicode MS" pitchFamily="34" charset="-128"/>
                </a:rPr>
                <a:t>布局海内外，辐射全世界</a:t>
              </a:r>
              <a:endParaRPr lang="de-DE" sz="1400" kern="0" dirty="0">
                <a:solidFill>
                  <a:schemeClr val="accent1"/>
                </a:solidFill>
                <a:latin typeface="+mn-ea"/>
                <a:cs typeface="Arial Unicode MS" pitchFamily="34" charset="-128"/>
              </a:endParaRPr>
            </a:p>
          </p:txBody>
        </p:sp>
        <p:sp>
          <p:nvSpPr>
            <p:cNvPr id="290" name="半闭框 289"/>
            <p:cNvSpPr/>
            <p:nvPr/>
          </p:nvSpPr>
          <p:spPr>
            <a:xfrm flipV="1">
              <a:off x="9300905" y="5775288"/>
              <a:ext cx="45719" cy="45719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91" name="半闭框 290"/>
            <p:cNvSpPr/>
            <p:nvPr/>
          </p:nvSpPr>
          <p:spPr>
            <a:xfrm>
              <a:off x="9300905" y="5533007"/>
              <a:ext cx="45719" cy="45719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92" name="半闭框 291"/>
            <p:cNvSpPr/>
            <p:nvPr/>
          </p:nvSpPr>
          <p:spPr>
            <a:xfrm flipH="1" flipV="1">
              <a:off x="11424762" y="5775288"/>
              <a:ext cx="45719" cy="45719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93" name="半闭框 292"/>
            <p:cNvSpPr/>
            <p:nvPr/>
          </p:nvSpPr>
          <p:spPr>
            <a:xfrm flipH="1">
              <a:off x="11424762" y="5533007"/>
              <a:ext cx="45719" cy="45719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9" name="组合 298"/>
          <p:cNvGrpSpPr/>
          <p:nvPr/>
        </p:nvGrpSpPr>
        <p:grpSpPr>
          <a:xfrm>
            <a:off x="10466174" y="4276586"/>
            <a:ext cx="90034" cy="115047"/>
            <a:chOff x="10637874" y="3784618"/>
            <a:chExt cx="1147836" cy="1466701"/>
          </a:xfrm>
        </p:grpSpPr>
        <p:sp>
          <p:nvSpPr>
            <p:cNvPr id="300" name="椭圆 299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1" name="任意多边形: 形状 300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0489986" y="4305161"/>
            <a:ext cx="90034" cy="115047"/>
            <a:chOff x="10637874" y="3784618"/>
            <a:chExt cx="1147836" cy="1466701"/>
          </a:xfrm>
        </p:grpSpPr>
        <p:sp>
          <p:nvSpPr>
            <p:cNvPr id="37" name="椭圆 36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任意多边形: 形状 37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302" name="矩形 301"/>
          <p:cNvSpPr/>
          <p:nvPr/>
        </p:nvSpPr>
        <p:spPr>
          <a:xfrm>
            <a:off x="10493510" y="3957343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Hangzhou</a:t>
            </a:r>
          </a:p>
          <a:p>
            <a:pPr algn="ctr"/>
            <a:r>
              <a:rPr lang="zh-CN" altLang="en-US" sz="700" dirty="0"/>
              <a:t>杭州</a:t>
            </a:r>
          </a:p>
        </p:txBody>
      </p:sp>
      <p:sp>
        <p:nvSpPr>
          <p:cNvPr id="303" name="等腰三角形 302"/>
          <p:cNvSpPr/>
          <p:nvPr/>
        </p:nvSpPr>
        <p:spPr>
          <a:xfrm rot="10800000">
            <a:off x="10526341" y="4169478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04" name="组合 303"/>
          <p:cNvGrpSpPr/>
          <p:nvPr/>
        </p:nvGrpSpPr>
        <p:grpSpPr>
          <a:xfrm>
            <a:off x="10111367" y="5000486"/>
            <a:ext cx="90034" cy="115047"/>
            <a:chOff x="10637874" y="3784618"/>
            <a:chExt cx="1147836" cy="1466701"/>
          </a:xfrm>
        </p:grpSpPr>
        <p:sp>
          <p:nvSpPr>
            <p:cNvPr id="305" name="椭圆 304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6" name="任意多边形: 形状 305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309" name="等腰三角形 308"/>
          <p:cNvSpPr/>
          <p:nvPr/>
        </p:nvSpPr>
        <p:spPr>
          <a:xfrm rot="16200000">
            <a:off x="10220392" y="5068831"/>
            <a:ext cx="63427" cy="5467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7" name="矩形 306"/>
          <p:cNvSpPr/>
          <p:nvPr/>
        </p:nvSpPr>
        <p:spPr>
          <a:xfrm>
            <a:off x="10277572" y="5028831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Singapore</a:t>
            </a:r>
          </a:p>
          <a:p>
            <a:pPr algn="ctr"/>
            <a:r>
              <a:rPr lang="zh-CN" altLang="en-US" sz="700" dirty="0"/>
              <a:t>新加坡</a:t>
            </a:r>
          </a:p>
        </p:txBody>
      </p:sp>
      <p:grpSp>
        <p:nvGrpSpPr>
          <p:cNvPr id="310" name="组合 309"/>
          <p:cNvGrpSpPr/>
          <p:nvPr/>
        </p:nvGrpSpPr>
        <p:grpSpPr>
          <a:xfrm>
            <a:off x="10247099" y="4336117"/>
            <a:ext cx="90034" cy="115047"/>
            <a:chOff x="10637874" y="3784618"/>
            <a:chExt cx="1147836" cy="1466701"/>
          </a:xfrm>
        </p:grpSpPr>
        <p:sp>
          <p:nvSpPr>
            <p:cNvPr id="311" name="椭圆 310"/>
            <p:cNvSpPr/>
            <p:nvPr/>
          </p:nvSpPr>
          <p:spPr>
            <a:xfrm>
              <a:off x="10916153" y="4030434"/>
              <a:ext cx="591279" cy="5912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2" name="任意多边形: 形状 311"/>
            <p:cNvSpPr/>
            <p:nvPr/>
          </p:nvSpPr>
          <p:spPr>
            <a:xfrm>
              <a:off x="10637874" y="3784618"/>
              <a:ext cx="1147836" cy="1466701"/>
            </a:xfrm>
            <a:custGeom>
              <a:avLst/>
              <a:gdLst>
                <a:gd name="connsiteX0" fmla="*/ 1147837 w 1147836"/>
                <a:gd name="connsiteY0" fmla="*/ 573919 h 1466701"/>
                <a:gd name="connsiteX1" fmla="*/ 573918 w 1147836"/>
                <a:gd name="connsiteY1" fmla="*/ 0 h 1466701"/>
                <a:gd name="connsiteX2" fmla="*/ 0 w 1147836"/>
                <a:gd name="connsiteY2" fmla="*/ 573919 h 1466701"/>
                <a:gd name="connsiteX3" fmla="*/ 487970 w 1147836"/>
                <a:gd name="connsiteY3" fmla="*/ 1415914 h 1466701"/>
                <a:gd name="connsiteX4" fmla="*/ 500621 w 1147836"/>
                <a:gd name="connsiteY4" fmla="*/ 1431541 h 1466701"/>
                <a:gd name="connsiteX5" fmla="*/ 574105 w 1147836"/>
                <a:gd name="connsiteY5" fmla="*/ 1466701 h 1466701"/>
                <a:gd name="connsiteX6" fmla="*/ 647588 w 1147836"/>
                <a:gd name="connsiteY6" fmla="*/ 1431541 h 1466701"/>
                <a:gd name="connsiteX7" fmla="*/ 660239 w 1147836"/>
                <a:gd name="connsiteY7" fmla="*/ 1415914 h 1466701"/>
                <a:gd name="connsiteX8" fmla="*/ 1147837 w 1147836"/>
                <a:gd name="connsiteY8" fmla="*/ 573919 h 1466701"/>
                <a:gd name="connsiteX9" fmla="*/ 570942 w 1147836"/>
                <a:gd name="connsiteY9" fmla="*/ 740234 h 1466701"/>
                <a:gd name="connsiteX10" fmla="*/ 358862 w 1147836"/>
                <a:gd name="connsiteY10" fmla="*/ 528154 h 1466701"/>
                <a:gd name="connsiteX11" fmla="*/ 570942 w 1147836"/>
                <a:gd name="connsiteY11" fmla="*/ 316074 h 1466701"/>
                <a:gd name="connsiteX12" fmla="*/ 783022 w 1147836"/>
                <a:gd name="connsiteY12" fmla="*/ 528154 h 1466701"/>
                <a:gd name="connsiteX13" fmla="*/ 570942 w 1147836"/>
                <a:gd name="connsiteY13" fmla="*/ 740234 h 146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7836" h="1466701">
                  <a:moveTo>
                    <a:pt x="1147837" y="573919"/>
                  </a:moveTo>
                  <a:cubicBezTo>
                    <a:pt x="1147837" y="241288"/>
                    <a:pt x="906363" y="0"/>
                    <a:pt x="573918" y="0"/>
                  </a:cubicBezTo>
                  <a:cubicBezTo>
                    <a:pt x="257473" y="0"/>
                    <a:pt x="0" y="257473"/>
                    <a:pt x="0" y="573919"/>
                  </a:cubicBezTo>
                  <a:cubicBezTo>
                    <a:pt x="0" y="807579"/>
                    <a:pt x="317376" y="1203275"/>
                    <a:pt x="487970" y="1415914"/>
                  </a:cubicBezTo>
                  <a:lnTo>
                    <a:pt x="500621" y="1431541"/>
                  </a:lnTo>
                  <a:cubicBezTo>
                    <a:pt x="518480" y="1453865"/>
                    <a:pt x="545269" y="1466701"/>
                    <a:pt x="574105" y="1466701"/>
                  </a:cubicBezTo>
                  <a:cubicBezTo>
                    <a:pt x="602754" y="1466701"/>
                    <a:pt x="629543" y="1453865"/>
                    <a:pt x="647588" y="1431541"/>
                  </a:cubicBezTo>
                  <a:lnTo>
                    <a:pt x="660239" y="1415914"/>
                  </a:lnTo>
                  <a:cubicBezTo>
                    <a:pt x="830461" y="1203275"/>
                    <a:pt x="1147837" y="807579"/>
                    <a:pt x="1147837" y="573919"/>
                  </a:cubicBezTo>
                  <a:close/>
                  <a:moveTo>
                    <a:pt x="570942" y="740234"/>
                  </a:moveTo>
                  <a:cubicBezTo>
                    <a:pt x="453926" y="740234"/>
                    <a:pt x="358862" y="645170"/>
                    <a:pt x="358862" y="528154"/>
                  </a:cubicBezTo>
                  <a:cubicBezTo>
                    <a:pt x="358862" y="411138"/>
                    <a:pt x="453926" y="316074"/>
                    <a:pt x="570942" y="316074"/>
                  </a:cubicBezTo>
                  <a:cubicBezTo>
                    <a:pt x="687958" y="316074"/>
                    <a:pt x="783022" y="411138"/>
                    <a:pt x="783022" y="528154"/>
                  </a:cubicBezTo>
                  <a:cubicBezTo>
                    <a:pt x="783022" y="645170"/>
                    <a:pt x="687958" y="740234"/>
                    <a:pt x="570942" y="740234"/>
                  </a:cubicBez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3" name="矩形 22"/>
          <p:cNvSpPr/>
          <p:nvPr/>
        </p:nvSpPr>
        <p:spPr>
          <a:xfrm>
            <a:off x="9893434" y="4176418"/>
            <a:ext cx="466628" cy="2215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600" dirty="0"/>
              <a:t>Suzhou</a:t>
            </a:r>
          </a:p>
          <a:p>
            <a:pPr algn="ctr"/>
            <a:r>
              <a:rPr lang="zh-CN" altLang="en-US" sz="700" dirty="0"/>
              <a:t>苏州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组合 37"/>
          <p:cNvGrpSpPr/>
          <p:nvPr/>
        </p:nvGrpSpPr>
        <p:grpSpPr>
          <a:xfrm flipH="1">
            <a:off x="1" y="0"/>
            <a:ext cx="12192000" cy="6858000"/>
            <a:chOff x="0" y="0"/>
            <a:chExt cx="8740775" cy="4924908"/>
          </a:xfrm>
        </p:grpSpPr>
        <p:pic>
          <p:nvPicPr>
            <p:cNvPr id="39" name="图片 38" descr="图片包含 户外, 雪, 动物, 人&#10;&#10;描述已自动生成"/>
            <p:cNvPicPr>
              <a:picLocks noChangeAspect="1"/>
            </p:cNvPicPr>
            <p:nvPr/>
          </p:nvPicPr>
          <p:blipFill rotWithShape="1">
            <a:blip r:embed="rId2" cstate="screen">
              <a:grayscl/>
            </a:blip>
            <a:srcRect/>
            <a:stretch>
              <a:fillRect/>
            </a:stretch>
          </p:blipFill>
          <p:spPr>
            <a:xfrm>
              <a:off x="0" y="0"/>
              <a:ext cx="7926705" cy="4924908"/>
            </a:xfrm>
            <a:prstGeom prst="rect">
              <a:avLst/>
            </a:prstGeom>
          </p:spPr>
        </p:pic>
        <p:pic>
          <p:nvPicPr>
            <p:cNvPr id="40" name="图片 39" descr="图片包含 户外, 雪, 动物, 人&#10;&#10;描述已自动生成"/>
            <p:cNvPicPr>
              <a:picLocks noChangeAspect="1"/>
            </p:cNvPicPr>
            <p:nvPr/>
          </p:nvPicPr>
          <p:blipFill rotWithShape="1">
            <a:blip r:embed="rId3" cstate="screen"/>
            <a:srcRect/>
            <a:stretch>
              <a:fillRect/>
            </a:stretch>
          </p:blipFill>
          <p:spPr>
            <a:xfrm flipH="1">
              <a:off x="7926705" y="0"/>
              <a:ext cx="814070" cy="4924908"/>
            </a:xfrm>
            <a:prstGeom prst="rect">
              <a:avLst/>
            </a:prstGeom>
          </p:spPr>
        </p:pic>
      </p:grpSp>
      <p:sp>
        <p:nvSpPr>
          <p:cNvPr id="71" name="任意多边形: 形状 70"/>
          <p:cNvSpPr/>
          <p:nvPr/>
        </p:nvSpPr>
        <p:spPr>
          <a:xfrm flipH="1">
            <a:off x="0" y="0"/>
            <a:ext cx="12191999" cy="6858000"/>
          </a:xfrm>
          <a:custGeom>
            <a:avLst/>
            <a:gdLst>
              <a:gd name="connsiteX0" fmla="*/ 12191999 w 12191999"/>
              <a:gd name="connsiteY0" fmla="*/ 0 h 6858000"/>
              <a:gd name="connsiteX1" fmla="*/ 0 w 12191999"/>
              <a:gd name="connsiteY1" fmla="*/ 0 h 6858000"/>
              <a:gd name="connsiteX2" fmla="*/ 0 w 12191999"/>
              <a:gd name="connsiteY2" fmla="*/ 6858000 h 6858000"/>
              <a:gd name="connsiteX3" fmla="*/ 12191999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12191999" y="0"/>
                </a:moveTo>
                <a:lnTo>
                  <a:pt x="0" y="0"/>
                </a:lnTo>
                <a:lnTo>
                  <a:pt x="0" y="6858000"/>
                </a:lnTo>
                <a:lnTo>
                  <a:pt x="12191999" y="6858000"/>
                </a:lnTo>
                <a:close/>
              </a:path>
            </a:pathLst>
          </a:custGeom>
          <a:gradFill flip="none" rotWithShape="1">
            <a:gsLst>
              <a:gs pos="34000">
                <a:schemeClr val="bg1">
                  <a:alpha val="85000"/>
                </a:schemeClr>
              </a:gs>
              <a:gs pos="0">
                <a:schemeClr val="bg1">
                  <a:alpha val="30000"/>
                </a:schemeClr>
              </a:gs>
              <a:gs pos="100000">
                <a:schemeClr val="bg1"/>
              </a:gs>
              <a:gs pos="65000">
                <a:schemeClr val="bg1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75" dirty="0">
              <a:latin typeface="思源黑体 CN Normal" panose="020B0400000000000000" pitchFamily="34" charset="-122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335790" y="3898598"/>
            <a:ext cx="7927570" cy="7341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zh-CN"/>
            </a:defPPr>
            <a:lvl1pPr algn="just">
              <a:lnSpc>
                <a:spcPct val="120000"/>
              </a:lnSpc>
              <a:defRPr kern="100">
                <a:effectLst/>
                <a:latin typeface="+mj-ea"/>
                <a:ea typeface="+mj-ea"/>
                <a:cs typeface="Times New Roman" panose="02020603050405020304" pitchFamily="18" charset="0"/>
              </a:defRPr>
            </a:lvl1pPr>
          </a:lstStyle>
          <a:p>
            <a:pPr algn="l"/>
            <a:r>
              <a:rPr lang="zh-CN" altLang="en-US" dirty="0">
                <a:latin typeface="+mn-ea"/>
                <a:ea typeface="+mn-ea"/>
              </a:rPr>
              <a:t>思谋基于 </a:t>
            </a:r>
            <a:r>
              <a:rPr lang="en-US" altLang="zh-CN" dirty="0" err="1">
                <a:latin typeface="+mn-ea"/>
                <a:ea typeface="+mn-ea"/>
              </a:rPr>
              <a:t>SMore</a:t>
            </a:r>
            <a:r>
              <a:rPr lang="en-US" altLang="zh-CN" dirty="0">
                <a:latin typeface="+mn-ea"/>
                <a:ea typeface="+mn-ea"/>
              </a:rPr>
              <a:t> </a:t>
            </a:r>
            <a:r>
              <a:rPr lang="en-US" altLang="zh-CN" dirty="0" err="1">
                <a:latin typeface="+mn-ea"/>
                <a:ea typeface="+mn-ea"/>
              </a:rPr>
              <a:t>ViMo</a:t>
            </a:r>
            <a:r>
              <a:rPr lang="en-US" altLang="zh-CN" dirty="0">
                <a:latin typeface="+mn-ea"/>
                <a:ea typeface="+mn-ea"/>
              </a:rPr>
              <a:t> </a:t>
            </a:r>
            <a:r>
              <a:rPr lang="zh-CN" altLang="en-US" dirty="0">
                <a:latin typeface="+mn-ea"/>
                <a:ea typeface="+mn-ea"/>
              </a:rPr>
              <a:t>检测</a:t>
            </a:r>
            <a:r>
              <a:rPr lang="en-US" altLang="zh-CN" dirty="0">
                <a:latin typeface="+mn-ea"/>
                <a:ea typeface="+mn-ea"/>
              </a:rPr>
              <a:t>/</a:t>
            </a:r>
            <a:r>
              <a:rPr lang="zh-CN" altLang="en-US" dirty="0">
                <a:latin typeface="+mn-ea"/>
                <a:ea typeface="+mn-ea"/>
              </a:rPr>
              <a:t>分类模块，为全球</a:t>
            </a:r>
            <a:r>
              <a:rPr lang="en-US" altLang="zh-CN" dirty="0">
                <a:latin typeface="+mn-ea"/>
                <a:ea typeface="+mn-ea"/>
              </a:rPr>
              <a:t>TOP1</a:t>
            </a:r>
            <a:r>
              <a:rPr lang="zh-CN" altLang="en-US" dirty="0">
                <a:latin typeface="+mn-ea"/>
                <a:ea typeface="+mn-ea"/>
              </a:rPr>
              <a:t>汽车轴承厂商搭建质检无人化系统，实现了多种细分类</a:t>
            </a:r>
            <a:r>
              <a:rPr lang="en-US" altLang="zh-CN" dirty="0">
                <a:latin typeface="+mn-ea"/>
                <a:ea typeface="+mn-ea"/>
              </a:rPr>
              <a:t>AI</a:t>
            </a:r>
            <a:r>
              <a:rPr lang="zh-CN" altLang="en-US" dirty="0">
                <a:latin typeface="+mn-ea"/>
                <a:ea typeface="+mn-ea"/>
              </a:rPr>
              <a:t>自动化检测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335789" y="2257894"/>
            <a:ext cx="7927571" cy="147649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just">
              <a:lnSpc>
                <a:spcPct val="120000"/>
              </a:lnSpc>
              <a:defRPr sz="1000" kern="100">
                <a:solidFill>
                  <a:schemeClr val="bg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defRPr>
            </a:lvl1pPr>
          </a:lstStyle>
          <a:p>
            <a:pPr algn="l">
              <a:spcBef>
                <a:spcPts val="600"/>
              </a:spcBef>
            </a:pPr>
            <a:r>
              <a:rPr lang="zh-CN" altLang="en-US" sz="1800" dirty="0">
                <a:solidFill>
                  <a:schemeClr val="accent1"/>
                </a:solidFill>
                <a:latin typeface="+mj-ea"/>
                <a:ea typeface="+mj-ea"/>
              </a:rPr>
              <a:t>轴承</a:t>
            </a:r>
            <a:r>
              <a:rPr lang="zh-CN" altLang="en-US" sz="1800" dirty="0">
                <a:solidFill>
                  <a:schemeClr val="tx1"/>
                </a:solidFill>
                <a:latin typeface="+mn-ea"/>
                <a:ea typeface="+mn-ea"/>
              </a:rPr>
              <a:t>是汽车的关键基础零部件，直接决定着汽车的性能、质量和可靠性，一直被誉为汽车的“心脏”部件</a:t>
            </a:r>
            <a:endParaRPr lang="en-US" altLang="zh-CN" sz="1800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spcBef>
                <a:spcPts val="600"/>
              </a:spcBef>
            </a:pPr>
            <a:r>
              <a:rPr lang="zh-CN" altLang="en-US" sz="1800" dirty="0">
                <a:solidFill>
                  <a:schemeClr val="accent1"/>
                </a:solidFill>
                <a:latin typeface="+mj-ea"/>
                <a:ea typeface="+mj-ea"/>
              </a:rPr>
              <a:t>轴承制造</a:t>
            </a:r>
            <a:r>
              <a:rPr lang="zh-CN" altLang="en-US" sz="1800" dirty="0">
                <a:solidFill>
                  <a:schemeClr val="tx1"/>
                </a:solidFill>
                <a:latin typeface="+mn-ea"/>
                <a:ea typeface="+mn-ea"/>
              </a:rPr>
              <a:t>是一种精密的基础件制造业，精度以</a:t>
            </a:r>
            <a:r>
              <a:rPr lang="en-US" altLang="zh-CN" sz="1800" b="1" dirty="0">
                <a:solidFill>
                  <a:schemeClr val="accent2"/>
                </a:solidFill>
                <a:latin typeface="+mj-ea"/>
                <a:ea typeface="+mj-ea"/>
              </a:rPr>
              <a:t>0.001mm</a:t>
            </a:r>
            <a:r>
              <a:rPr lang="zh-CN" altLang="en-US" sz="1800" dirty="0">
                <a:solidFill>
                  <a:schemeClr val="tx1"/>
                </a:solidFill>
                <a:latin typeface="+mn-ea"/>
                <a:ea typeface="+mn-ea"/>
              </a:rPr>
              <a:t>来衡量，比普通机械零件的</a:t>
            </a:r>
            <a:r>
              <a:rPr lang="zh-CN" altLang="en-US" sz="1800" b="1" dirty="0">
                <a:solidFill>
                  <a:schemeClr val="accent2"/>
                </a:solidFill>
                <a:latin typeface="+mj-ea"/>
                <a:ea typeface="+mj-ea"/>
              </a:rPr>
              <a:t>精度要求高</a:t>
            </a:r>
            <a:r>
              <a:rPr lang="en-US" altLang="zh-CN" sz="1800" b="1" dirty="0">
                <a:solidFill>
                  <a:schemeClr val="accent2"/>
                </a:solidFill>
                <a:latin typeface="+mj-ea"/>
                <a:ea typeface="+mj-ea"/>
              </a:rPr>
              <a:t>10</a:t>
            </a:r>
            <a:r>
              <a:rPr lang="zh-CN" altLang="en-US" sz="1800" b="1" dirty="0">
                <a:solidFill>
                  <a:schemeClr val="accent2"/>
                </a:solidFill>
                <a:latin typeface="+mj-ea"/>
                <a:ea typeface="+mj-ea"/>
              </a:rPr>
              <a:t>倍</a:t>
            </a:r>
          </a:p>
        </p:txBody>
      </p:sp>
      <p:grpSp>
        <p:nvGrpSpPr>
          <p:cNvPr id="44" name="组合 43"/>
          <p:cNvGrpSpPr/>
          <p:nvPr/>
        </p:nvGrpSpPr>
        <p:grpSpPr>
          <a:xfrm>
            <a:off x="335791" y="4876801"/>
            <a:ext cx="8989183" cy="1086552"/>
            <a:chOff x="-1551404" y="3545123"/>
            <a:chExt cx="6868282" cy="830192"/>
          </a:xfrm>
        </p:grpSpPr>
        <p:sp>
          <p:nvSpPr>
            <p:cNvPr id="45" name="矩形: 圆角 44"/>
            <p:cNvSpPr/>
            <p:nvPr/>
          </p:nvSpPr>
          <p:spPr>
            <a:xfrm>
              <a:off x="-1551404" y="3545123"/>
              <a:ext cx="6868282" cy="830192"/>
            </a:xfrm>
            <a:prstGeom prst="roundRect">
              <a:avLst>
                <a:gd name="adj" fmla="val 753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-1234171" y="3654405"/>
              <a:ext cx="811644" cy="2351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zh-CN" sz="2000" kern="100" dirty="0">
                  <a:solidFill>
                    <a:schemeClr val="bg1"/>
                  </a:solidFill>
                  <a:latin typeface="+mn-ea"/>
                  <a:cs typeface="Times New Roman" panose="02020603050405020304" pitchFamily="18" charset="0"/>
                </a:rPr>
                <a:t>检出率</a:t>
              </a:r>
              <a:endParaRPr lang="en-US" altLang="zh-CN" sz="20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3584883" y="3654405"/>
              <a:ext cx="1238681" cy="2351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kern="100">
                  <a:solidFill>
                    <a:schemeClr val="bg1"/>
                  </a:solidFill>
                  <a:effectLst/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zh-CN" altLang="zh-CN" sz="2000" dirty="0">
                  <a:latin typeface="+mn-ea"/>
                  <a:ea typeface="+mn-ea"/>
                </a:rPr>
                <a:t>实现</a:t>
              </a:r>
              <a:r>
                <a:rPr lang="en-US" altLang="zh-CN" sz="2000" dirty="0">
                  <a:latin typeface="+mn-ea"/>
                  <a:ea typeface="+mn-ea"/>
                </a:rPr>
                <a:t>AI</a:t>
              </a:r>
              <a:r>
                <a:rPr lang="zh-CN" altLang="zh-CN" sz="2000" dirty="0">
                  <a:latin typeface="+mn-ea"/>
                  <a:ea typeface="+mn-ea"/>
                </a:rPr>
                <a:t>全检</a:t>
              </a:r>
              <a:endParaRPr lang="zh-CN" altLang="zh-CN" sz="2400" dirty="0">
                <a:latin typeface="+mn-ea"/>
                <a:ea typeface="+mn-ea"/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-18927" y="3654405"/>
              <a:ext cx="702260" cy="2351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kern="100">
                  <a:solidFill>
                    <a:schemeClr val="bg1"/>
                  </a:solidFill>
                  <a:effectLst/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zh-CN" altLang="en-US" sz="2000" dirty="0">
                  <a:latin typeface="+mn-ea"/>
                  <a:ea typeface="+mn-ea"/>
                </a:rPr>
                <a:t>过检率</a:t>
              </a:r>
              <a:endParaRPr lang="en-US" altLang="zh-CN" sz="2000" dirty="0">
                <a:latin typeface="+mn-ea"/>
                <a:ea typeface="+mn-ea"/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-1380137" y="3915673"/>
              <a:ext cx="1103577" cy="3867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000" spc="127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≥</a:t>
              </a:r>
              <a:r>
                <a:rPr lang="en-US" altLang="zh-CN" sz="2000" spc="127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99.0</a:t>
              </a:r>
              <a:r>
                <a:rPr lang="en-US" altLang="zh-CN" sz="1400" spc="127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% </a:t>
              </a:r>
              <a:endParaRPr lang="zh-CN" altLang="zh-CN" spc="127" dirty="0">
                <a:solidFill>
                  <a:schemeClr val="bg1"/>
                </a:solidFill>
                <a:latin typeface="+mn-ea"/>
                <a:cs typeface="阿里巴巴普惠体 B" panose="00020600040101010101" pitchFamily="18" charset="-122"/>
              </a:endParaRP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3174709" y="3915673"/>
              <a:ext cx="2059028" cy="3867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kern="100">
                  <a:solidFill>
                    <a:schemeClr val="bg1"/>
                  </a:solidFill>
                  <a:effectLst/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zh-CN" sz="2000" kern="1200">
                  <a:latin typeface="+mn-ea"/>
                  <a:ea typeface="+mn-ea"/>
                  <a:cs typeface="阿里巴巴普惠体 B" panose="00020600040101010101" pitchFamily="18" charset="-122"/>
                </a:rPr>
                <a:t>人力</a:t>
              </a:r>
              <a:r>
                <a:rPr lang="zh-CN" altLang="en-US" sz="2000" kern="1200">
                  <a:latin typeface="+mn-ea"/>
                  <a:ea typeface="+mn-ea"/>
                  <a:cs typeface="阿里巴巴普惠体 B" panose="00020600040101010101" pitchFamily="18" charset="-122"/>
                </a:rPr>
                <a:t>成本节省</a:t>
              </a:r>
              <a:r>
                <a:rPr lang="en-US" altLang="zh-CN" sz="2000" kern="1200">
                  <a:latin typeface="+mn-ea"/>
                  <a:ea typeface="+mn-ea"/>
                  <a:cs typeface="阿里巴巴普惠体 B" panose="00020600040101010101" pitchFamily="18" charset="-122"/>
                </a:rPr>
                <a:t>80</a:t>
              </a:r>
              <a:r>
                <a:rPr lang="en-US" altLang="zh-CN" kern="1200" dirty="0">
                  <a:latin typeface="+mn-ea"/>
                  <a:ea typeface="+mn-ea"/>
                  <a:cs typeface="阿里巴巴普惠体 B" panose="00020600040101010101" pitchFamily="18" charset="-122"/>
                </a:rPr>
                <a:t>%</a:t>
              </a:r>
              <a:endParaRPr lang="zh-CN" altLang="zh-CN" sz="1800" kern="1200" dirty="0">
                <a:latin typeface="+mn-ea"/>
                <a:ea typeface="+mn-ea"/>
                <a:cs typeface="阿里巴巴普惠体 B" panose="00020600040101010101" pitchFamily="18" charset="-122"/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-82134" y="3915673"/>
              <a:ext cx="828675" cy="3867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kern="100">
                  <a:solidFill>
                    <a:schemeClr val="bg1"/>
                  </a:solidFill>
                  <a:effectLst/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2000" kern="1200" spc="127" dirty="0">
                  <a:latin typeface="+mn-ea"/>
                  <a:ea typeface="+mn-ea"/>
                  <a:cs typeface="阿里巴巴普惠体 B" panose="00020600040101010101" pitchFamily="18" charset="-122"/>
                </a:rPr>
                <a:t>≤</a:t>
              </a:r>
              <a:r>
                <a:rPr lang="en-US" altLang="zh-CN" sz="2000" kern="1200" spc="127" dirty="0">
                  <a:latin typeface="+mn-ea"/>
                  <a:ea typeface="+mn-ea"/>
                  <a:cs typeface="阿里巴巴普惠体 B" panose="00020600040101010101" pitchFamily="18" charset="-122"/>
                </a:rPr>
                <a:t>3</a:t>
              </a:r>
              <a:r>
                <a:rPr lang="en-US" altLang="zh-CN" kern="1200" spc="127" dirty="0">
                  <a:latin typeface="+mn-ea"/>
                  <a:ea typeface="+mn-ea"/>
                  <a:cs typeface="阿里巴巴普惠体 B" panose="00020600040101010101" pitchFamily="18" charset="-122"/>
                </a:rPr>
                <a:t>%</a:t>
              </a:r>
              <a:endParaRPr lang="zh-CN" altLang="zh-CN" sz="1800" kern="1200" spc="127" dirty="0">
                <a:latin typeface="+mn-ea"/>
                <a:ea typeface="+mn-ea"/>
                <a:cs typeface="阿里巴巴普惠体 B" panose="00020600040101010101" pitchFamily="18" charset="-122"/>
              </a:endParaRPr>
            </a:p>
          </p:txBody>
        </p:sp>
        <p:cxnSp>
          <p:nvCxnSpPr>
            <p:cNvPr id="52" name="直接连接符 51"/>
            <p:cNvCxnSpPr/>
            <p:nvPr/>
          </p:nvCxnSpPr>
          <p:spPr>
            <a:xfrm>
              <a:off x="-1242686" y="3944805"/>
              <a:ext cx="828675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/>
            <p:cNvCxnSpPr/>
            <p:nvPr/>
          </p:nvCxnSpPr>
          <p:spPr>
            <a:xfrm>
              <a:off x="53597" y="3944805"/>
              <a:ext cx="557212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/>
            <p:nvPr/>
          </p:nvCxnSpPr>
          <p:spPr>
            <a:xfrm>
              <a:off x="3475343" y="3944805"/>
              <a:ext cx="1457760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文本框 54"/>
            <p:cNvSpPr txBox="1"/>
            <p:nvPr/>
          </p:nvSpPr>
          <p:spPr>
            <a:xfrm>
              <a:off x="1298857" y="3654405"/>
              <a:ext cx="1540885" cy="2351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kern="100">
                  <a:solidFill>
                    <a:schemeClr val="bg1"/>
                  </a:solidFill>
                  <a:effectLst/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zh-CN" altLang="en-US" sz="2000" dirty="0">
                  <a:latin typeface="+mn-ea"/>
                  <a:ea typeface="+mn-ea"/>
                </a:rPr>
                <a:t>产线的</a:t>
              </a:r>
              <a:r>
                <a:rPr lang="zh-CN" altLang="zh-CN" sz="2000" dirty="0">
                  <a:latin typeface="+mn-ea"/>
                  <a:ea typeface="+mn-ea"/>
                </a:rPr>
                <a:t>处理</a:t>
              </a:r>
              <a:r>
                <a:rPr lang="zh-CN" altLang="en-US" sz="2000" dirty="0">
                  <a:latin typeface="+mn-ea"/>
                  <a:ea typeface="+mn-ea"/>
                </a:rPr>
                <a:t>速度</a:t>
              </a:r>
              <a:endParaRPr lang="en-US" altLang="zh-CN" sz="2000" dirty="0">
                <a:latin typeface="+mn-ea"/>
                <a:ea typeface="+mn-ea"/>
              </a:endParaRPr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633506" y="3915673"/>
              <a:ext cx="2871588" cy="3867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b="1" kern="100">
                  <a:gradFill flip="none" rotWithShape="1">
                    <a:gsLst>
                      <a:gs pos="0">
                        <a:schemeClr val="bg1"/>
                      </a:gs>
                      <a:gs pos="100000">
                        <a:srgbClr val="2466F4"/>
                      </a:gs>
                    </a:gsLst>
                    <a:lin ang="5400000" scaled="0"/>
                    <a:tileRect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≤</a:t>
              </a:r>
              <a:r>
                <a:rPr lang="en-US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0.2</a:t>
              </a:r>
              <a:r>
                <a:rPr lang="zh-CN" altLang="zh-CN" sz="12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秒</a:t>
              </a:r>
              <a:r>
                <a:rPr lang="en-US" altLang="zh-CN" sz="12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/</a:t>
              </a:r>
              <a:r>
                <a:rPr lang="zh-CN" altLang="zh-CN" sz="1200" b="0" kern="120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片</a:t>
              </a:r>
              <a:r>
                <a:rPr lang="zh-CN" altLang="en-US" sz="1200" b="0" kern="120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，</a:t>
              </a:r>
              <a:r>
                <a:rPr lang="zh-CN" altLang="zh-CN" sz="1200" b="0" kern="120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日均处理</a:t>
              </a:r>
              <a:r>
                <a:rPr lang="en-US" altLang="zh-CN" sz="2000" b="0" kern="120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20,000</a:t>
              </a:r>
              <a:r>
                <a:rPr lang="en-US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+</a:t>
              </a:r>
              <a:endParaRPr lang="zh-CN" altLang="zh-CN" sz="1800" b="0" kern="1200" dirty="0">
                <a:solidFill>
                  <a:schemeClr val="bg1"/>
                </a:solidFill>
                <a:effectLst/>
                <a:latin typeface="+mn-ea"/>
                <a:ea typeface="+mn-ea"/>
                <a:cs typeface="阿里巴巴普惠体 B" panose="00020600040101010101" pitchFamily="18" charset="-122"/>
              </a:endParaRPr>
            </a:p>
          </p:txBody>
        </p:sp>
        <p:cxnSp>
          <p:nvCxnSpPr>
            <p:cNvPr id="57" name="直接连接符 56"/>
            <p:cNvCxnSpPr/>
            <p:nvPr/>
          </p:nvCxnSpPr>
          <p:spPr>
            <a:xfrm>
              <a:off x="1100707" y="3944805"/>
              <a:ext cx="1937186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图片 65" descr="图片包含 室内, 杯子, 玻璃, 桌子&#10;&#10;描述已自动生成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 flipH="1">
            <a:off x="8099707" y="2930669"/>
            <a:ext cx="3895178" cy="219103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7" name="椭圆 66"/>
          <p:cNvSpPr/>
          <p:nvPr/>
        </p:nvSpPr>
        <p:spPr>
          <a:xfrm rot="20690245" flipH="1">
            <a:off x="9060173" y="3213485"/>
            <a:ext cx="783575" cy="1837736"/>
          </a:xfrm>
          <a:prstGeom prst="ellipse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alpha val="0"/>
                </a:schemeClr>
              </a:gs>
            </a:gsLst>
            <a:lin ang="0" scaled="1"/>
          </a:gradFill>
          <a:ln w="9525">
            <a:gradFill flip="none" rotWithShape="1">
              <a:gsLst>
                <a:gs pos="2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9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68" name="椭圆 67"/>
          <p:cNvSpPr/>
          <p:nvPr/>
        </p:nvSpPr>
        <p:spPr>
          <a:xfrm rot="20690245" flipH="1">
            <a:off x="8828954" y="3306699"/>
            <a:ext cx="736981" cy="1728461"/>
          </a:xfrm>
          <a:prstGeom prst="ellipse">
            <a:avLst/>
          </a:prstGeom>
          <a:noFill/>
          <a:ln w="9525">
            <a:gradFill flip="none" rotWithShape="1">
              <a:gsLst>
                <a:gs pos="0">
                  <a:schemeClr val="accent1"/>
                </a:gs>
                <a:gs pos="76000">
                  <a:schemeClr val="accent1">
                    <a:alpha val="0"/>
                  </a:schemeClr>
                </a:gs>
              </a:gsLst>
              <a:lin ang="300000" scaled="0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75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69" name="椭圆 68"/>
          <p:cNvSpPr/>
          <p:nvPr/>
        </p:nvSpPr>
        <p:spPr>
          <a:xfrm rot="20690245" flipH="1">
            <a:off x="9229901" y="2860675"/>
            <a:ext cx="1205285" cy="2368550"/>
          </a:xfrm>
          <a:prstGeom prst="ellipse">
            <a:avLst/>
          </a:prstGeom>
          <a:noFill/>
          <a:ln w="9525">
            <a:gradFill flip="none" rotWithShape="1">
              <a:gsLst>
                <a:gs pos="0">
                  <a:schemeClr val="accent1"/>
                </a:gs>
                <a:gs pos="74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75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97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变速箱轴承缺陷检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全球顶级汽车零部件供应商“未来工厂”质检无人化项目</a:t>
            </a:r>
          </a:p>
        </p:txBody>
      </p:sp>
      <p:pic>
        <p:nvPicPr>
          <p:cNvPr id="78" name="图片 77"/>
          <p:cNvPicPr>
            <a:picLocks noChangeAspect="1"/>
          </p:cNvPicPr>
          <p:nvPr/>
        </p:nvPicPr>
        <p:blipFill>
          <a:blip r:embed="rId5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79" name="文本框 78"/>
          <p:cNvSpPr txBox="1"/>
          <p:nvPr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22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80" name="组合 79"/>
          <p:cNvGrpSpPr/>
          <p:nvPr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81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10215841" y="336016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3" presetClass="path" presetSubtype="0" repeatCount="indefinite" accel="50000" decel="5000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45833E-6 2.96296E-6 L -0.00781 2.96296E-6 " pathEditMode="relative" rAng="0" ptsTypes="AA">
                                      <p:cBhvr>
                                        <p:cTn id="11" dur="2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1" y="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 animBg="1"/>
      <p:bldP spid="6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>
          <a:xfrm>
            <a:off x="3035413" y="4715398"/>
            <a:ext cx="8994037" cy="1199028"/>
            <a:chOff x="342900" y="3449245"/>
            <a:chExt cx="6932236" cy="970007"/>
          </a:xfrm>
        </p:grpSpPr>
        <p:sp>
          <p:nvSpPr>
            <p:cNvPr id="27" name="矩形: 圆角 26"/>
            <p:cNvSpPr/>
            <p:nvPr/>
          </p:nvSpPr>
          <p:spPr>
            <a:xfrm>
              <a:off x="342900" y="3449245"/>
              <a:ext cx="6795760" cy="970007"/>
            </a:xfrm>
            <a:prstGeom prst="roundRect">
              <a:avLst>
                <a:gd name="adj" fmla="val 744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535794" y="3614747"/>
              <a:ext cx="1325880" cy="24899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zh-CN" dirty="0"/>
                <a:t>检出率</a:t>
              </a:r>
              <a:endParaRPr lang="en-US" altLang="zh-CN" dirty="0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4600516" y="3614747"/>
              <a:ext cx="2674620" cy="24899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en-US" altLang="zh-CN" dirty="0"/>
                <a:t>AI</a:t>
              </a:r>
              <a:r>
                <a:rPr lang="zh-CN" altLang="zh-CN" dirty="0"/>
                <a:t>全检</a:t>
              </a: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2769160" y="3614747"/>
              <a:ext cx="1325880" cy="24899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zh-CN"/>
                <a:t>处理</a:t>
              </a:r>
              <a:r>
                <a:rPr lang="zh-CN" altLang="en-US"/>
                <a:t>速度</a:t>
              </a:r>
              <a:endParaRPr lang="en-US" altLang="zh-CN" dirty="0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535794" y="3901118"/>
              <a:ext cx="1325880" cy="4094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000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≥</a:t>
              </a:r>
              <a:r>
                <a:rPr lang="en-US" altLang="zh-CN" sz="2000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 99.0</a:t>
              </a:r>
              <a:r>
                <a:rPr lang="en-US" altLang="zh-CN" sz="1400" spc="127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%</a:t>
              </a:r>
              <a:r>
                <a:rPr lang="en-US" altLang="zh-CN" sz="2000" dirty="0">
                  <a:solidFill>
                    <a:schemeClr val="bg1"/>
                  </a:solidFill>
                  <a:latin typeface="+mn-ea"/>
                  <a:cs typeface="阿里巴巴普惠体 B" panose="00020600040101010101" pitchFamily="18" charset="-122"/>
                </a:rPr>
                <a:t> </a:t>
              </a:r>
              <a:endParaRPr lang="zh-CN" altLang="zh-CN" sz="2000" dirty="0">
                <a:solidFill>
                  <a:schemeClr val="bg1"/>
                </a:solidFill>
                <a:latin typeface="+mn-ea"/>
                <a:cs typeface="阿里巴巴普惠体 B" panose="00020600040101010101" pitchFamily="18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4600514" y="3901118"/>
              <a:ext cx="2674620" cy="4094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b="1" kern="100">
                  <a:gradFill flip="none" rotWithShape="1">
                    <a:gsLst>
                      <a:gs pos="0">
                        <a:schemeClr val="bg1"/>
                      </a:gs>
                      <a:gs pos="100000">
                        <a:srgbClr val="2466F4"/>
                      </a:gs>
                    </a:gsLst>
                    <a:lin ang="5400000" scaled="0"/>
                    <a:tileRect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人力成本削减</a:t>
              </a:r>
              <a:r>
                <a:rPr lang="en-US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95</a:t>
              </a:r>
              <a:r>
                <a:rPr lang="en-US" altLang="zh-CN" b="0" kern="1200" spc="127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%</a:t>
              </a:r>
              <a:endParaRPr lang="zh-CN" altLang="zh-CN" b="0" kern="1200" spc="127" dirty="0">
                <a:solidFill>
                  <a:schemeClr val="bg1"/>
                </a:solidFill>
                <a:effectLst/>
                <a:latin typeface="+mn-ea"/>
                <a:ea typeface="+mn-ea"/>
                <a:cs typeface="阿里巴巴普惠体 B" panose="00020600040101010101" pitchFamily="18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1800279" y="3901118"/>
              <a:ext cx="3263642" cy="4094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lnSpc>
                  <a:spcPct val="150000"/>
                </a:lnSpc>
                <a:defRPr sz="1400" b="1" kern="100">
                  <a:gradFill flip="none" rotWithShape="1">
                    <a:gsLst>
                      <a:gs pos="0">
                        <a:schemeClr val="bg1"/>
                      </a:gs>
                      <a:gs pos="100000">
                        <a:srgbClr val="2466F4"/>
                      </a:gs>
                    </a:gsLst>
                    <a:lin ang="5400000" scaled="0"/>
                    <a:tileRect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≤ </a:t>
              </a:r>
              <a:r>
                <a:rPr lang="en-US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0.2</a:t>
              </a:r>
              <a:r>
                <a:rPr lang="zh-CN" altLang="zh-CN" sz="12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秒</a:t>
              </a:r>
              <a:r>
                <a:rPr lang="en-US" altLang="zh-CN" sz="12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/</a:t>
              </a:r>
              <a:r>
                <a:rPr lang="zh-CN" altLang="zh-CN" sz="12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片，每日每产线处理</a:t>
              </a:r>
              <a:r>
                <a:rPr lang="en-US" altLang="zh-CN" sz="2000" b="0" kern="1200" dirty="0">
                  <a:solidFill>
                    <a:schemeClr val="bg1"/>
                  </a:solidFill>
                  <a:effectLst/>
                  <a:latin typeface="+mn-ea"/>
                  <a:ea typeface="+mn-ea"/>
                  <a:cs typeface="阿里巴巴普惠体 B" panose="00020600040101010101" pitchFamily="18" charset="-122"/>
                </a:rPr>
                <a:t>25,000+</a:t>
              </a:r>
              <a:endParaRPr lang="zh-CN" altLang="zh-CN" sz="2000" b="0" kern="1200" dirty="0">
                <a:solidFill>
                  <a:schemeClr val="bg1"/>
                </a:solidFill>
                <a:effectLst/>
                <a:latin typeface="+mn-ea"/>
                <a:ea typeface="+mn-ea"/>
                <a:cs typeface="阿里巴巴普惠体 B" panose="00020600040101010101" pitchFamily="18" charset="-122"/>
              </a:endParaRPr>
            </a:p>
          </p:txBody>
        </p:sp>
        <p:cxnSp>
          <p:nvCxnSpPr>
            <p:cNvPr id="34" name="直接连接符 33"/>
            <p:cNvCxnSpPr/>
            <p:nvPr/>
          </p:nvCxnSpPr>
          <p:spPr>
            <a:xfrm>
              <a:off x="784397" y="3944805"/>
              <a:ext cx="828675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200583" y="3944805"/>
              <a:ext cx="2463034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>
              <a:off x="5208945" y="3944805"/>
              <a:ext cx="1457760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椭圆 1"/>
          <p:cNvSpPr/>
          <p:nvPr/>
        </p:nvSpPr>
        <p:spPr>
          <a:xfrm rot="21429303" flipH="1">
            <a:off x="-437337" y="2635008"/>
            <a:ext cx="5324975" cy="2836715"/>
          </a:xfrm>
          <a:prstGeom prst="ellipse">
            <a:avLst/>
          </a:prstGeom>
          <a:solidFill>
            <a:schemeClr val="accent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9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3" name="椭圆 2"/>
          <p:cNvSpPr/>
          <p:nvPr/>
        </p:nvSpPr>
        <p:spPr>
          <a:xfrm rot="21429303" flipH="1">
            <a:off x="-75140" y="2746585"/>
            <a:ext cx="4608462" cy="2455011"/>
          </a:xfrm>
          <a:prstGeom prst="ellipse">
            <a:avLst/>
          </a:pr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9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4" name="椭圆 3"/>
          <p:cNvSpPr/>
          <p:nvPr/>
        </p:nvSpPr>
        <p:spPr>
          <a:xfrm rot="21429303" flipH="1">
            <a:off x="179116" y="2792574"/>
            <a:ext cx="4108613" cy="2188733"/>
          </a:xfrm>
          <a:prstGeom prst="ellipse">
            <a:avLst/>
          </a:pr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9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2" name="内容占位符 10"/>
          <p:cNvSpPr txBox="1"/>
          <p:nvPr/>
        </p:nvSpPr>
        <p:spPr>
          <a:xfrm>
            <a:off x="4591408" y="2250348"/>
            <a:ext cx="7438038" cy="106728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kern="100">
                <a:effectLst/>
                <a:latin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作为全球市值最高的智能终端品牌商，该客户一直以对每道工序的精细度和品质要求极高而著称，为保障在不降低加工精度的前提下，能够提高产品的生产良率，客户希望能够引入</a:t>
            </a:r>
            <a:r>
              <a:rPr lang="en-US" altLang="zh-CN" dirty="0"/>
              <a:t>AI</a:t>
            </a:r>
            <a:r>
              <a:rPr lang="zh-CN" altLang="en-US" dirty="0"/>
              <a:t>技术进行缺陷检测</a:t>
            </a:r>
          </a:p>
        </p:txBody>
      </p:sp>
      <p:sp>
        <p:nvSpPr>
          <p:cNvPr id="23" name="内容占位符 11"/>
          <p:cNvSpPr txBox="1"/>
          <p:nvPr/>
        </p:nvSpPr>
        <p:spPr>
          <a:xfrm>
            <a:off x="4591408" y="3511807"/>
            <a:ext cx="7438039" cy="73488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kern="100">
                <a:effectLst/>
                <a:latin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思谋基于 </a:t>
            </a:r>
            <a:r>
              <a:rPr lang="en-US" altLang="zh-CN" dirty="0" err="1"/>
              <a:t>SMore</a:t>
            </a:r>
            <a:r>
              <a:rPr lang="en-US" altLang="zh-CN" dirty="0"/>
              <a:t> </a:t>
            </a:r>
            <a:r>
              <a:rPr lang="en-US" altLang="zh-CN" dirty="0" err="1"/>
              <a:t>ViMo</a:t>
            </a:r>
            <a:r>
              <a:rPr lang="en-US" altLang="zh-CN" dirty="0"/>
              <a:t> </a:t>
            </a:r>
            <a:r>
              <a:rPr lang="zh-CN" altLang="en-US" dirty="0"/>
              <a:t>检测</a:t>
            </a:r>
            <a:r>
              <a:rPr lang="en-US" altLang="zh-CN" dirty="0"/>
              <a:t>/</a:t>
            </a:r>
            <a:r>
              <a:rPr lang="zh-CN" altLang="en-US" dirty="0"/>
              <a:t>分割模块，构建了多模型方案，</a:t>
            </a:r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可同时在多区域进行</a:t>
            </a:r>
            <a:r>
              <a:rPr lang="en-US" altLang="zh-CN" b="1" dirty="0">
                <a:solidFill>
                  <a:schemeClr val="accent2"/>
                </a:solidFill>
                <a:latin typeface="+mj-ea"/>
                <a:ea typeface="+mj-ea"/>
              </a:rPr>
              <a:t>20+</a:t>
            </a:r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种类型的外观缺陷检测</a:t>
            </a:r>
          </a:p>
        </p:txBody>
      </p:sp>
      <p:sp>
        <p:nvSpPr>
          <p:cNvPr id="24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手机无线充电线圈检测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70697">
            <a:off x="-446083" y="1271690"/>
            <a:ext cx="4334659" cy="35988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文本框 36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超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20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种高难度缺陷检测类  通过全球市值最高智能终端品牌厂商的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RR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测试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16" repeatCount="indefinite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repeatCount="indefinite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53" presetClass="entr" presetSubtype="16" repeatCount="indefinite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xit" presetSubtype="0" repeatCount="indefinite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53" presetClass="entr" presetSubtype="16" repeatCount="indefinite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repeatCount="indefinite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  <p:bldP spid="2" grpId="1" bldLvl="0" animBg="1"/>
      <p:bldP spid="3" grpId="0" bldLvl="0" animBg="1"/>
      <p:bldP spid="3" grpId="1" bldLvl="0" animBg="1"/>
      <p:bldP spid="4" grpId="0" bldLvl="0" animBg="1"/>
      <p:bldP spid="4" grpId="1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图片 38" descr="穿着蓝色衣服的人&#10;&#10;描述已自动生成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7289800" cy="6858000"/>
          </a:xfrm>
          <a:custGeom>
            <a:avLst/>
            <a:gdLst>
              <a:gd name="connsiteX0" fmla="*/ 7289800 w 7289800"/>
              <a:gd name="connsiteY0" fmla="*/ 0 h 6858000"/>
              <a:gd name="connsiteX1" fmla="*/ 0 w 7289800"/>
              <a:gd name="connsiteY1" fmla="*/ 0 h 6858000"/>
              <a:gd name="connsiteX2" fmla="*/ 0 w 7289800"/>
              <a:gd name="connsiteY2" fmla="*/ 6858000 h 6858000"/>
              <a:gd name="connsiteX3" fmla="*/ 7289800 w 7289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9800" h="6858000">
                <a:moveTo>
                  <a:pt x="7289800" y="0"/>
                </a:moveTo>
                <a:lnTo>
                  <a:pt x="0" y="0"/>
                </a:lnTo>
                <a:lnTo>
                  <a:pt x="0" y="6858000"/>
                </a:lnTo>
                <a:lnTo>
                  <a:pt x="7289800" y="6858000"/>
                </a:lnTo>
                <a:close/>
              </a:path>
            </a:pathLst>
          </a:custGeom>
        </p:spPr>
      </p:pic>
      <p:sp>
        <p:nvSpPr>
          <p:cNvPr id="55" name="任意多边形: 形状 54"/>
          <p:cNvSpPr/>
          <p:nvPr/>
        </p:nvSpPr>
        <p:spPr>
          <a:xfrm flipH="1">
            <a:off x="0" y="0"/>
            <a:ext cx="7289800" cy="6858000"/>
          </a:xfrm>
          <a:custGeom>
            <a:avLst/>
            <a:gdLst>
              <a:gd name="connsiteX0" fmla="*/ 7289800 w 7289800"/>
              <a:gd name="connsiteY0" fmla="*/ 0 h 6858000"/>
              <a:gd name="connsiteX1" fmla="*/ 0 w 7289800"/>
              <a:gd name="connsiteY1" fmla="*/ 0 h 6858000"/>
              <a:gd name="connsiteX2" fmla="*/ 0 w 7289800"/>
              <a:gd name="connsiteY2" fmla="*/ 6858000 h 6858000"/>
              <a:gd name="connsiteX3" fmla="*/ 7289800 w 7289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9800" h="6858000">
                <a:moveTo>
                  <a:pt x="7289800" y="0"/>
                </a:moveTo>
                <a:lnTo>
                  <a:pt x="0" y="0"/>
                </a:lnTo>
                <a:lnTo>
                  <a:pt x="0" y="6858000"/>
                </a:lnTo>
                <a:lnTo>
                  <a:pt x="728980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97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1" name="矩形 40"/>
          <p:cNvSpPr/>
          <p:nvPr/>
        </p:nvSpPr>
        <p:spPr>
          <a:xfrm>
            <a:off x="0" y="0"/>
            <a:ext cx="7289801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38000">
                <a:srgbClr val="FFFFFF">
                  <a:alpha val="70000"/>
                </a:srgbClr>
              </a:gs>
              <a:gs pos="10000">
                <a:schemeClr val="bg1"/>
              </a:gs>
              <a:gs pos="79000">
                <a:schemeClr val="bg1">
                  <a:alpha val="3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2876550" y="5045601"/>
            <a:ext cx="8972550" cy="1199029"/>
            <a:chOff x="222985" y="3449245"/>
            <a:chExt cx="6915675" cy="970007"/>
          </a:xfrm>
        </p:grpSpPr>
        <p:sp>
          <p:nvSpPr>
            <p:cNvPr id="7" name="矩形: 圆角 6"/>
            <p:cNvSpPr/>
            <p:nvPr/>
          </p:nvSpPr>
          <p:spPr>
            <a:xfrm>
              <a:off x="222985" y="3449245"/>
              <a:ext cx="6915675" cy="970007"/>
            </a:xfrm>
            <a:prstGeom prst="roundRect">
              <a:avLst>
                <a:gd name="adj" fmla="val 744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840864" y="3543161"/>
              <a:ext cx="1185596" cy="2987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en-US" altLang="zh-CN" sz="2400" dirty="0">
                  <a:latin typeface="+mj-ea"/>
                  <a:ea typeface="+mj-ea"/>
                </a:rPr>
                <a:t>99.9</a:t>
              </a:r>
              <a:r>
                <a:rPr lang="en-US" altLang="zh-CN" sz="1600" kern="1200" spc="127" dirty="0">
                  <a:latin typeface="+mj-ea"/>
                  <a:ea typeface="+mj-ea"/>
                  <a:cs typeface="阿里巴巴普惠体 B" panose="00020600040101010101" pitchFamily="18" charset="-122"/>
                </a:rPr>
                <a:t>%</a:t>
              </a: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965302" y="3543161"/>
              <a:ext cx="1266789" cy="2987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en-US" altLang="zh-CN" sz="2400" dirty="0">
                  <a:latin typeface="+mj-ea"/>
                  <a:ea typeface="+mj-ea"/>
                </a:rPr>
                <a:t>24</a:t>
              </a:r>
              <a:r>
                <a:rPr lang="zh-CN" altLang="en-US" sz="1800" dirty="0">
                  <a:latin typeface="+mj-ea"/>
                  <a:ea typeface="+mj-ea"/>
                </a:rPr>
                <a:t>天</a:t>
              </a:r>
              <a:endParaRPr lang="en-US" altLang="zh-CN" sz="2400" dirty="0">
                <a:latin typeface="+mj-ea"/>
                <a:ea typeface="+mj-ea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2813978" y="3543161"/>
              <a:ext cx="1028313" cy="2987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en-US" altLang="zh-CN" sz="2400" dirty="0">
                  <a:latin typeface="+mj-ea"/>
                  <a:ea typeface="+mj-ea"/>
                </a:rPr>
                <a:t>100</a:t>
              </a:r>
              <a:r>
                <a:rPr lang="en-US" altLang="zh-CN" sz="1800" kern="1200" spc="127" dirty="0">
                  <a:latin typeface="+mj-ea"/>
                  <a:ea typeface="+mj-ea"/>
                  <a:cs typeface="阿里巴巴普惠体 B" panose="00020600040101010101" pitchFamily="18" charset="-122"/>
                </a:rPr>
                <a:t>%</a:t>
              </a: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45845" y="3932934"/>
              <a:ext cx="1975633" cy="39838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sz="2000"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1600" dirty="0">
                  <a:sym typeface="Arial" panose="020B0604020202020204" pitchFamily="34" charset="0"/>
                </a:rPr>
                <a:t>字符读取准确率</a:t>
              </a:r>
              <a:br>
                <a:rPr lang="en-US" altLang="zh-CN" sz="1600" dirty="0">
                  <a:sym typeface="Arial" panose="020B0604020202020204" pitchFamily="34" charset="0"/>
                </a:rPr>
              </a:br>
              <a:r>
                <a:rPr lang="zh-CN" altLang="en-US" sz="1600" dirty="0">
                  <a:sym typeface="Arial" panose="020B0604020202020204" pitchFamily="34" charset="0"/>
                </a:rPr>
                <a:t>兼容多种产品形态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4261385" y="3932934"/>
              <a:ext cx="2674620" cy="39838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1600" dirty="0">
                  <a:sym typeface="Arial" panose="020B0604020202020204" pitchFamily="34" charset="0"/>
                </a:rPr>
                <a:t>从需求了解，到完成产品部署</a:t>
              </a:r>
              <a:br>
                <a:rPr lang="en-US" altLang="zh-CN" sz="1600" dirty="0">
                  <a:sym typeface="Arial" panose="020B0604020202020204" pitchFamily="34" charset="0"/>
                </a:rPr>
              </a:br>
              <a:r>
                <a:rPr lang="zh-CN" altLang="en-US" sz="1600" dirty="0">
                  <a:sym typeface="Arial" panose="020B0604020202020204" pitchFamily="34" charset="0"/>
                </a:rPr>
                <a:t>一共花费</a:t>
              </a:r>
              <a:r>
                <a:rPr lang="en-US" altLang="zh-CN" sz="1600" dirty="0">
                  <a:sym typeface="Arial" panose="020B0604020202020204" pitchFamily="34" charset="0"/>
                </a:rPr>
                <a:t>24</a:t>
              </a:r>
              <a:r>
                <a:rPr lang="zh-CN" altLang="en-US" sz="1600" dirty="0">
                  <a:sym typeface="Arial" panose="020B0604020202020204" pitchFamily="34" charset="0"/>
                </a:rPr>
                <a:t>天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2211978" y="3932934"/>
              <a:ext cx="2232316" cy="39838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defRPr kern="100">
                  <a:solidFill>
                    <a:schemeClr val="bg1"/>
                  </a:solidFill>
                  <a:effectLst/>
                  <a:latin typeface="+mn-ea"/>
                  <a:cs typeface="Times New Roman" panose="02020603050405020304" pitchFamily="18" charset="0"/>
                </a:defRPr>
              </a:lvl1pPr>
            </a:lstStyle>
            <a:p>
              <a:r>
                <a:rPr lang="zh-CN" altLang="en-US" sz="1600" dirty="0">
                  <a:sym typeface="Arial" panose="020B0604020202020204" pitchFamily="34" charset="0"/>
                </a:rPr>
                <a:t>人力替换率</a:t>
              </a:r>
              <a:br>
                <a:rPr lang="en-US" altLang="zh-CN" sz="1600" dirty="0">
                  <a:sym typeface="Arial" panose="020B0604020202020204" pitchFamily="34" charset="0"/>
                </a:rPr>
              </a:br>
              <a:r>
                <a:rPr lang="en-US" altLang="zh-CN" sz="1600" dirty="0">
                  <a:sym typeface="Arial" panose="020B0604020202020204" pitchFamily="34" charset="0"/>
                </a:rPr>
                <a:t>6</a:t>
              </a:r>
              <a:r>
                <a:rPr lang="zh-CN" altLang="en-US" sz="1600" dirty="0">
                  <a:sym typeface="Arial" panose="020B0604020202020204" pitchFamily="34" charset="0"/>
                </a:rPr>
                <a:t>条产线全自动化生产</a:t>
              </a:r>
              <a:endParaRPr lang="en-US" altLang="zh-CN" sz="1600" dirty="0"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1019324" y="3873219"/>
              <a:ext cx="828675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2942708" y="3873219"/>
              <a:ext cx="770855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4585547" y="3873219"/>
              <a:ext cx="2026295" cy="0"/>
            </a:xfrm>
            <a:prstGeom prst="line">
              <a:avLst/>
            </a:prstGeom>
            <a:ln>
              <a:solidFill>
                <a:schemeClr val="accent1">
                  <a:lumMod val="40000"/>
                  <a:lumOff val="60000"/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矩形: 圆角 16"/>
          <p:cNvSpPr/>
          <p:nvPr/>
        </p:nvSpPr>
        <p:spPr>
          <a:xfrm>
            <a:off x="0" y="1432923"/>
            <a:ext cx="12192000" cy="3281951"/>
          </a:xfrm>
          <a:prstGeom prst="roundRect">
            <a:avLst>
              <a:gd name="adj" fmla="val 0"/>
            </a:avLst>
          </a:prstGeom>
          <a:solidFill>
            <a:schemeClr val="accent1">
              <a:alpha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8466237" y="1955800"/>
            <a:ext cx="2367542" cy="823370"/>
            <a:chOff x="3334564" y="2143977"/>
            <a:chExt cx="2617381" cy="910258"/>
          </a:xfrm>
        </p:grpSpPr>
        <p:grpSp>
          <p:nvGrpSpPr>
            <p:cNvPr id="19" name="组合 18"/>
            <p:cNvGrpSpPr/>
            <p:nvPr/>
          </p:nvGrpSpPr>
          <p:grpSpPr>
            <a:xfrm>
              <a:off x="3334564" y="2143977"/>
              <a:ext cx="2617381" cy="910258"/>
              <a:chOff x="3724781" y="2468504"/>
              <a:chExt cx="2176344" cy="756877"/>
            </a:xfrm>
          </p:grpSpPr>
          <p:grpSp>
            <p:nvGrpSpPr>
              <p:cNvPr id="21" name="组合 20"/>
              <p:cNvGrpSpPr/>
              <p:nvPr/>
            </p:nvGrpSpPr>
            <p:grpSpPr>
              <a:xfrm>
                <a:off x="3724781" y="2468504"/>
                <a:ext cx="1066035" cy="756877"/>
                <a:chOff x="-2336294" y="3038225"/>
                <a:chExt cx="4097682" cy="1870260"/>
              </a:xfrm>
            </p:grpSpPr>
            <p:pic>
              <p:nvPicPr>
                <p:cNvPr id="25" name="图片 24"/>
                <p:cNvPicPr>
                  <a:picLocks noChangeAspect="1"/>
                </p:cNvPicPr>
                <p:nvPr/>
              </p:nvPicPr>
              <p:blipFill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1"/>
                <a:stretch>
                  <a:fillRect/>
                </a:stretch>
              </p:blipFill>
              <p:spPr>
                <a:xfrm>
                  <a:off x="-2336294" y="3038225"/>
                  <a:ext cx="4097678" cy="3657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26" name="图片 25"/>
                <p:cNvPicPr>
                  <a:picLocks noChangeAspect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336294" y="3406145"/>
                  <a:ext cx="4097682" cy="510081"/>
                </a:xfrm>
                <a:prstGeom prst="rect">
                  <a:avLst/>
                </a:prstGeom>
              </p:spPr>
            </p:pic>
            <p:pic>
              <p:nvPicPr>
                <p:cNvPr id="27" name="图片 26"/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336294" y="3918383"/>
                  <a:ext cx="4097678" cy="461770"/>
                </a:xfrm>
                <a:prstGeom prst="rect">
                  <a:avLst/>
                </a:prstGeom>
              </p:spPr>
            </p:pic>
            <p:pic>
              <p:nvPicPr>
                <p:cNvPr id="28" name="图片 27"/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336294" y="4382313"/>
                  <a:ext cx="4097682" cy="526172"/>
                </a:xfrm>
                <a:prstGeom prst="rect">
                  <a:avLst/>
                </a:prstGeom>
              </p:spPr>
            </p:pic>
          </p:grpSp>
          <p:grpSp>
            <p:nvGrpSpPr>
              <p:cNvPr id="22" name="组合 21"/>
              <p:cNvGrpSpPr/>
              <p:nvPr/>
            </p:nvGrpSpPr>
            <p:grpSpPr>
              <a:xfrm>
                <a:off x="4751292" y="2468504"/>
                <a:ext cx="1149833" cy="756877"/>
                <a:chOff x="4751292" y="2468504"/>
                <a:chExt cx="1149833" cy="756877"/>
              </a:xfrm>
            </p:grpSpPr>
            <p:pic>
              <p:nvPicPr>
                <p:cNvPr id="23" name="图片 22"/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35092" y="2468504"/>
                  <a:ext cx="1066033" cy="756877"/>
                </a:xfrm>
                <a:prstGeom prst="rect">
                  <a:avLst/>
                </a:prstGeom>
              </p:spPr>
            </p:pic>
            <p:pic>
              <p:nvPicPr>
                <p:cNvPr id="24" name="图片 23"/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ackgroundRemoval t="9272" b="94702" l="9833" r="92469">
                              <a14:foregroundMark x1="79079" y1="44371" x2="79079" y2="44371"/>
                              <a14:foregroundMark x1="74686" y1="63907" x2="74686" y2="63907"/>
                              <a14:foregroundMark x1="79498" y1="28146" x2="79498" y2="28146"/>
                              <a14:foregroundMark x1="82218" y1="27483" x2="82218" y2="27483"/>
                              <a14:foregroundMark x1="36820" y1="95364" x2="36820" y2="95364"/>
                              <a14:foregroundMark x1="82636" y1="50000" x2="82636" y2="50000"/>
                              <a14:foregroundMark x1="92469" y1="31788" x2="92469" y2="31788"/>
                              <a14:foregroundMark x1="50209" y1="9272" x2="50209" y2="9272"/>
                              <a14:foregroundMark x1="85774" y1="40728" x2="85774" y2="40728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51292" y="2905378"/>
                  <a:ext cx="506495" cy="320003"/>
                </a:xfrm>
                <a:prstGeom prst="rect">
                  <a:avLst/>
                </a:prstGeom>
              </p:spPr>
            </p:pic>
          </p:grpSp>
        </p:grpSp>
        <p:sp>
          <p:nvSpPr>
            <p:cNvPr id="20" name="矩形 19"/>
            <p:cNvSpPr/>
            <p:nvPr/>
          </p:nvSpPr>
          <p:spPr>
            <a:xfrm>
              <a:off x="5477789" y="2266726"/>
              <a:ext cx="128194" cy="96582"/>
            </a:xfrm>
            <a:prstGeom prst="rect">
              <a:avLst/>
            </a:prstGeom>
            <a:noFill/>
            <a:ln w="9525">
              <a:solidFill>
                <a:srgbClr val="C00000"/>
              </a:solidFill>
            </a:ln>
          </p:spPr>
          <p:txBody>
            <a:bodyPr wrap="square" rtlCol="0" anchor="ctr">
              <a:noAutofit/>
            </a:bodyPr>
            <a:lstStyle/>
            <a:p>
              <a:pPr algn="l"/>
              <a:endPara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9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智能手表字符溯源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4328502" y="1889917"/>
            <a:ext cx="41558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  <a:sym typeface="Helvetica Neue Medium"/>
              </a:rPr>
              <a:t>项目内容</a:t>
            </a:r>
            <a:r>
              <a:rPr lang="zh-CN" altLang="en-US" sz="1400" kern="0" dirty="0">
                <a:latin typeface="+mn-ea"/>
                <a:sym typeface="Helvetica Neue Medium"/>
              </a:rPr>
              <a:t>：智能手表金属件字符识别</a:t>
            </a:r>
            <a:endParaRPr lang="en-US" altLang="zh-CN" sz="1400" kern="0" dirty="0">
              <a:latin typeface="+mn-ea"/>
              <a:sym typeface="Helvetica Neue Medium"/>
            </a:endParaRPr>
          </a:p>
          <a:p>
            <a:pPr lvl="0"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  <a:sym typeface="Helvetica Neue Medium"/>
              </a:rPr>
              <a:t>字符范围</a:t>
            </a:r>
            <a:r>
              <a:rPr lang="zh-CN" altLang="en-US" sz="1400" kern="0" dirty="0">
                <a:latin typeface="+mn-ea"/>
                <a:sym typeface="Helvetica Neue Medium"/>
              </a:rPr>
              <a:t>：</a:t>
            </a:r>
            <a:r>
              <a:rPr lang="en-US" altLang="zh-CN" sz="1400" b="1" kern="0" dirty="0">
                <a:solidFill>
                  <a:schemeClr val="accent2"/>
                </a:solidFill>
                <a:latin typeface="+mn-ea"/>
                <a:sym typeface="Helvetica Neue Medium"/>
              </a:rPr>
              <a:t>0-9</a:t>
            </a:r>
            <a:r>
              <a:rPr lang="en-US" altLang="zh-CN" sz="1400" kern="0" dirty="0">
                <a:solidFill>
                  <a:schemeClr val="accent1"/>
                </a:solidFill>
                <a:latin typeface="+mn-ea"/>
                <a:sym typeface="Helvetica Neue Medium"/>
              </a:rPr>
              <a:t> </a:t>
            </a:r>
            <a:r>
              <a:rPr lang="zh-CN" altLang="en-US" sz="1400" kern="0" dirty="0">
                <a:latin typeface="+mn-ea"/>
                <a:sym typeface="Helvetica Neue Medium"/>
              </a:rPr>
              <a:t>和 </a:t>
            </a:r>
            <a:r>
              <a:rPr lang="en-US" altLang="zh-CN" sz="1400" b="1" kern="0" dirty="0">
                <a:solidFill>
                  <a:schemeClr val="accent2"/>
                </a:solidFill>
                <a:latin typeface="+mn-ea"/>
                <a:sym typeface="Helvetica Neue Medium"/>
              </a:rPr>
              <a:t>a-z</a:t>
            </a:r>
          </a:p>
          <a:p>
            <a:pPr lvl="0"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  <a:sym typeface="Helvetica Neue Medium"/>
              </a:rPr>
              <a:t>字符个数</a:t>
            </a:r>
            <a:r>
              <a:rPr lang="zh-CN" altLang="en-US" sz="1400" kern="0" dirty="0">
                <a:latin typeface="+mn-ea"/>
                <a:sym typeface="Helvetica Neue Medium"/>
              </a:rPr>
              <a:t>：</a:t>
            </a:r>
            <a:r>
              <a:rPr lang="en-US" altLang="zh-CN" sz="1400" b="1" kern="0" dirty="0">
                <a:solidFill>
                  <a:schemeClr val="accent2"/>
                </a:solidFill>
                <a:latin typeface="+mn-ea"/>
                <a:sym typeface="Helvetica Neue Medium"/>
              </a:rPr>
              <a:t>13</a:t>
            </a:r>
            <a:r>
              <a:rPr lang="zh-CN" altLang="en-US" sz="1400" b="1" kern="0" dirty="0">
                <a:solidFill>
                  <a:schemeClr val="accent2"/>
                </a:solidFill>
                <a:latin typeface="+mn-ea"/>
                <a:sym typeface="Helvetica Neue Medium"/>
              </a:rPr>
              <a:t>个</a:t>
            </a:r>
            <a:r>
              <a:rPr lang="zh-CN" altLang="en-US" sz="1400" kern="0" dirty="0">
                <a:latin typeface="+mn-ea"/>
                <a:sym typeface="Helvetica Neue Medium"/>
              </a:rPr>
              <a:t>字符组成字符串</a:t>
            </a:r>
            <a:endParaRPr lang="en-US" altLang="zh-CN" sz="1400" b="1" kern="0" dirty="0">
              <a:latin typeface="+mn-ea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4328502" y="1556754"/>
            <a:ext cx="15575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kern="0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8359728" y="1556754"/>
            <a:ext cx="15575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b="1" kern="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b="0" dirty="0"/>
              <a:t>物料说明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4328502" y="3286098"/>
            <a:ext cx="3649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</a:rPr>
              <a:t>字符种类多</a:t>
            </a:r>
            <a:r>
              <a:rPr lang="zh-CN" altLang="en-US" sz="1400" kern="0" dirty="0">
                <a:latin typeface="+mn-ea"/>
              </a:rPr>
              <a:t>：单款模型支持</a:t>
            </a:r>
            <a:r>
              <a:rPr lang="en-US" altLang="zh-CN" sz="1400" kern="0" dirty="0">
                <a:latin typeface="+mn-ea"/>
              </a:rPr>
              <a:t>3</a:t>
            </a:r>
            <a:r>
              <a:rPr lang="zh-CN" altLang="en-US" sz="1400" kern="0" dirty="0">
                <a:latin typeface="+mn-ea"/>
              </a:rPr>
              <a:t>种字体</a:t>
            </a:r>
            <a:endParaRPr lang="en-US" altLang="zh-CN" sz="1400" kern="0" dirty="0">
              <a:latin typeface="+mn-ea"/>
            </a:endParaRPr>
          </a:p>
          <a:p>
            <a:pPr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</a:rPr>
              <a:t>表带颜色多</a:t>
            </a:r>
            <a:r>
              <a:rPr lang="zh-CN" altLang="en-US" sz="1400" kern="0" dirty="0">
                <a:latin typeface="+mn-ea"/>
              </a:rPr>
              <a:t>：包含黑白和橘色</a:t>
            </a:r>
            <a:r>
              <a:rPr lang="en-US" altLang="zh-CN" sz="1400" kern="0" dirty="0">
                <a:latin typeface="+mn-ea"/>
              </a:rPr>
              <a:t>3</a:t>
            </a:r>
            <a:r>
              <a:rPr lang="zh-CN" altLang="en-US" sz="1400" kern="0" dirty="0">
                <a:latin typeface="+mn-ea"/>
              </a:rPr>
              <a:t>种颜色</a:t>
            </a:r>
            <a:endParaRPr lang="en-US" altLang="zh-CN" sz="1400" kern="0" dirty="0">
              <a:latin typeface="+mn-ea"/>
            </a:endParaRPr>
          </a:p>
          <a:p>
            <a:pPr marL="1075055" indent="-1075055" defTabSz="825500" hangingPunct="0">
              <a:spcBef>
                <a:spcPts val="600"/>
              </a:spcBef>
              <a:defRPr/>
            </a:pPr>
            <a:r>
              <a:rPr lang="zh-CN" altLang="en-US" sz="1400" b="1" kern="0" dirty="0">
                <a:latin typeface="+mj-ea"/>
                <a:ea typeface="+mj-ea"/>
              </a:rPr>
              <a:t>成像情况多</a:t>
            </a:r>
            <a:r>
              <a:rPr lang="zh-CN" altLang="en-US" sz="1400" kern="0" dirty="0">
                <a:latin typeface="+mn-ea"/>
              </a:rPr>
              <a:t>：</a:t>
            </a:r>
            <a:r>
              <a:rPr lang="zh-CN" altLang="zh-CN" sz="1400" kern="0" dirty="0">
                <a:latin typeface="+mn-ea"/>
              </a:rPr>
              <a:t>包括</a:t>
            </a:r>
            <a:r>
              <a:rPr lang="zh-CN" altLang="en-US" sz="1400" kern="0" dirty="0">
                <a:latin typeface="+mn-ea"/>
              </a:rPr>
              <a:t>成像模糊、打光、倾斜等综合字符种类、颜色、打光等共</a:t>
            </a:r>
            <a:r>
              <a:rPr lang="en-US" altLang="zh-CN" sz="1400" kern="0" dirty="0">
                <a:latin typeface="+mn-ea"/>
              </a:rPr>
              <a:t>15</a:t>
            </a:r>
            <a:r>
              <a:rPr lang="zh-CN" altLang="en-US" sz="1400" kern="0" dirty="0">
                <a:latin typeface="+mn-ea"/>
              </a:rPr>
              <a:t>种不同形态</a:t>
            </a:r>
            <a:endParaRPr lang="zh-CN" altLang="zh-CN" sz="1400" kern="0" dirty="0">
              <a:latin typeface="+mn-ea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4328502" y="2952935"/>
            <a:ext cx="15575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b="1" kern="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b="0" dirty="0"/>
              <a:t>项目难点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8359728" y="3286098"/>
            <a:ext cx="3684583" cy="112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lvl="0" defTabSz="825500" hangingPunct="0">
              <a:defRPr sz="1400" b="1" kern="0">
                <a:latin typeface="+mj-ea"/>
                <a:ea typeface="+mj-ea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首次与</a:t>
            </a:r>
            <a:r>
              <a:rPr lang="zh-CN" altLang="en-US" dirty="0">
                <a:solidFill>
                  <a:schemeClr val="accent2"/>
                </a:solidFill>
                <a:latin typeface="+mn-ea"/>
                <a:ea typeface="+mn-ea"/>
                <a:sym typeface="+mn-lt"/>
              </a:rPr>
              <a:t>同类竞品</a:t>
            </a:r>
            <a:r>
              <a:rPr lang="en-US" altLang="zh-CN" dirty="0">
                <a:solidFill>
                  <a:schemeClr val="accent2"/>
                </a:solidFill>
                <a:latin typeface="+mn-ea"/>
                <a:ea typeface="+mn-ea"/>
                <a:sym typeface="+mn-lt"/>
              </a:rPr>
              <a:t>PK</a:t>
            </a:r>
            <a:r>
              <a:rPr lang="zh-CN" altLang="en-US" b="0" dirty="0">
                <a:solidFill>
                  <a:schemeClr val="accent2"/>
                </a:solidFill>
                <a:latin typeface="+mn-ea"/>
                <a:ea typeface="+mn-ea"/>
                <a:sym typeface="+mn-lt"/>
              </a:rPr>
              <a:t>，</a:t>
            </a:r>
            <a:r>
              <a:rPr lang="zh-CN" altLang="en-US" b="0" dirty="0">
                <a:latin typeface="+mn-ea"/>
                <a:ea typeface="+mn-ea"/>
                <a:sym typeface="+mn-lt"/>
              </a:rPr>
              <a:t>技术性能上完胜，</a:t>
            </a:r>
          </a:p>
          <a:p>
            <a:pPr>
              <a:lnSpc>
                <a:spcPct val="120000"/>
              </a:lnSpc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得到客户集团高层的认可</a:t>
            </a:r>
            <a:endParaRPr lang="en-US" altLang="zh-CN" b="0" dirty="0">
              <a:latin typeface="+mn-ea"/>
              <a:ea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b="0" dirty="0">
                <a:latin typeface="+mn-ea"/>
                <a:ea typeface="+mn-ea"/>
              </a:rPr>
              <a:t>基于</a:t>
            </a:r>
            <a:r>
              <a:rPr lang="en-US" altLang="zh-CN" dirty="0" err="1">
                <a:solidFill>
                  <a:schemeClr val="accent2"/>
                </a:solidFill>
                <a:latin typeface="+mn-ea"/>
                <a:ea typeface="+mn-ea"/>
              </a:rPr>
              <a:t>SMore</a:t>
            </a:r>
            <a:r>
              <a:rPr lang="en-US" altLang="zh-CN" dirty="0">
                <a:solidFill>
                  <a:schemeClr val="accent2"/>
                </a:solidFill>
                <a:latin typeface="+mn-ea"/>
                <a:ea typeface="+mn-ea"/>
              </a:rPr>
              <a:t> </a:t>
            </a:r>
            <a:r>
              <a:rPr lang="en-US" altLang="zh-CN" dirty="0" err="1">
                <a:solidFill>
                  <a:schemeClr val="accent2"/>
                </a:solidFill>
                <a:latin typeface="+mn-ea"/>
                <a:ea typeface="+mn-ea"/>
              </a:rPr>
              <a:t>Vimo</a:t>
            </a:r>
            <a:r>
              <a:rPr lang="zh-CN" altLang="en-US" dirty="0">
                <a:solidFill>
                  <a:schemeClr val="accent2"/>
                </a:solidFill>
                <a:latin typeface="+mn-ea"/>
                <a:ea typeface="+mn-ea"/>
              </a:rPr>
              <a:t>工业</a:t>
            </a:r>
            <a:r>
              <a:rPr lang="en-US" altLang="zh-CN" dirty="0">
                <a:solidFill>
                  <a:schemeClr val="accent2"/>
                </a:solidFill>
                <a:latin typeface="+mn-ea"/>
                <a:ea typeface="+mn-ea"/>
              </a:rPr>
              <a:t>OCR</a:t>
            </a:r>
            <a:r>
              <a:rPr lang="zh-CN" altLang="en-US" dirty="0">
                <a:solidFill>
                  <a:schemeClr val="accent2"/>
                </a:solidFill>
                <a:latin typeface="+mn-ea"/>
                <a:ea typeface="+mn-ea"/>
              </a:rPr>
              <a:t>识别算法</a:t>
            </a:r>
            <a:endParaRPr lang="en-US" altLang="zh-CN" dirty="0">
              <a:solidFill>
                <a:schemeClr val="accent2"/>
              </a:solidFill>
              <a:latin typeface="+mn-ea"/>
              <a:ea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dirty="0">
                <a:solidFill>
                  <a:schemeClr val="accent2"/>
                </a:solidFill>
                <a:latin typeface="+mn-ea"/>
                <a:ea typeface="+mn-ea"/>
              </a:rPr>
              <a:t>复杂高效的预处理</a:t>
            </a:r>
            <a:r>
              <a:rPr lang="zh-CN" altLang="en-US" b="0" dirty="0">
                <a:solidFill>
                  <a:schemeClr val="accent2"/>
                </a:solidFill>
                <a:latin typeface="+mn-ea"/>
                <a:ea typeface="+mn-ea"/>
              </a:rPr>
              <a:t>，</a:t>
            </a:r>
            <a:r>
              <a:rPr lang="zh-CN" altLang="en-US" b="0" dirty="0">
                <a:latin typeface="+mn-ea"/>
                <a:ea typeface="+mn-ea"/>
              </a:rPr>
              <a:t>增加算法对环境鲁棒性</a:t>
            </a:r>
            <a:endParaRPr lang="en-US" altLang="zh-CN" b="0" dirty="0">
              <a:latin typeface="+mn-ea"/>
              <a:ea typeface="+mn-ea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8359728" y="2952935"/>
            <a:ext cx="15575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b="1" kern="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b="0" dirty="0"/>
              <a:t>解决方案</a:t>
            </a:r>
          </a:p>
        </p:txBody>
      </p:sp>
      <p:pic>
        <p:nvPicPr>
          <p:cNvPr id="43" name="图片 42" descr="图片包含 游戏机&#10;&#10;描述已自动生成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27344">
            <a:off x="-769531" y="1683131"/>
            <a:ext cx="5553386" cy="5553386"/>
          </a:xfrm>
          <a:prstGeom prst="rect">
            <a:avLst/>
          </a:prstGeom>
        </p:spPr>
      </p:pic>
      <p:sp>
        <p:nvSpPr>
          <p:cNvPr id="45" name="文本框 44"/>
          <p:cNvSpPr txBox="1"/>
          <p:nvPr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24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47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文本框 50"/>
          <p:cNvSpPr txBox="1"/>
          <p:nvPr/>
        </p:nvSpPr>
        <p:spPr>
          <a:xfrm>
            <a:off x="10215841" y="336016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>
          <a:blip r:embed="rId1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63" presetClass="path" presetSubtype="0" repeatCount="indefinite" accel="50000" decel="50000" autoRev="1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-3.33333E-6 -1.48148E-6 L -3.33333E-6 -0.04259 " pathEditMode="relative" rAng="0" ptsTypes="AA">
                                      <p:cBhvr>
                                        <p:cTn id="18" dur="3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/>
          <p:nvPr/>
        </p:nvSpPr>
        <p:spPr>
          <a:xfrm>
            <a:off x="1596571" y="1375969"/>
            <a:ext cx="8998856" cy="11919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4000" kern="1200" dirty="0">
                <a:solidFill>
                  <a:srgbClr val="043E6F"/>
                </a:solidFill>
                <a:latin typeface="思源黑体 CN Bold" panose="020B0800000000000000" charset="-122"/>
                <a:ea typeface="思源黑体 CN Bold" panose="020B0800000000000000" charset="-122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4400" spc="300" dirty="0">
                <a:solidFill>
                  <a:schemeClr val="accent1"/>
                </a:solidFill>
                <a:latin typeface="+mj-ea"/>
                <a:ea typeface="+mj-ea"/>
              </a:rPr>
              <a:t>谢谢！欢迎咨询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234225" y="2567940"/>
            <a:ext cx="1723549" cy="506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  <a:buClrTx/>
              <a:buSzTx/>
              <a:buFontTx/>
            </a:pPr>
            <a:r>
              <a:rPr lang="zh-CN" altLang="en-US" sz="2000" b="1" dirty="0">
                <a:solidFill>
                  <a:schemeClr val="accent1"/>
                </a:solidFill>
              </a:rPr>
              <a:t>扫码申请试用</a:t>
            </a:r>
          </a:p>
        </p:txBody>
      </p:sp>
      <p:pic>
        <p:nvPicPr>
          <p:cNvPr id="5" name="图片 4" descr="qrcode_for_gh_a0f0e9548a8f_344订阅号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3799" y="3097531"/>
            <a:ext cx="2184400" cy="2184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>
            <a:off x="7636684" y="2881080"/>
            <a:ext cx="2318400" cy="1115999"/>
          </a:xfrm>
          <a:prstGeom prst="roundRect">
            <a:avLst>
              <a:gd name="adj" fmla="val 6425"/>
            </a:avLst>
          </a:prstGeom>
          <a:solidFill>
            <a:schemeClr val="accent2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: 圆角 2"/>
          <p:cNvSpPr/>
          <p:nvPr/>
        </p:nvSpPr>
        <p:spPr>
          <a:xfrm>
            <a:off x="4504917" y="2881080"/>
            <a:ext cx="2317750" cy="1116001"/>
          </a:xfrm>
          <a:prstGeom prst="roundRect">
            <a:avLst>
              <a:gd name="adj" fmla="val 6994"/>
            </a:avLst>
          </a:prstGeom>
          <a:solidFill>
            <a:schemeClr val="accent1">
              <a:alpha val="8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342900" y="2881080"/>
            <a:ext cx="3348000" cy="1116000"/>
          </a:xfrm>
          <a:prstGeom prst="roundRect">
            <a:avLst>
              <a:gd name="adj" fmla="val 8132"/>
            </a:avLst>
          </a:prstGeom>
          <a:solidFill>
            <a:schemeClr val="accent1">
              <a:alpha val="8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630126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数据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采集</a:t>
            </a:r>
          </a:p>
        </p:txBody>
      </p:sp>
      <p:sp>
        <p:nvSpPr>
          <p:cNvPr id="7" name="矩形: 圆角 6"/>
          <p:cNvSpPr/>
          <p:nvPr/>
        </p:nvSpPr>
        <p:spPr>
          <a:xfrm>
            <a:off x="1651714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数据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清洗</a:t>
            </a:r>
          </a:p>
        </p:txBody>
      </p:sp>
      <p:sp>
        <p:nvSpPr>
          <p:cNvPr id="8" name="矩形: 圆角 7"/>
          <p:cNvSpPr/>
          <p:nvPr/>
        </p:nvSpPr>
        <p:spPr>
          <a:xfrm>
            <a:off x="2673302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数据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标注</a:t>
            </a:r>
          </a:p>
        </p:txBody>
      </p:sp>
      <p:sp>
        <p:nvSpPr>
          <p:cNvPr id="9" name="矩形: 圆角 8"/>
          <p:cNvSpPr/>
          <p:nvPr/>
        </p:nvSpPr>
        <p:spPr>
          <a:xfrm>
            <a:off x="4787812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>
                <a:solidFill>
                  <a:schemeClr val="accent1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训练</a:t>
            </a:r>
          </a:p>
        </p:txBody>
      </p:sp>
      <p:sp>
        <p:nvSpPr>
          <p:cNvPr id="10" name="矩形: 圆角 9"/>
          <p:cNvSpPr/>
          <p:nvPr/>
        </p:nvSpPr>
        <p:spPr>
          <a:xfrm>
            <a:off x="5809400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测试</a:t>
            </a:r>
          </a:p>
        </p:txBody>
      </p:sp>
      <p:sp>
        <p:nvSpPr>
          <p:cNvPr id="11" name="矩形: 圆角 10"/>
          <p:cNvSpPr/>
          <p:nvPr/>
        </p:nvSpPr>
        <p:spPr>
          <a:xfrm>
            <a:off x="7919904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2">
                  <a:alpha val="0"/>
                </a:schemeClr>
              </a:gs>
              <a:gs pos="100000">
                <a:schemeClr val="accent2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封装</a:t>
            </a:r>
          </a:p>
        </p:txBody>
      </p:sp>
      <p:sp>
        <p:nvSpPr>
          <p:cNvPr id="12" name="矩形: 圆角 11"/>
          <p:cNvSpPr/>
          <p:nvPr/>
        </p:nvSpPr>
        <p:spPr>
          <a:xfrm>
            <a:off x="8941492" y="30738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2">
                  <a:alpha val="0"/>
                </a:schemeClr>
              </a:gs>
              <a:gs pos="100000">
                <a:schemeClr val="accent2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>
                <a:solidFill>
                  <a:schemeClr val="accent2"/>
                </a:solidFill>
                <a:latin typeface="+mj-ea"/>
                <a:ea typeface="+mj-ea"/>
              </a:rPr>
              <a:t>集成</a:t>
            </a:r>
            <a:endParaRPr lang="en-US" altLang="zh-CN" sz="1400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开发</a:t>
            </a:r>
          </a:p>
        </p:txBody>
      </p:sp>
      <p:cxnSp>
        <p:nvCxnSpPr>
          <p:cNvPr id="13" name="直接箭头连接符 12"/>
          <p:cNvCxnSpPr/>
          <p:nvPr/>
        </p:nvCxnSpPr>
        <p:spPr>
          <a:xfrm flipV="1">
            <a:off x="342900" y="2001539"/>
            <a:ext cx="3348000" cy="1"/>
          </a:xfrm>
          <a:prstGeom prst="straightConnector1">
            <a:avLst/>
          </a:prstGeom>
          <a:ln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703679" y="1875538"/>
            <a:ext cx="626442" cy="25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none" bIns="36000" rtlCol="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2</a:t>
            </a:r>
            <a:r>
              <a:rPr lang="zh-CN" altLang="en-US" sz="1400" dirty="0">
                <a:solidFill>
                  <a:schemeClr val="bg1"/>
                </a:solidFill>
              </a:rPr>
              <a:t>天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4955906" y="2553428"/>
            <a:ext cx="1415772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400" b="1">
                <a:solidFill>
                  <a:srgbClr val="0070C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z="1600" dirty="0">
                <a:solidFill>
                  <a:schemeClr val="accent1"/>
                </a:solidFill>
              </a:rPr>
              <a:t>资深算法专家</a:t>
            </a:r>
          </a:p>
        </p:txBody>
      </p:sp>
      <p:sp>
        <p:nvSpPr>
          <p:cNvPr id="67" name="任意多边形: 形状 66"/>
          <p:cNvSpPr/>
          <p:nvPr/>
        </p:nvSpPr>
        <p:spPr>
          <a:xfrm>
            <a:off x="5551420" y="2309328"/>
            <a:ext cx="224744" cy="242634"/>
          </a:xfrm>
          <a:custGeom>
            <a:avLst/>
            <a:gdLst>
              <a:gd name="connsiteX0" fmla="*/ 260275 w 352400"/>
              <a:gd name="connsiteY0" fmla="*/ 303768 h 380452"/>
              <a:gd name="connsiteX1" fmla="*/ 250060 w 352400"/>
              <a:gd name="connsiteY1" fmla="*/ 332369 h 380452"/>
              <a:gd name="connsiteX2" fmla="*/ 269074 w 352400"/>
              <a:gd name="connsiteY2" fmla="*/ 321583 h 380452"/>
              <a:gd name="connsiteX3" fmla="*/ 269254 w 352400"/>
              <a:gd name="connsiteY3" fmla="*/ 321841 h 380452"/>
              <a:gd name="connsiteX4" fmla="*/ 269439 w 352400"/>
              <a:gd name="connsiteY4" fmla="*/ 321583 h 380452"/>
              <a:gd name="connsiteX5" fmla="*/ 288452 w 352400"/>
              <a:gd name="connsiteY5" fmla="*/ 332370 h 380452"/>
              <a:gd name="connsiteX6" fmla="*/ 278598 w 352400"/>
              <a:gd name="connsiteY6" fmla="*/ 304777 h 380452"/>
              <a:gd name="connsiteX7" fmla="*/ 270718 w 352400"/>
              <a:gd name="connsiteY7" fmla="*/ 308055 h 380452"/>
              <a:gd name="connsiteX8" fmla="*/ 270536 w 352400"/>
              <a:gd name="connsiteY8" fmla="*/ 273318 h 380452"/>
              <a:gd name="connsiteX9" fmla="*/ 273827 w 352400"/>
              <a:gd name="connsiteY9" fmla="*/ 280082 h 380452"/>
              <a:gd name="connsiteX10" fmla="*/ 281323 w 352400"/>
              <a:gd name="connsiteY10" fmla="*/ 281179 h 380452"/>
              <a:gd name="connsiteX11" fmla="*/ 275838 w 352400"/>
              <a:gd name="connsiteY11" fmla="*/ 286481 h 380452"/>
              <a:gd name="connsiteX12" fmla="*/ 277483 w 352400"/>
              <a:gd name="connsiteY12" fmla="*/ 293977 h 380452"/>
              <a:gd name="connsiteX13" fmla="*/ 270719 w 352400"/>
              <a:gd name="connsiteY13" fmla="*/ 290503 h 380452"/>
              <a:gd name="connsiteX14" fmla="*/ 263955 w 352400"/>
              <a:gd name="connsiteY14" fmla="*/ 293977 h 380452"/>
              <a:gd name="connsiteX15" fmla="*/ 265234 w 352400"/>
              <a:gd name="connsiteY15" fmla="*/ 286481 h 380452"/>
              <a:gd name="connsiteX16" fmla="*/ 259750 w 352400"/>
              <a:gd name="connsiteY16" fmla="*/ 281179 h 380452"/>
              <a:gd name="connsiteX17" fmla="*/ 267245 w 352400"/>
              <a:gd name="connsiteY17" fmla="*/ 280082 h 380452"/>
              <a:gd name="connsiteX18" fmla="*/ 270718 w 352400"/>
              <a:gd name="connsiteY18" fmla="*/ 267651 h 380452"/>
              <a:gd name="connsiteX19" fmla="*/ 254813 w 352400"/>
              <a:gd name="connsiteY19" fmla="*/ 283557 h 380452"/>
              <a:gd name="connsiteX20" fmla="*/ 270718 w 352400"/>
              <a:gd name="connsiteY20" fmla="*/ 299462 h 380452"/>
              <a:gd name="connsiteX21" fmla="*/ 286624 w 352400"/>
              <a:gd name="connsiteY21" fmla="*/ 283557 h 380452"/>
              <a:gd name="connsiteX22" fmla="*/ 270718 w 352400"/>
              <a:gd name="connsiteY22" fmla="*/ 267651 h 380452"/>
              <a:gd name="connsiteX23" fmla="*/ 270718 w 352400"/>
              <a:gd name="connsiteY23" fmla="*/ 259058 h 380452"/>
              <a:gd name="connsiteX24" fmla="*/ 295399 w 352400"/>
              <a:gd name="connsiteY24" fmla="*/ 283557 h 380452"/>
              <a:gd name="connsiteX25" fmla="*/ 288132 w 352400"/>
              <a:gd name="connsiteY25" fmla="*/ 300811 h 380452"/>
              <a:gd name="connsiteX26" fmla="*/ 285811 w 352400"/>
              <a:gd name="connsiteY26" fmla="*/ 301777 h 380452"/>
              <a:gd name="connsiteX27" fmla="*/ 302713 w 352400"/>
              <a:gd name="connsiteY27" fmla="*/ 348824 h 380452"/>
              <a:gd name="connsiteX28" fmla="*/ 269400 w 352400"/>
              <a:gd name="connsiteY28" fmla="*/ 329811 h 380452"/>
              <a:gd name="connsiteX29" fmla="*/ 235800 w 352400"/>
              <a:gd name="connsiteY29" fmla="*/ 348823 h 380452"/>
              <a:gd name="connsiteX30" fmla="*/ 253123 w 352400"/>
              <a:gd name="connsiteY30" fmla="*/ 300607 h 380452"/>
              <a:gd name="connsiteX31" fmla="*/ 246037 w 352400"/>
              <a:gd name="connsiteY31" fmla="*/ 283557 h 380452"/>
              <a:gd name="connsiteX32" fmla="*/ 270718 w 352400"/>
              <a:gd name="connsiteY32" fmla="*/ 259058 h 380452"/>
              <a:gd name="connsiteX33" fmla="*/ 108922 w 352400"/>
              <a:gd name="connsiteY33" fmla="*/ 239313 h 380452"/>
              <a:gd name="connsiteX34" fmla="*/ 65044 w 352400"/>
              <a:gd name="connsiteY34" fmla="*/ 252659 h 380452"/>
              <a:gd name="connsiteX35" fmla="*/ 64679 w 352400"/>
              <a:gd name="connsiteY35" fmla="*/ 252659 h 380452"/>
              <a:gd name="connsiteX36" fmla="*/ 49139 w 352400"/>
              <a:gd name="connsiteY36" fmla="*/ 256681 h 380452"/>
              <a:gd name="connsiteX37" fmla="*/ 48773 w 352400"/>
              <a:gd name="connsiteY37" fmla="*/ 256864 h 380452"/>
              <a:gd name="connsiteX38" fmla="*/ 48590 w 352400"/>
              <a:gd name="connsiteY38" fmla="*/ 256864 h 380452"/>
              <a:gd name="connsiteX39" fmla="*/ 43288 w 352400"/>
              <a:gd name="connsiteY39" fmla="*/ 265457 h 380452"/>
              <a:gd name="connsiteX40" fmla="*/ 30491 w 352400"/>
              <a:gd name="connsiteY40" fmla="*/ 304581 h 380452"/>
              <a:gd name="connsiteX41" fmla="*/ 20984 w 352400"/>
              <a:gd name="connsiteY41" fmla="*/ 351749 h 380452"/>
              <a:gd name="connsiteX42" fmla="*/ 20801 w 352400"/>
              <a:gd name="connsiteY42" fmla="*/ 352480 h 380452"/>
              <a:gd name="connsiteX43" fmla="*/ 21898 w 352400"/>
              <a:gd name="connsiteY43" fmla="*/ 356319 h 380452"/>
              <a:gd name="connsiteX44" fmla="*/ 31953 w 352400"/>
              <a:gd name="connsiteY44" fmla="*/ 358879 h 380452"/>
              <a:gd name="connsiteX45" fmla="*/ 318984 w 352400"/>
              <a:gd name="connsiteY45" fmla="*/ 358879 h 380452"/>
              <a:gd name="connsiteX46" fmla="*/ 329405 w 352400"/>
              <a:gd name="connsiteY46" fmla="*/ 355954 h 380452"/>
              <a:gd name="connsiteX47" fmla="*/ 330319 w 352400"/>
              <a:gd name="connsiteY47" fmla="*/ 352114 h 380452"/>
              <a:gd name="connsiteX48" fmla="*/ 330136 w 352400"/>
              <a:gd name="connsiteY48" fmla="*/ 350652 h 380452"/>
              <a:gd name="connsiteX49" fmla="*/ 320812 w 352400"/>
              <a:gd name="connsiteY49" fmla="*/ 304581 h 380452"/>
              <a:gd name="connsiteX50" fmla="*/ 308015 w 352400"/>
              <a:gd name="connsiteY50" fmla="*/ 265640 h 380452"/>
              <a:gd name="connsiteX51" fmla="*/ 302713 w 352400"/>
              <a:gd name="connsiteY51" fmla="*/ 257047 h 380452"/>
              <a:gd name="connsiteX52" fmla="*/ 302530 w 352400"/>
              <a:gd name="connsiteY52" fmla="*/ 257047 h 380452"/>
              <a:gd name="connsiteX53" fmla="*/ 302165 w 352400"/>
              <a:gd name="connsiteY53" fmla="*/ 256864 h 380452"/>
              <a:gd name="connsiteX54" fmla="*/ 286807 w 352400"/>
              <a:gd name="connsiteY54" fmla="*/ 252842 h 380452"/>
              <a:gd name="connsiteX55" fmla="*/ 242565 w 352400"/>
              <a:gd name="connsiteY55" fmla="*/ 239313 h 380452"/>
              <a:gd name="connsiteX56" fmla="*/ 239274 w 352400"/>
              <a:gd name="connsiteY56" fmla="*/ 252111 h 380452"/>
              <a:gd name="connsiteX57" fmla="*/ 222271 w 352400"/>
              <a:gd name="connsiteY57" fmla="*/ 297085 h 380452"/>
              <a:gd name="connsiteX58" fmla="*/ 200150 w 352400"/>
              <a:gd name="connsiteY58" fmla="*/ 346630 h 380452"/>
              <a:gd name="connsiteX59" fmla="*/ 182782 w 352400"/>
              <a:gd name="connsiteY59" fmla="*/ 295074 h 380452"/>
              <a:gd name="connsiteX60" fmla="*/ 175834 w 352400"/>
              <a:gd name="connsiteY60" fmla="*/ 275146 h 380452"/>
              <a:gd name="connsiteX61" fmla="*/ 169070 w 352400"/>
              <a:gd name="connsiteY61" fmla="*/ 295074 h 380452"/>
              <a:gd name="connsiteX62" fmla="*/ 151885 w 352400"/>
              <a:gd name="connsiteY62" fmla="*/ 346995 h 380452"/>
              <a:gd name="connsiteX63" fmla="*/ 129398 w 352400"/>
              <a:gd name="connsiteY63" fmla="*/ 297085 h 380452"/>
              <a:gd name="connsiteX64" fmla="*/ 108922 w 352400"/>
              <a:gd name="connsiteY64" fmla="*/ 239313 h 380452"/>
              <a:gd name="connsiteX65" fmla="*/ 119160 w 352400"/>
              <a:gd name="connsiteY65" fmla="*/ 211890 h 380452"/>
              <a:gd name="connsiteX66" fmla="*/ 123730 w 352400"/>
              <a:gd name="connsiteY66" fmla="*/ 212987 h 380452"/>
              <a:gd name="connsiteX67" fmla="*/ 128118 w 352400"/>
              <a:gd name="connsiteY67" fmla="*/ 221214 h 380452"/>
              <a:gd name="connsiteX68" fmla="*/ 128118 w 352400"/>
              <a:gd name="connsiteY68" fmla="*/ 221580 h 380452"/>
              <a:gd name="connsiteX69" fmla="*/ 148960 w 352400"/>
              <a:gd name="connsiteY69" fmla="*/ 288675 h 380452"/>
              <a:gd name="connsiteX70" fmla="*/ 157187 w 352400"/>
              <a:gd name="connsiteY70" fmla="*/ 264360 h 380452"/>
              <a:gd name="connsiteX71" fmla="*/ 148228 w 352400"/>
              <a:gd name="connsiteY71" fmla="*/ 250831 h 380452"/>
              <a:gd name="connsiteX72" fmla="*/ 155724 w 352400"/>
              <a:gd name="connsiteY72" fmla="*/ 234377 h 380452"/>
              <a:gd name="connsiteX73" fmla="*/ 163403 w 352400"/>
              <a:gd name="connsiteY73" fmla="*/ 231818 h 380452"/>
              <a:gd name="connsiteX74" fmla="*/ 168156 w 352400"/>
              <a:gd name="connsiteY74" fmla="*/ 232732 h 380452"/>
              <a:gd name="connsiteX75" fmla="*/ 175103 w 352400"/>
              <a:gd name="connsiteY75" fmla="*/ 235657 h 380452"/>
              <a:gd name="connsiteX76" fmla="*/ 175834 w 352400"/>
              <a:gd name="connsiteY76" fmla="*/ 235840 h 380452"/>
              <a:gd name="connsiteX77" fmla="*/ 176566 w 352400"/>
              <a:gd name="connsiteY77" fmla="*/ 235657 h 380452"/>
              <a:gd name="connsiteX78" fmla="*/ 176749 w 352400"/>
              <a:gd name="connsiteY78" fmla="*/ 235474 h 380452"/>
              <a:gd name="connsiteX79" fmla="*/ 183330 w 352400"/>
              <a:gd name="connsiteY79" fmla="*/ 232732 h 380452"/>
              <a:gd name="connsiteX80" fmla="*/ 188084 w 352400"/>
              <a:gd name="connsiteY80" fmla="*/ 231818 h 380452"/>
              <a:gd name="connsiteX81" fmla="*/ 195945 w 352400"/>
              <a:gd name="connsiteY81" fmla="*/ 234377 h 380452"/>
              <a:gd name="connsiteX82" fmla="*/ 203441 w 352400"/>
              <a:gd name="connsiteY82" fmla="*/ 250831 h 380452"/>
              <a:gd name="connsiteX83" fmla="*/ 194482 w 352400"/>
              <a:gd name="connsiteY83" fmla="*/ 264360 h 380452"/>
              <a:gd name="connsiteX84" fmla="*/ 202892 w 352400"/>
              <a:gd name="connsiteY84" fmla="*/ 288675 h 380452"/>
              <a:gd name="connsiteX85" fmla="*/ 223734 w 352400"/>
              <a:gd name="connsiteY85" fmla="*/ 221580 h 380452"/>
              <a:gd name="connsiteX86" fmla="*/ 223734 w 352400"/>
              <a:gd name="connsiteY86" fmla="*/ 221214 h 380452"/>
              <a:gd name="connsiteX87" fmla="*/ 228122 w 352400"/>
              <a:gd name="connsiteY87" fmla="*/ 212987 h 380452"/>
              <a:gd name="connsiteX88" fmla="*/ 232692 w 352400"/>
              <a:gd name="connsiteY88" fmla="*/ 211890 h 380452"/>
              <a:gd name="connsiteX89" fmla="*/ 241833 w 352400"/>
              <a:gd name="connsiteY89" fmla="*/ 214632 h 380452"/>
              <a:gd name="connsiteX90" fmla="*/ 291744 w 352400"/>
              <a:gd name="connsiteY90" fmla="*/ 232000 h 380452"/>
              <a:gd name="connsiteX91" fmla="*/ 313682 w 352400"/>
              <a:gd name="connsiteY91" fmla="*/ 238582 h 380452"/>
              <a:gd name="connsiteX92" fmla="*/ 342020 w 352400"/>
              <a:gd name="connsiteY92" fmla="*/ 299645 h 380452"/>
              <a:gd name="connsiteX93" fmla="*/ 352075 w 352400"/>
              <a:gd name="connsiteY93" fmla="*/ 349189 h 380452"/>
              <a:gd name="connsiteX94" fmla="*/ 345493 w 352400"/>
              <a:gd name="connsiteY94" fmla="*/ 370945 h 380452"/>
              <a:gd name="connsiteX95" fmla="*/ 319715 w 352400"/>
              <a:gd name="connsiteY95" fmla="*/ 380452 h 380452"/>
              <a:gd name="connsiteX96" fmla="*/ 32502 w 352400"/>
              <a:gd name="connsiteY96" fmla="*/ 380452 h 380452"/>
              <a:gd name="connsiteX97" fmla="*/ 6907 w 352400"/>
              <a:gd name="connsiteY97" fmla="*/ 371128 h 380452"/>
              <a:gd name="connsiteX98" fmla="*/ 325 w 352400"/>
              <a:gd name="connsiteY98" fmla="*/ 349372 h 380452"/>
              <a:gd name="connsiteX99" fmla="*/ 10380 w 352400"/>
              <a:gd name="connsiteY99" fmla="*/ 299827 h 380452"/>
              <a:gd name="connsiteX100" fmla="*/ 38718 w 352400"/>
              <a:gd name="connsiteY100" fmla="*/ 238765 h 380452"/>
              <a:gd name="connsiteX101" fmla="*/ 60657 w 352400"/>
              <a:gd name="connsiteY101" fmla="*/ 232183 h 380452"/>
              <a:gd name="connsiteX102" fmla="*/ 110567 w 352400"/>
              <a:gd name="connsiteY102" fmla="*/ 214815 h 380452"/>
              <a:gd name="connsiteX103" fmla="*/ 119160 w 352400"/>
              <a:gd name="connsiteY103" fmla="*/ 211890 h 380452"/>
              <a:gd name="connsiteX104" fmla="*/ 199052 w 352400"/>
              <a:gd name="connsiteY104" fmla="*/ 112070 h 380452"/>
              <a:gd name="connsiteX105" fmla="*/ 189911 w 352400"/>
              <a:gd name="connsiteY105" fmla="*/ 117554 h 380452"/>
              <a:gd name="connsiteX106" fmla="*/ 188997 w 352400"/>
              <a:gd name="connsiteY106" fmla="*/ 119200 h 380452"/>
              <a:gd name="connsiteX107" fmla="*/ 188631 w 352400"/>
              <a:gd name="connsiteY107" fmla="*/ 121211 h 380452"/>
              <a:gd name="connsiteX108" fmla="*/ 188631 w 352400"/>
              <a:gd name="connsiteY108" fmla="*/ 122490 h 380452"/>
              <a:gd name="connsiteX109" fmla="*/ 199052 w 352400"/>
              <a:gd name="connsiteY109" fmla="*/ 132911 h 380452"/>
              <a:gd name="connsiteX110" fmla="*/ 209656 w 352400"/>
              <a:gd name="connsiteY110" fmla="*/ 122490 h 380452"/>
              <a:gd name="connsiteX111" fmla="*/ 199052 w 352400"/>
              <a:gd name="connsiteY111" fmla="*/ 112070 h 380452"/>
              <a:gd name="connsiteX112" fmla="*/ 152432 w 352400"/>
              <a:gd name="connsiteY112" fmla="*/ 111887 h 380452"/>
              <a:gd name="connsiteX113" fmla="*/ 142012 w 352400"/>
              <a:gd name="connsiteY113" fmla="*/ 122490 h 380452"/>
              <a:gd name="connsiteX114" fmla="*/ 142012 w 352400"/>
              <a:gd name="connsiteY114" fmla="*/ 122673 h 380452"/>
              <a:gd name="connsiteX115" fmla="*/ 144754 w 352400"/>
              <a:gd name="connsiteY115" fmla="*/ 129803 h 380452"/>
              <a:gd name="connsiteX116" fmla="*/ 152067 w 352400"/>
              <a:gd name="connsiteY116" fmla="*/ 132911 h 380452"/>
              <a:gd name="connsiteX117" fmla="*/ 162670 w 352400"/>
              <a:gd name="connsiteY117" fmla="*/ 122490 h 380452"/>
              <a:gd name="connsiteX118" fmla="*/ 162670 w 352400"/>
              <a:gd name="connsiteY118" fmla="*/ 120662 h 380452"/>
              <a:gd name="connsiteX119" fmla="*/ 162670 w 352400"/>
              <a:gd name="connsiteY119" fmla="*/ 120297 h 380452"/>
              <a:gd name="connsiteX120" fmla="*/ 162670 w 352400"/>
              <a:gd name="connsiteY120" fmla="*/ 119017 h 380452"/>
              <a:gd name="connsiteX121" fmla="*/ 161756 w 352400"/>
              <a:gd name="connsiteY121" fmla="*/ 117371 h 380452"/>
              <a:gd name="connsiteX122" fmla="*/ 152432 w 352400"/>
              <a:gd name="connsiteY122" fmla="*/ 111887 h 380452"/>
              <a:gd name="connsiteX123" fmla="*/ 152432 w 352400"/>
              <a:gd name="connsiteY123" fmla="*/ 103477 h 380452"/>
              <a:gd name="connsiteX124" fmla="*/ 169435 w 352400"/>
              <a:gd name="connsiteY124" fmla="*/ 113532 h 380452"/>
              <a:gd name="connsiteX125" fmla="*/ 175834 w 352400"/>
              <a:gd name="connsiteY125" fmla="*/ 112801 h 380452"/>
              <a:gd name="connsiteX126" fmla="*/ 182232 w 352400"/>
              <a:gd name="connsiteY126" fmla="*/ 113532 h 380452"/>
              <a:gd name="connsiteX127" fmla="*/ 199052 w 352400"/>
              <a:gd name="connsiteY127" fmla="*/ 103477 h 380452"/>
              <a:gd name="connsiteX128" fmla="*/ 218065 w 352400"/>
              <a:gd name="connsiteY128" fmla="*/ 122490 h 380452"/>
              <a:gd name="connsiteX129" fmla="*/ 199052 w 352400"/>
              <a:gd name="connsiteY129" fmla="*/ 141504 h 380452"/>
              <a:gd name="connsiteX130" fmla="*/ 180038 w 352400"/>
              <a:gd name="connsiteY130" fmla="*/ 122490 h 380452"/>
              <a:gd name="connsiteX131" fmla="*/ 180038 w 352400"/>
              <a:gd name="connsiteY131" fmla="*/ 120114 h 380452"/>
              <a:gd name="connsiteX132" fmla="*/ 175468 w 352400"/>
              <a:gd name="connsiteY132" fmla="*/ 119565 h 380452"/>
              <a:gd name="connsiteX133" fmla="*/ 171080 w 352400"/>
              <a:gd name="connsiteY133" fmla="*/ 119931 h 380452"/>
              <a:gd name="connsiteX134" fmla="*/ 171263 w 352400"/>
              <a:gd name="connsiteY134" fmla="*/ 122490 h 380452"/>
              <a:gd name="connsiteX135" fmla="*/ 152250 w 352400"/>
              <a:gd name="connsiteY135" fmla="*/ 141504 h 380452"/>
              <a:gd name="connsiteX136" fmla="*/ 133419 w 352400"/>
              <a:gd name="connsiteY136" fmla="*/ 122490 h 380452"/>
              <a:gd name="connsiteX137" fmla="*/ 152432 w 352400"/>
              <a:gd name="connsiteY137" fmla="*/ 103477 h 380452"/>
              <a:gd name="connsiteX138" fmla="*/ 153164 w 352400"/>
              <a:gd name="connsiteY138" fmla="*/ 60148 h 380452"/>
              <a:gd name="connsiteX139" fmla="*/ 135431 w 352400"/>
              <a:gd name="connsiteY139" fmla="*/ 64170 h 380452"/>
              <a:gd name="connsiteX140" fmla="*/ 127569 w 352400"/>
              <a:gd name="connsiteY140" fmla="*/ 78796 h 380452"/>
              <a:gd name="connsiteX141" fmla="*/ 127935 w 352400"/>
              <a:gd name="connsiteY141" fmla="*/ 111339 h 380452"/>
              <a:gd name="connsiteX142" fmla="*/ 126472 w 352400"/>
              <a:gd name="connsiteY142" fmla="*/ 111521 h 380452"/>
              <a:gd name="connsiteX143" fmla="*/ 120622 w 352400"/>
              <a:gd name="connsiteY143" fmla="*/ 102563 h 380452"/>
              <a:gd name="connsiteX144" fmla="*/ 117148 w 352400"/>
              <a:gd name="connsiteY144" fmla="*/ 105854 h 380452"/>
              <a:gd name="connsiteX145" fmla="*/ 116966 w 352400"/>
              <a:gd name="connsiteY145" fmla="*/ 119748 h 380452"/>
              <a:gd name="connsiteX146" fmla="*/ 120256 w 352400"/>
              <a:gd name="connsiteY146" fmla="*/ 137482 h 380452"/>
              <a:gd name="connsiteX147" fmla="*/ 123730 w 352400"/>
              <a:gd name="connsiteY147" fmla="*/ 140773 h 380452"/>
              <a:gd name="connsiteX148" fmla="*/ 129946 w 352400"/>
              <a:gd name="connsiteY148" fmla="*/ 147354 h 380452"/>
              <a:gd name="connsiteX149" fmla="*/ 130129 w 352400"/>
              <a:gd name="connsiteY149" fmla="*/ 148634 h 380452"/>
              <a:gd name="connsiteX150" fmla="*/ 130312 w 352400"/>
              <a:gd name="connsiteY150" fmla="*/ 150280 h 380452"/>
              <a:gd name="connsiteX151" fmla="*/ 175652 w 352400"/>
              <a:gd name="connsiteY151" fmla="*/ 197265 h 380452"/>
              <a:gd name="connsiteX152" fmla="*/ 220991 w 352400"/>
              <a:gd name="connsiteY152" fmla="*/ 150280 h 380452"/>
              <a:gd name="connsiteX153" fmla="*/ 221174 w 352400"/>
              <a:gd name="connsiteY153" fmla="*/ 148634 h 380452"/>
              <a:gd name="connsiteX154" fmla="*/ 221357 w 352400"/>
              <a:gd name="connsiteY154" fmla="*/ 147354 h 380452"/>
              <a:gd name="connsiteX155" fmla="*/ 227573 w 352400"/>
              <a:gd name="connsiteY155" fmla="*/ 140956 h 380452"/>
              <a:gd name="connsiteX156" fmla="*/ 231229 w 352400"/>
              <a:gd name="connsiteY156" fmla="*/ 137665 h 380452"/>
              <a:gd name="connsiteX157" fmla="*/ 234337 w 352400"/>
              <a:gd name="connsiteY157" fmla="*/ 119931 h 380452"/>
              <a:gd name="connsiteX158" fmla="*/ 234155 w 352400"/>
              <a:gd name="connsiteY158" fmla="*/ 105854 h 380452"/>
              <a:gd name="connsiteX159" fmla="*/ 230681 w 352400"/>
              <a:gd name="connsiteY159" fmla="*/ 102380 h 380452"/>
              <a:gd name="connsiteX160" fmla="*/ 225013 w 352400"/>
              <a:gd name="connsiteY160" fmla="*/ 111339 h 380452"/>
              <a:gd name="connsiteX161" fmla="*/ 223551 w 352400"/>
              <a:gd name="connsiteY161" fmla="*/ 111156 h 380452"/>
              <a:gd name="connsiteX162" fmla="*/ 222820 w 352400"/>
              <a:gd name="connsiteY162" fmla="*/ 78613 h 380452"/>
              <a:gd name="connsiteX163" fmla="*/ 214410 w 352400"/>
              <a:gd name="connsiteY163" fmla="*/ 63988 h 380452"/>
              <a:gd name="connsiteX164" fmla="*/ 196310 w 352400"/>
              <a:gd name="connsiteY164" fmla="*/ 60148 h 380452"/>
              <a:gd name="connsiteX165" fmla="*/ 186438 w 352400"/>
              <a:gd name="connsiteY165" fmla="*/ 65085 h 380452"/>
              <a:gd name="connsiteX166" fmla="*/ 163220 w 352400"/>
              <a:gd name="connsiteY166" fmla="*/ 65085 h 380452"/>
              <a:gd name="connsiteX167" fmla="*/ 173458 w 352400"/>
              <a:gd name="connsiteY167" fmla="*/ 0 h 380452"/>
              <a:gd name="connsiteX168" fmla="*/ 177663 w 352400"/>
              <a:gd name="connsiteY168" fmla="*/ 366 h 380452"/>
              <a:gd name="connsiteX169" fmla="*/ 179491 w 352400"/>
              <a:gd name="connsiteY169" fmla="*/ 548 h 380452"/>
              <a:gd name="connsiteX170" fmla="*/ 225379 w 352400"/>
              <a:gd name="connsiteY170" fmla="*/ 24315 h 380452"/>
              <a:gd name="connsiteX171" fmla="*/ 226293 w 352400"/>
              <a:gd name="connsiteY171" fmla="*/ 26509 h 380452"/>
              <a:gd name="connsiteX172" fmla="*/ 228487 w 352400"/>
              <a:gd name="connsiteY172" fmla="*/ 27606 h 380452"/>
              <a:gd name="connsiteX173" fmla="*/ 249694 w 352400"/>
              <a:gd name="connsiteY173" fmla="*/ 79528 h 380452"/>
              <a:gd name="connsiteX174" fmla="*/ 249512 w 352400"/>
              <a:gd name="connsiteY174" fmla="*/ 88669 h 380452"/>
              <a:gd name="connsiteX175" fmla="*/ 249512 w 352400"/>
              <a:gd name="connsiteY175" fmla="*/ 91228 h 380452"/>
              <a:gd name="connsiteX176" fmla="*/ 251340 w 352400"/>
              <a:gd name="connsiteY176" fmla="*/ 93056 h 380452"/>
              <a:gd name="connsiteX177" fmla="*/ 254996 w 352400"/>
              <a:gd name="connsiteY177" fmla="*/ 119566 h 380452"/>
              <a:gd name="connsiteX178" fmla="*/ 250609 w 352400"/>
              <a:gd name="connsiteY178" fmla="*/ 143150 h 380452"/>
              <a:gd name="connsiteX179" fmla="*/ 242564 w 352400"/>
              <a:gd name="connsiteY179" fmla="*/ 151925 h 380452"/>
              <a:gd name="connsiteX180" fmla="*/ 239822 w 352400"/>
              <a:gd name="connsiteY180" fmla="*/ 153022 h 380452"/>
              <a:gd name="connsiteX181" fmla="*/ 239456 w 352400"/>
              <a:gd name="connsiteY181" fmla="*/ 153205 h 380452"/>
              <a:gd name="connsiteX182" fmla="*/ 239274 w 352400"/>
              <a:gd name="connsiteY182" fmla="*/ 153570 h 380452"/>
              <a:gd name="connsiteX183" fmla="*/ 175652 w 352400"/>
              <a:gd name="connsiteY183" fmla="*/ 219752 h 380452"/>
              <a:gd name="connsiteX184" fmla="*/ 112029 w 352400"/>
              <a:gd name="connsiteY184" fmla="*/ 153570 h 380452"/>
              <a:gd name="connsiteX185" fmla="*/ 111847 w 352400"/>
              <a:gd name="connsiteY185" fmla="*/ 153205 h 380452"/>
              <a:gd name="connsiteX186" fmla="*/ 111481 w 352400"/>
              <a:gd name="connsiteY186" fmla="*/ 153022 h 380452"/>
              <a:gd name="connsiteX187" fmla="*/ 108739 w 352400"/>
              <a:gd name="connsiteY187" fmla="*/ 151925 h 380452"/>
              <a:gd name="connsiteX188" fmla="*/ 100512 w 352400"/>
              <a:gd name="connsiteY188" fmla="*/ 143150 h 380452"/>
              <a:gd name="connsiteX189" fmla="*/ 96124 w 352400"/>
              <a:gd name="connsiteY189" fmla="*/ 119200 h 380452"/>
              <a:gd name="connsiteX190" fmla="*/ 99780 w 352400"/>
              <a:gd name="connsiteY190" fmla="*/ 92874 h 380452"/>
              <a:gd name="connsiteX191" fmla="*/ 101609 w 352400"/>
              <a:gd name="connsiteY191" fmla="*/ 91045 h 380452"/>
              <a:gd name="connsiteX192" fmla="*/ 101426 w 352400"/>
              <a:gd name="connsiteY192" fmla="*/ 83367 h 380452"/>
              <a:gd name="connsiteX193" fmla="*/ 116783 w 352400"/>
              <a:gd name="connsiteY193" fmla="*/ 19928 h 380452"/>
              <a:gd name="connsiteX194" fmla="*/ 173458 w 352400"/>
              <a:gd name="connsiteY194" fmla="*/ 0 h 380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352400" h="380452">
                <a:moveTo>
                  <a:pt x="260275" y="303768"/>
                </a:moveTo>
                <a:lnTo>
                  <a:pt x="250060" y="332369"/>
                </a:lnTo>
                <a:lnTo>
                  <a:pt x="269074" y="321583"/>
                </a:lnTo>
                <a:lnTo>
                  <a:pt x="269254" y="321841"/>
                </a:lnTo>
                <a:lnTo>
                  <a:pt x="269439" y="321583"/>
                </a:lnTo>
                <a:lnTo>
                  <a:pt x="288452" y="332370"/>
                </a:lnTo>
                <a:lnTo>
                  <a:pt x="278598" y="304777"/>
                </a:lnTo>
                <a:lnTo>
                  <a:pt x="270718" y="308055"/>
                </a:lnTo>
                <a:close/>
                <a:moveTo>
                  <a:pt x="270536" y="273318"/>
                </a:moveTo>
                <a:lnTo>
                  <a:pt x="273827" y="280082"/>
                </a:lnTo>
                <a:lnTo>
                  <a:pt x="281323" y="281179"/>
                </a:lnTo>
                <a:lnTo>
                  <a:pt x="275838" y="286481"/>
                </a:lnTo>
                <a:lnTo>
                  <a:pt x="277483" y="293977"/>
                </a:lnTo>
                <a:lnTo>
                  <a:pt x="270719" y="290503"/>
                </a:lnTo>
                <a:lnTo>
                  <a:pt x="263955" y="293977"/>
                </a:lnTo>
                <a:lnTo>
                  <a:pt x="265234" y="286481"/>
                </a:lnTo>
                <a:lnTo>
                  <a:pt x="259750" y="281179"/>
                </a:lnTo>
                <a:lnTo>
                  <a:pt x="267245" y="280082"/>
                </a:lnTo>
                <a:close/>
                <a:moveTo>
                  <a:pt x="270718" y="267651"/>
                </a:moveTo>
                <a:cubicBezTo>
                  <a:pt x="261943" y="267651"/>
                  <a:pt x="254813" y="274781"/>
                  <a:pt x="254813" y="283557"/>
                </a:cubicBezTo>
                <a:cubicBezTo>
                  <a:pt x="254813" y="292332"/>
                  <a:pt x="261943" y="299462"/>
                  <a:pt x="270718" y="299462"/>
                </a:cubicBezTo>
                <a:cubicBezTo>
                  <a:pt x="279494" y="299462"/>
                  <a:pt x="286624" y="292332"/>
                  <a:pt x="286624" y="283557"/>
                </a:cubicBezTo>
                <a:cubicBezTo>
                  <a:pt x="286624" y="274781"/>
                  <a:pt x="279494" y="267651"/>
                  <a:pt x="270718" y="267651"/>
                </a:cubicBezTo>
                <a:close/>
                <a:moveTo>
                  <a:pt x="270718" y="259058"/>
                </a:moveTo>
                <a:cubicBezTo>
                  <a:pt x="284247" y="259058"/>
                  <a:pt x="295399" y="270028"/>
                  <a:pt x="295399" y="283557"/>
                </a:cubicBezTo>
                <a:cubicBezTo>
                  <a:pt x="295399" y="290230"/>
                  <a:pt x="292611" y="296355"/>
                  <a:pt x="288132" y="300811"/>
                </a:cubicBezTo>
                <a:lnTo>
                  <a:pt x="285811" y="301777"/>
                </a:lnTo>
                <a:lnTo>
                  <a:pt x="302713" y="348824"/>
                </a:lnTo>
                <a:lnTo>
                  <a:pt x="269400" y="329811"/>
                </a:lnTo>
                <a:lnTo>
                  <a:pt x="235800" y="348823"/>
                </a:lnTo>
                <a:lnTo>
                  <a:pt x="253123" y="300607"/>
                </a:lnTo>
                <a:lnTo>
                  <a:pt x="246037" y="283557"/>
                </a:lnTo>
                <a:cubicBezTo>
                  <a:pt x="246037" y="270211"/>
                  <a:pt x="257189" y="259058"/>
                  <a:pt x="270718" y="259058"/>
                </a:cubicBezTo>
                <a:close/>
                <a:moveTo>
                  <a:pt x="108922" y="239313"/>
                </a:moveTo>
                <a:cubicBezTo>
                  <a:pt x="92285" y="246992"/>
                  <a:pt x="76928" y="250283"/>
                  <a:pt x="65044" y="252659"/>
                </a:cubicBezTo>
                <a:lnTo>
                  <a:pt x="64679" y="252659"/>
                </a:lnTo>
                <a:cubicBezTo>
                  <a:pt x="58828" y="253756"/>
                  <a:pt x="51515" y="255402"/>
                  <a:pt x="49139" y="256681"/>
                </a:cubicBezTo>
                <a:lnTo>
                  <a:pt x="48773" y="256864"/>
                </a:lnTo>
                <a:lnTo>
                  <a:pt x="48590" y="256864"/>
                </a:lnTo>
                <a:cubicBezTo>
                  <a:pt x="48225" y="257230"/>
                  <a:pt x="46396" y="259058"/>
                  <a:pt x="43288" y="265457"/>
                </a:cubicBezTo>
                <a:cubicBezTo>
                  <a:pt x="39083" y="274415"/>
                  <a:pt x="34696" y="287395"/>
                  <a:pt x="30491" y="304581"/>
                </a:cubicBezTo>
                <a:cubicBezTo>
                  <a:pt x="27200" y="318658"/>
                  <a:pt x="23726" y="335295"/>
                  <a:pt x="20984" y="351749"/>
                </a:cubicBezTo>
                <a:cubicBezTo>
                  <a:pt x="20801" y="351932"/>
                  <a:pt x="20801" y="352297"/>
                  <a:pt x="20801" y="352480"/>
                </a:cubicBezTo>
                <a:cubicBezTo>
                  <a:pt x="20618" y="353943"/>
                  <a:pt x="20984" y="355405"/>
                  <a:pt x="21898" y="356319"/>
                </a:cubicBezTo>
                <a:cubicBezTo>
                  <a:pt x="22630" y="356868"/>
                  <a:pt x="25006" y="358879"/>
                  <a:pt x="31953" y="358879"/>
                </a:cubicBezTo>
                <a:lnTo>
                  <a:pt x="318984" y="358879"/>
                </a:lnTo>
                <a:cubicBezTo>
                  <a:pt x="323920" y="358879"/>
                  <a:pt x="327394" y="357782"/>
                  <a:pt x="329405" y="355954"/>
                </a:cubicBezTo>
                <a:cubicBezTo>
                  <a:pt x="330136" y="355040"/>
                  <a:pt x="330502" y="353577"/>
                  <a:pt x="330319" y="352114"/>
                </a:cubicBezTo>
                <a:lnTo>
                  <a:pt x="330136" y="350652"/>
                </a:lnTo>
                <a:cubicBezTo>
                  <a:pt x="329222" y="344802"/>
                  <a:pt x="325749" y="324691"/>
                  <a:pt x="320812" y="304581"/>
                </a:cubicBezTo>
                <a:cubicBezTo>
                  <a:pt x="316607" y="287578"/>
                  <a:pt x="312220" y="274415"/>
                  <a:pt x="308015" y="265640"/>
                </a:cubicBezTo>
                <a:cubicBezTo>
                  <a:pt x="305090" y="259424"/>
                  <a:pt x="303079" y="257413"/>
                  <a:pt x="302713" y="257047"/>
                </a:cubicBezTo>
                <a:lnTo>
                  <a:pt x="302530" y="257047"/>
                </a:lnTo>
                <a:lnTo>
                  <a:pt x="302165" y="256864"/>
                </a:lnTo>
                <a:cubicBezTo>
                  <a:pt x="299971" y="255584"/>
                  <a:pt x="292658" y="254122"/>
                  <a:pt x="286807" y="252842"/>
                </a:cubicBezTo>
                <a:cubicBezTo>
                  <a:pt x="275655" y="250465"/>
                  <a:pt x="259750" y="247357"/>
                  <a:pt x="242565" y="239313"/>
                </a:cubicBezTo>
                <a:cubicBezTo>
                  <a:pt x="241833" y="242970"/>
                  <a:pt x="240553" y="247175"/>
                  <a:pt x="239274" y="252111"/>
                </a:cubicBezTo>
                <a:cubicBezTo>
                  <a:pt x="235069" y="266188"/>
                  <a:pt x="229036" y="282094"/>
                  <a:pt x="222271" y="297085"/>
                </a:cubicBezTo>
                <a:lnTo>
                  <a:pt x="200150" y="346630"/>
                </a:lnTo>
                <a:lnTo>
                  <a:pt x="182782" y="295074"/>
                </a:lnTo>
                <a:cubicBezTo>
                  <a:pt x="179308" y="284836"/>
                  <a:pt x="177114" y="278803"/>
                  <a:pt x="175834" y="275146"/>
                </a:cubicBezTo>
                <a:cubicBezTo>
                  <a:pt x="173823" y="280631"/>
                  <a:pt x="170898" y="289406"/>
                  <a:pt x="169070" y="295074"/>
                </a:cubicBezTo>
                <a:lnTo>
                  <a:pt x="151885" y="346995"/>
                </a:lnTo>
                <a:lnTo>
                  <a:pt x="129398" y="297085"/>
                </a:lnTo>
                <a:cubicBezTo>
                  <a:pt x="128666" y="295257"/>
                  <a:pt x="114589" y="263994"/>
                  <a:pt x="108922" y="239313"/>
                </a:cubicBezTo>
                <a:close/>
                <a:moveTo>
                  <a:pt x="119160" y="211890"/>
                </a:moveTo>
                <a:cubicBezTo>
                  <a:pt x="120805" y="211890"/>
                  <a:pt x="122268" y="212256"/>
                  <a:pt x="123730" y="212987"/>
                </a:cubicBezTo>
                <a:cubicBezTo>
                  <a:pt x="126655" y="214632"/>
                  <a:pt x="128301" y="217557"/>
                  <a:pt x="128118" y="221214"/>
                </a:cubicBezTo>
                <a:lnTo>
                  <a:pt x="128118" y="221580"/>
                </a:lnTo>
                <a:cubicBezTo>
                  <a:pt x="127021" y="228710"/>
                  <a:pt x="135248" y="257961"/>
                  <a:pt x="148960" y="288675"/>
                </a:cubicBezTo>
                <a:cubicBezTo>
                  <a:pt x="152068" y="279168"/>
                  <a:pt x="155358" y="268930"/>
                  <a:pt x="157187" y="264360"/>
                </a:cubicBezTo>
                <a:cubicBezTo>
                  <a:pt x="152068" y="258510"/>
                  <a:pt x="148960" y="253939"/>
                  <a:pt x="148228" y="250831"/>
                </a:cubicBezTo>
                <a:cubicBezTo>
                  <a:pt x="145852" y="241690"/>
                  <a:pt x="153347" y="236205"/>
                  <a:pt x="155724" y="234377"/>
                </a:cubicBezTo>
                <a:cubicBezTo>
                  <a:pt x="157918" y="232732"/>
                  <a:pt x="160660" y="231818"/>
                  <a:pt x="163403" y="231818"/>
                </a:cubicBezTo>
                <a:cubicBezTo>
                  <a:pt x="165048" y="231818"/>
                  <a:pt x="166693" y="232183"/>
                  <a:pt x="168156" y="232732"/>
                </a:cubicBezTo>
                <a:lnTo>
                  <a:pt x="175103" y="235657"/>
                </a:lnTo>
                <a:cubicBezTo>
                  <a:pt x="175286" y="235840"/>
                  <a:pt x="175469" y="235840"/>
                  <a:pt x="175834" y="235840"/>
                </a:cubicBezTo>
                <a:cubicBezTo>
                  <a:pt x="176017" y="235840"/>
                  <a:pt x="176383" y="235657"/>
                  <a:pt x="176566" y="235657"/>
                </a:cubicBezTo>
                <a:lnTo>
                  <a:pt x="176749" y="235474"/>
                </a:lnTo>
                <a:lnTo>
                  <a:pt x="183330" y="232732"/>
                </a:lnTo>
                <a:cubicBezTo>
                  <a:pt x="184793" y="232183"/>
                  <a:pt x="186438" y="231818"/>
                  <a:pt x="188084" y="231818"/>
                </a:cubicBezTo>
                <a:cubicBezTo>
                  <a:pt x="190826" y="231818"/>
                  <a:pt x="193751" y="232732"/>
                  <a:pt x="195945" y="234377"/>
                </a:cubicBezTo>
                <a:cubicBezTo>
                  <a:pt x="198504" y="236205"/>
                  <a:pt x="205817" y="241690"/>
                  <a:pt x="203441" y="250831"/>
                </a:cubicBezTo>
                <a:cubicBezTo>
                  <a:pt x="202526" y="253939"/>
                  <a:pt x="199418" y="258510"/>
                  <a:pt x="194482" y="264360"/>
                </a:cubicBezTo>
                <a:cubicBezTo>
                  <a:pt x="196311" y="269113"/>
                  <a:pt x="199784" y="279168"/>
                  <a:pt x="202892" y="288675"/>
                </a:cubicBezTo>
                <a:cubicBezTo>
                  <a:pt x="216604" y="257961"/>
                  <a:pt x="224831" y="228527"/>
                  <a:pt x="223734" y="221580"/>
                </a:cubicBezTo>
                <a:lnTo>
                  <a:pt x="223734" y="221214"/>
                </a:lnTo>
                <a:cubicBezTo>
                  <a:pt x="223368" y="217557"/>
                  <a:pt x="225014" y="214632"/>
                  <a:pt x="228122" y="212987"/>
                </a:cubicBezTo>
                <a:cubicBezTo>
                  <a:pt x="229584" y="212256"/>
                  <a:pt x="231047" y="211890"/>
                  <a:pt x="232692" y="211890"/>
                </a:cubicBezTo>
                <a:cubicBezTo>
                  <a:pt x="235800" y="211890"/>
                  <a:pt x="238908" y="212987"/>
                  <a:pt x="241833" y="214632"/>
                </a:cubicBezTo>
                <a:cubicBezTo>
                  <a:pt x="260115" y="225602"/>
                  <a:pt x="277666" y="229075"/>
                  <a:pt x="291744" y="232000"/>
                </a:cubicBezTo>
                <a:cubicBezTo>
                  <a:pt x="300885" y="234011"/>
                  <a:pt x="308380" y="235474"/>
                  <a:pt x="313682" y="238582"/>
                </a:cubicBezTo>
                <a:cubicBezTo>
                  <a:pt x="320081" y="242056"/>
                  <a:pt x="330319" y="252476"/>
                  <a:pt x="342020" y="299645"/>
                </a:cubicBezTo>
                <a:cubicBezTo>
                  <a:pt x="348419" y="324874"/>
                  <a:pt x="352075" y="349006"/>
                  <a:pt x="352075" y="349189"/>
                </a:cubicBezTo>
                <a:cubicBezTo>
                  <a:pt x="353355" y="357233"/>
                  <a:pt x="350795" y="365278"/>
                  <a:pt x="345493" y="370945"/>
                </a:cubicBezTo>
                <a:cubicBezTo>
                  <a:pt x="341288" y="375333"/>
                  <a:pt x="333427" y="380452"/>
                  <a:pt x="319715" y="380452"/>
                </a:cubicBezTo>
                <a:lnTo>
                  <a:pt x="32502" y="380452"/>
                </a:lnTo>
                <a:cubicBezTo>
                  <a:pt x="18607" y="380452"/>
                  <a:pt x="10929" y="375333"/>
                  <a:pt x="6907" y="371128"/>
                </a:cubicBezTo>
                <a:cubicBezTo>
                  <a:pt x="1605" y="365278"/>
                  <a:pt x="-955" y="357233"/>
                  <a:pt x="325" y="349372"/>
                </a:cubicBezTo>
                <a:cubicBezTo>
                  <a:pt x="325" y="349189"/>
                  <a:pt x="4164" y="324874"/>
                  <a:pt x="10380" y="299827"/>
                </a:cubicBezTo>
                <a:cubicBezTo>
                  <a:pt x="22081" y="252659"/>
                  <a:pt x="31953" y="242421"/>
                  <a:pt x="38718" y="238765"/>
                </a:cubicBezTo>
                <a:cubicBezTo>
                  <a:pt x="44020" y="235657"/>
                  <a:pt x="51333" y="234011"/>
                  <a:pt x="60657" y="232183"/>
                </a:cubicBezTo>
                <a:cubicBezTo>
                  <a:pt x="74734" y="229258"/>
                  <a:pt x="92102" y="225602"/>
                  <a:pt x="110567" y="214815"/>
                </a:cubicBezTo>
                <a:cubicBezTo>
                  <a:pt x="112944" y="213170"/>
                  <a:pt x="116052" y="211890"/>
                  <a:pt x="119160" y="211890"/>
                </a:cubicBezTo>
                <a:close/>
                <a:moveTo>
                  <a:pt x="199052" y="112070"/>
                </a:moveTo>
                <a:cubicBezTo>
                  <a:pt x="195213" y="112070"/>
                  <a:pt x="191739" y="114081"/>
                  <a:pt x="189911" y="117554"/>
                </a:cubicBezTo>
                <a:lnTo>
                  <a:pt x="188997" y="119200"/>
                </a:lnTo>
                <a:lnTo>
                  <a:pt x="188631" y="121211"/>
                </a:lnTo>
                <a:cubicBezTo>
                  <a:pt x="188631" y="121394"/>
                  <a:pt x="188631" y="122125"/>
                  <a:pt x="188631" y="122490"/>
                </a:cubicBezTo>
                <a:cubicBezTo>
                  <a:pt x="188631" y="128158"/>
                  <a:pt x="193202" y="132911"/>
                  <a:pt x="199052" y="132911"/>
                </a:cubicBezTo>
                <a:cubicBezTo>
                  <a:pt x="204902" y="132911"/>
                  <a:pt x="209656" y="128341"/>
                  <a:pt x="209656" y="122490"/>
                </a:cubicBezTo>
                <a:cubicBezTo>
                  <a:pt x="209656" y="116823"/>
                  <a:pt x="204902" y="112070"/>
                  <a:pt x="199052" y="112070"/>
                </a:cubicBezTo>
                <a:close/>
                <a:moveTo>
                  <a:pt x="152432" y="111887"/>
                </a:moveTo>
                <a:cubicBezTo>
                  <a:pt x="146765" y="111887"/>
                  <a:pt x="142012" y="116640"/>
                  <a:pt x="142012" y="122490"/>
                </a:cubicBezTo>
                <a:lnTo>
                  <a:pt x="142012" y="122673"/>
                </a:lnTo>
                <a:cubicBezTo>
                  <a:pt x="141829" y="125416"/>
                  <a:pt x="142926" y="127975"/>
                  <a:pt x="144754" y="129803"/>
                </a:cubicBezTo>
                <a:cubicBezTo>
                  <a:pt x="146582" y="131814"/>
                  <a:pt x="149324" y="132911"/>
                  <a:pt x="152067" y="132911"/>
                </a:cubicBezTo>
                <a:cubicBezTo>
                  <a:pt x="157917" y="132911"/>
                  <a:pt x="162670" y="128341"/>
                  <a:pt x="162670" y="122490"/>
                </a:cubicBezTo>
                <a:cubicBezTo>
                  <a:pt x="162670" y="121942"/>
                  <a:pt x="162670" y="121394"/>
                  <a:pt x="162670" y="120662"/>
                </a:cubicBezTo>
                <a:lnTo>
                  <a:pt x="162670" y="120297"/>
                </a:lnTo>
                <a:lnTo>
                  <a:pt x="162670" y="119017"/>
                </a:lnTo>
                <a:lnTo>
                  <a:pt x="161756" y="117371"/>
                </a:lnTo>
                <a:cubicBezTo>
                  <a:pt x="159928" y="114081"/>
                  <a:pt x="156272" y="111887"/>
                  <a:pt x="152432" y="111887"/>
                </a:cubicBezTo>
                <a:close/>
                <a:moveTo>
                  <a:pt x="152432" y="103477"/>
                </a:moveTo>
                <a:cubicBezTo>
                  <a:pt x="159745" y="103477"/>
                  <a:pt x="165961" y="107499"/>
                  <a:pt x="169435" y="113532"/>
                </a:cubicBezTo>
                <a:cubicBezTo>
                  <a:pt x="171446" y="112984"/>
                  <a:pt x="173640" y="112801"/>
                  <a:pt x="175834" y="112801"/>
                </a:cubicBezTo>
                <a:cubicBezTo>
                  <a:pt x="178027" y="112801"/>
                  <a:pt x="180221" y="112984"/>
                  <a:pt x="182232" y="113532"/>
                </a:cubicBezTo>
                <a:cubicBezTo>
                  <a:pt x="185523" y="107316"/>
                  <a:pt x="192105" y="103477"/>
                  <a:pt x="199052" y="103477"/>
                </a:cubicBezTo>
                <a:cubicBezTo>
                  <a:pt x="209473" y="103477"/>
                  <a:pt x="218065" y="112070"/>
                  <a:pt x="218065" y="122490"/>
                </a:cubicBezTo>
                <a:cubicBezTo>
                  <a:pt x="218065" y="132911"/>
                  <a:pt x="209473" y="141504"/>
                  <a:pt x="199052" y="141504"/>
                </a:cubicBezTo>
                <a:cubicBezTo>
                  <a:pt x="188631" y="141504"/>
                  <a:pt x="180038" y="132911"/>
                  <a:pt x="180038" y="122490"/>
                </a:cubicBezTo>
                <a:cubicBezTo>
                  <a:pt x="180038" y="121576"/>
                  <a:pt x="180038" y="120845"/>
                  <a:pt x="180038" y="120114"/>
                </a:cubicBezTo>
                <a:cubicBezTo>
                  <a:pt x="178576" y="119748"/>
                  <a:pt x="176931" y="119565"/>
                  <a:pt x="175468" y="119565"/>
                </a:cubicBezTo>
                <a:cubicBezTo>
                  <a:pt x="174005" y="119565"/>
                  <a:pt x="172543" y="119748"/>
                  <a:pt x="171080" y="119931"/>
                </a:cubicBezTo>
                <a:cubicBezTo>
                  <a:pt x="171263" y="120662"/>
                  <a:pt x="171263" y="121576"/>
                  <a:pt x="171263" y="122490"/>
                </a:cubicBezTo>
                <a:cubicBezTo>
                  <a:pt x="171263" y="132911"/>
                  <a:pt x="162670" y="141504"/>
                  <a:pt x="152250" y="141504"/>
                </a:cubicBezTo>
                <a:cubicBezTo>
                  <a:pt x="141829" y="141504"/>
                  <a:pt x="133236" y="132911"/>
                  <a:pt x="133419" y="122490"/>
                </a:cubicBezTo>
                <a:cubicBezTo>
                  <a:pt x="133419" y="112070"/>
                  <a:pt x="142012" y="103477"/>
                  <a:pt x="152432" y="103477"/>
                </a:cubicBezTo>
                <a:close/>
                <a:moveTo>
                  <a:pt x="153164" y="60148"/>
                </a:moveTo>
                <a:cubicBezTo>
                  <a:pt x="147680" y="57406"/>
                  <a:pt x="139636" y="59234"/>
                  <a:pt x="135431" y="64170"/>
                </a:cubicBezTo>
                <a:cubicBezTo>
                  <a:pt x="130312" y="69290"/>
                  <a:pt x="129215" y="72215"/>
                  <a:pt x="127569" y="78796"/>
                </a:cubicBezTo>
                <a:cubicBezTo>
                  <a:pt x="126107" y="84647"/>
                  <a:pt x="127935" y="111339"/>
                  <a:pt x="127935" y="111339"/>
                </a:cubicBezTo>
                <a:cubicBezTo>
                  <a:pt x="127935" y="112070"/>
                  <a:pt x="127021" y="112618"/>
                  <a:pt x="126472" y="111521"/>
                </a:cubicBezTo>
                <a:cubicBezTo>
                  <a:pt x="125558" y="109693"/>
                  <a:pt x="123547" y="102746"/>
                  <a:pt x="120622" y="102563"/>
                </a:cubicBezTo>
                <a:cubicBezTo>
                  <a:pt x="118794" y="102380"/>
                  <a:pt x="117514" y="104757"/>
                  <a:pt x="117148" y="105854"/>
                </a:cubicBezTo>
                <a:cubicBezTo>
                  <a:pt x="116600" y="107865"/>
                  <a:pt x="116052" y="111704"/>
                  <a:pt x="116966" y="119748"/>
                </a:cubicBezTo>
                <a:cubicBezTo>
                  <a:pt x="117697" y="126878"/>
                  <a:pt x="119159" y="134740"/>
                  <a:pt x="120256" y="137482"/>
                </a:cubicBezTo>
                <a:cubicBezTo>
                  <a:pt x="120805" y="139127"/>
                  <a:pt x="122085" y="140224"/>
                  <a:pt x="123730" y="140773"/>
                </a:cubicBezTo>
                <a:cubicBezTo>
                  <a:pt x="128849" y="142235"/>
                  <a:pt x="129763" y="145343"/>
                  <a:pt x="129946" y="147354"/>
                </a:cubicBezTo>
                <a:cubicBezTo>
                  <a:pt x="129946" y="147537"/>
                  <a:pt x="130129" y="148086"/>
                  <a:pt x="130129" y="148634"/>
                </a:cubicBezTo>
                <a:cubicBezTo>
                  <a:pt x="130312" y="149000"/>
                  <a:pt x="130312" y="149731"/>
                  <a:pt x="130312" y="150280"/>
                </a:cubicBezTo>
                <a:cubicBezTo>
                  <a:pt x="130860" y="166734"/>
                  <a:pt x="149874" y="197265"/>
                  <a:pt x="175652" y="197265"/>
                </a:cubicBezTo>
                <a:cubicBezTo>
                  <a:pt x="201429" y="197265"/>
                  <a:pt x="220260" y="166916"/>
                  <a:pt x="220991" y="150280"/>
                </a:cubicBezTo>
                <a:cubicBezTo>
                  <a:pt x="220991" y="149914"/>
                  <a:pt x="221174" y="149183"/>
                  <a:pt x="221174" y="148634"/>
                </a:cubicBezTo>
                <a:cubicBezTo>
                  <a:pt x="221174" y="148269"/>
                  <a:pt x="221357" y="147720"/>
                  <a:pt x="221357" y="147354"/>
                </a:cubicBezTo>
                <a:cubicBezTo>
                  <a:pt x="221540" y="145526"/>
                  <a:pt x="222637" y="142418"/>
                  <a:pt x="227573" y="140956"/>
                </a:cubicBezTo>
                <a:cubicBezTo>
                  <a:pt x="229401" y="140407"/>
                  <a:pt x="230498" y="139310"/>
                  <a:pt x="231229" y="137665"/>
                </a:cubicBezTo>
                <a:cubicBezTo>
                  <a:pt x="232144" y="134923"/>
                  <a:pt x="233606" y="127061"/>
                  <a:pt x="234337" y="119931"/>
                </a:cubicBezTo>
                <a:cubicBezTo>
                  <a:pt x="235069" y="111704"/>
                  <a:pt x="234703" y="107682"/>
                  <a:pt x="234155" y="105854"/>
                </a:cubicBezTo>
                <a:cubicBezTo>
                  <a:pt x="233789" y="104574"/>
                  <a:pt x="232509" y="102197"/>
                  <a:pt x="230681" y="102380"/>
                </a:cubicBezTo>
                <a:cubicBezTo>
                  <a:pt x="227939" y="102563"/>
                  <a:pt x="225745" y="109510"/>
                  <a:pt x="225013" y="111339"/>
                </a:cubicBezTo>
                <a:cubicBezTo>
                  <a:pt x="224465" y="112435"/>
                  <a:pt x="223368" y="111887"/>
                  <a:pt x="223551" y="111156"/>
                </a:cubicBezTo>
                <a:cubicBezTo>
                  <a:pt x="223551" y="111156"/>
                  <a:pt x="225562" y="86475"/>
                  <a:pt x="222820" y="78613"/>
                </a:cubicBezTo>
                <a:cubicBezTo>
                  <a:pt x="219529" y="68924"/>
                  <a:pt x="214410" y="63988"/>
                  <a:pt x="214410" y="63988"/>
                </a:cubicBezTo>
                <a:cubicBezTo>
                  <a:pt x="209839" y="59234"/>
                  <a:pt x="201795" y="57406"/>
                  <a:pt x="196310" y="60148"/>
                </a:cubicBezTo>
                <a:cubicBezTo>
                  <a:pt x="190826" y="62891"/>
                  <a:pt x="186438" y="65085"/>
                  <a:pt x="186438" y="65085"/>
                </a:cubicBezTo>
                <a:cubicBezTo>
                  <a:pt x="180039" y="68924"/>
                  <a:pt x="169618" y="68924"/>
                  <a:pt x="163220" y="65085"/>
                </a:cubicBezTo>
                <a:close/>
                <a:moveTo>
                  <a:pt x="173458" y="0"/>
                </a:moveTo>
                <a:cubicBezTo>
                  <a:pt x="173458" y="0"/>
                  <a:pt x="176931" y="0"/>
                  <a:pt x="177663" y="366"/>
                </a:cubicBezTo>
                <a:lnTo>
                  <a:pt x="179491" y="548"/>
                </a:lnTo>
                <a:cubicBezTo>
                  <a:pt x="188815" y="1097"/>
                  <a:pt x="216786" y="2742"/>
                  <a:pt x="225379" y="24315"/>
                </a:cubicBezTo>
                <a:lnTo>
                  <a:pt x="226293" y="26509"/>
                </a:lnTo>
                <a:lnTo>
                  <a:pt x="228487" y="27606"/>
                </a:lnTo>
                <a:cubicBezTo>
                  <a:pt x="250974" y="39490"/>
                  <a:pt x="250243" y="57955"/>
                  <a:pt x="249694" y="79528"/>
                </a:cubicBezTo>
                <a:cubicBezTo>
                  <a:pt x="249694" y="82270"/>
                  <a:pt x="249512" y="85561"/>
                  <a:pt x="249512" y="88669"/>
                </a:cubicBezTo>
                <a:lnTo>
                  <a:pt x="249512" y="91228"/>
                </a:lnTo>
                <a:lnTo>
                  <a:pt x="251340" y="93056"/>
                </a:lnTo>
                <a:cubicBezTo>
                  <a:pt x="255362" y="97261"/>
                  <a:pt x="256459" y="104940"/>
                  <a:pt x="254996" y="119566"/>
                </a:cubicBezTo>
                <a:cubicBezTo>
                  <a:pt x="254448" y="123770"/>
                  <a:pt x="252802" y="137299"/>
                  <a:pt x="250609" y="143150"/>
                </a:cubicBezTo>
                <a:cubicBezTo>
                  <a:pt x="249146" y="146989"/>
                  <a:pt x="246221" y="150097"/>
                  <a:pt x="242564" y="151925"/>
                </a:cubicBezTo>
                <a:cubicBezTo>
                  <a:pt x="242564" y="151925"/>
                  <a:pt x="241285" y="152656"/>
                  <a:pt x="239822" y="153022"/>
                </a:cubicBezTo>
                <a:cubicBezTo>
                  <a:pt x="239639" y="153022"/>
                  <a:pt x="239456" y="153205"/>
                  <a:pt x="239456" y="153205"/>
                </a:cubicBezTo>
                <a:cubicBezTo>
                  <a:pt x="239274" y="153388"/>
                  <a:pt x="239274" y="153388"/>
                  <a:pt x="239274" y="153570"/>
                </a:cubicBezTo>
                <a:cubicBezTo>
                  <a:pt x="239091" y="176606"/>
                  <a:pt x="214227" y="219752"/>
                  <a:pt x="175652" y="219752"/>
                </a:cubicBezTo>
                <a:cubicBezTo>
                  <a:pt x="137076" y="219752"/>
                  <a:pt x="112395" y="176606"/>
                  <a:pt x="112029" y="153570"/>
                </a:cubicBezTo>
                <a:cubicBezTo>
                  <a:pt x="112029" y="153388"/>
                  <a:pt x="111847" y="153205"/>
                  <a:pt x="111847" y="153205"/>
                </a:cubicBezTo>
                <a:cubicBezTo>
                  <a:pt x="111664" y="153205"/>
                  <a:pt x="111664" y="153022"/>
                  <a:pt x="111481" y="153022"/>
                </a:cubicBezTo>
                <a:cubicBezTo>
                  <a:pt x="110018" y="152656"/>
                  <a:pt x="108739" y="151925"/>
                  <a:pt x="108739" y="151925"/>
                </a:cubicBezTo>
                <a:cubicBezTo>
                  <a:pt x="104899" y="150097"/>
                  <a:pt x="102157" y="146989"/>
                  <a:pt x="100512" y="143150"/>
                </a:cubicBezTo>
                <a:cubicBezTo>
                  <a:pt x="98135" y="136934"/>
                  <a:pt x="96490" y="122856"/>
                  <a:pt x="96124" y="119200"/>
                </a:cubicBezTo>
                <a:cubicBezTo>
                  <a:pt x="94844" y="105123"/>
                  <a:pt x="95941" y="97078"/>
                  <a:pt x="99780" y="92874"/>
                </a:cubicBezTo>
                <a:lnTo>
                  <a:pt x="101609" y="91045"/>
                </a:lnTo>
                <a:lnTo>
                  <a:pt x="101426" y="83367"/>
                </a:lnTo>
                <a:cubicBezTo>
                  <a:pt x="100877" y="61977"/>
                  <a:pt x="99963" y="37661"/>
                  <a:pt x="116783" y="19928"/>
                </a:cubicBezTo>
                <a:cubicBezTo>
                  <a:pt x="128666" y="7130"/>
                  <a:pt x="147314" y="731"/>
                  <a:pt x="17345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103830" y="2553428"/>
            <a:ext cx="1826141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  <a:latin typeface="+mj-ea"/>
                <a:ea typeface="+mj-ea"/>
              </a:rPr>
              <a:t>基础计算机操作员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8190590" y="2553428"/>
            <a:ext cx="1210588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400" b="1">
                <a:solidFill>
                  <a:srgbClr val="0070C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z="1600" dirty="0">
                <a:solidFill>
                  <a:schemeClr val="accent1"/>
                </a:solidFill>
              </a:rPr>
              <a:t>软件工程师</a:t>
            </a:r>
          </a:p>
        </p:txBody>
      </p:sp>
      <p:sp>
        <p:nvSpPr>
          <p:cNvPr id="74" name="任意多边形: 形状 73"/>
          <p:cNvSpPr/>
          <p:nvPr/>
        </p:nvSpPr>
        <p:spPr>
          <a:xfrm>
            <a:off x="8683512" y="2296593"/>
            <a:ext cx="224744" cy="291422"/>
          </a:xfrm>
          <a:custGeom>
            <a:avLst/>
            <a:gdLst>
              <a:gd name="connsiteX0" fmla="*/ 208427 w 347373"/>
              <a:gd name="connsiteY0" fmla="*/ 334009 h 450434"/>
              <a:gd name="connsiteX1" fmla="*/ 238156 w 347373"/>
              <a:gd name="connsiteY1" fmla="*/ 363738 h 450434"/>
              <a:gd name="connsiteX2" fmla="*/ 208427 w 347373"/>
              <a:gd name="connsiteY2" fmla="*/ 393467 h 450434"/>
              <a:gd name="connsiteX3" fmla="*/ 200955 w 347373"/>
              <a:gd name="connsiteY3" fmla="*/ 385995 h 450434"/>
              <a:gd name="connsiteX4" fmla="*/ 223159 w 347373"/>
              <a:gd name="connsiteY4" fmla="*/ 363738 h 450434"/>
              <a:gd name="connsiteX5" fmla="*/ 200955 w 347373"/>
              <a:gd name="connsiteY5" fmla="*/ 341481 h 450434"/>
              <a:gd name="connsiteX6" fmla="*/ 138795 w 347373"/>
              <a:gd name="connsiteY6" fmla="*/ 334009 h 450434"/>
              <a:gd name="connsiteX7" fmla="*/ 146267 w 347373"/>
              <a:gd name="connsiteY7" fmla="*/ 341481 h 450434"/>
              <a:gd name="connsiteX8" fmla="*/ 124063 w 347373"/>
              <a:gd name="connsiteY8" fmla="*/ 363738 h 450434"/>
              <a:gd name="connsiteX9" fmla="*/ 146267 w 347373"/>
              <a:gd name="connsiteY9" fmla="*/ 385995 h 450434"/>
              <a:gd name="connsiteX10" fmla="*/ 138795 w 347373"/>
              <a:gd name="connsiteY10" fmla="*/ 393467 h 450434"/>
              <a:gd name="connsiteX11" fmla="*/ 109066 w 347373"/>
              <a:gd name="connsiteY11" fmla="*/ 363738 h 450434"/>
              <a:gd name="connsiteX12" fmla="*/ 181083 w 347373"/>
              <a:gd name="connsiteY12" fmla="*/ 333108 h 450434"/>
              <a:gd name="connsiteX13" fmla="*/ 190833 w 347373"/>
              <a:gd name="connsiteY13" fmla="*/ 337188 h 450434"/>
              <a:gd name="connsiteX14" fmla="*/ 166033 w 347373"/>
              <a:gd name="connsiteY14" fmla="*/ 397176 h 450434"/>
              <a:gd name="connsiteX15" fmla="*/ 156229 w 347373"/>
              <a:gd name="connsiteY15" fmla="*/ 393096 h 450434"/>
              <a:gd name="connsiteX16" fmla="*/ 75881 w 347373"/>
              <a:gd name="connsiteY16" fmla="*/ 291457 h 450434"/>
              <a:gd name="connsiteX17" fmla="*/ 67720 w 347373"/>
              <a:gd name="connsiteY17" fmla="*/ 299617 h 450434"/>
              <a:gd name="connsiteX18" fmla="*/ 67720 w 347373"/>
              <a:gd name="connsiteY18" fmla="*/ 430244 h 450434"/>
              <a:gd name="connsiteX19" fmla="*/ 30625 w 347373"/>
              <a:gd name="connsiteY19" fmla="*/ 430244 h 450434"/>
              <a:gd name="connsiteX20" fmla="*/ 30625 w 347373"/>
              <a:gd name="connsiteY20" fmla="*/ 431675 h 450434"/>
              <a:gd name="connsiteX21" fmla="*/ 38808 w 347373"/>
              <a:gd name="connsiteY21" fmla="*/ 439836 h 450434"/>
              <a:gd name="connsiteX22" fmla="*/ 308625 w 347373"/>
              <a:gd name="connsiteY22" fmla="*/ 439836 h 450434"/>
              <a:gd name="connsiteX23" fmla="*/ 316786 w 347373"/>
              <a:gd name="connsiteY23" fmla="*/ 431655 h 450434"/>
              <a:gd name="connsiteX24" fmla="*/ 316786 w 347373"/>
              <a:gd name="connsiteY24" fmla="*/ 430244 h 450434"/>
              <a:gd name="connsiteX25" fmla="*/ 279691 w 347373"/>
              <a:gd name="connsiteY25" fmla="*/ 430244 h 450434"/>
              <a:gd name="connsiteX26" fmla="*/ 279691 w 347373"/>
              <a:gd name="connsiteY26" fmla="*/ 299617 h 450434"/>
              <a:gd name="connsiteX27" fmla="*/ 271530 w 347373"/>
              <a:gd name="connsiteY27" fmla="*/ 291457 h 450434"/>
              <a:gd name="connsiteX28" fmla="*/ 75882 w 347373"/>
              <a:gd name="connsiteY28" fmla="*/ 280858 h 450434"/>
              <a:gd name="connsiteX29" fmla="*/ 271372 w 347373"/>
              <a:gd name="connsiteY29" fmla="*/ 280858 h 450434"/>
              <a:gd name="connsiteX30" fmla="*/ 271424 w 347373"/>
              <a:gd name="connsiteY30" fmla="*/ 280858 h 450434"/>
              <a:gd name="connsiteX31" fmla="*/ 290289 w 347373"/>
              <a:gd name="connsiteY31" fmla="*/ 299617 h 450434"/>
              <a:gd name="connsiteX32" fmla="*/ 290289 w 347373"/>
              <a:gd name="connsiteY32" fmla="*/ 419646 h 450434"/>
              <a:gd name="connsiteX33" fmla="*/ 327384 w 347373"/>
              <a:gd name="connsiteY33" fmla="*/ 419646 h 450434"/>
              <a:gd name="connsiteX34" fmla="*/ 327384 w 347373"/>
              <a:gd name="connsiteY34" fmla="*/ 431675 h 450434"/>
              <a:gd name="connsiteX35" fmla="*/ 308645 w 347373"/>
              <a:gd name="connsiteY35" fmla="*/ 450434 h 450434"/>
              <a:gd name="connsiteX36" fmla="*/ 38787 w 347373"/>
              <a:gd name="connsiteY36" fmla="*/ 450434 h 450434"/>
              <a:gd name="connsiteX37" fmla="*/ 20028 w 347373"/>
              <a:gd name="connsiteY37" fmla="*/ 431696 h 450434"/>
              <a:gd name="connsiteX38" fmla="*/ 20028 w 347373"/>
              <a:gd name="connsiteY38" fmla="*/ 419646 h 450434"/>
              <a:gd name="connsiteX39" fmla="*/ 57123 w 347373"/>
              <a:gd name="connsiteY39" fmla="*/ 419646 h 450434"/>
              <a:gd name="connsiteX40" fmla="*/ 57123 w 347373"/>
              <a:gd name="connsiteY40" fmla="*/ 299617 h 450434"/>
              <a:gd name="connsiteX41" fmla="*/ 75882 w 347373"/>
              <a:gd name="connsiteY41" fmla="*/ 280858 h 450434"/>
              <a:gd name="connsiteX42" fmla="*/ 136562 w 347373"/>
              <a:gd name="connsiteY42" fmla="*/ 197367 h 450434"/>
              <a:gd name="connsiteX43" fmla="*/ 136562 w 347373"/>
              <a:gd name="connsiteY43" fmla="*/ 206259 h 450434"/>
              <a:gd name="connsiteX44" fmla="*/ 123412 w 347373"/>
              <a:gd name="connsiteY44" fmla="*/ 225867 h 450434"/>
              <a:gd name="connsiteX45" fmla="*/ 118993 w 347373"/>
              <a:gd name="connsiteY45" fmla="*/ 227681 h 450434"/>
              <a:gd name="connsiteX46" fmla="*/ 173690 w 347373"/>
              <a:gd name="connsiteY46" fmla="*/ 238476 h 450434"/>
              <a:gd name="connsiteX47" fmla="*/ 228361 w 347373"/>
              <a:gd name="connsiteY47" fmla="*/ 227688 h 450434"/>
              <a:gd name="connsiteX48" fmla="*/ 223927 w 347373"/>
              <a:gd name="connsiteY48" fmla="*/ 225867 h 450434"/>
              <a:gd name="connsiteX49" fmla="*/ 210780 w 347373"/>
              <a:gd name="connsiteY49" fmla="*/ 206260 h 450434"/>
              <a:gd name="connsiteX50" fmla="*/ 210780 w 347373"/>
              <a:gd name="connsiteY50" fmla="*/ 197447 h 450434"/>
              <a:gd name="connsiteX51" fmla="*/ 136562 w 347373"/>
              <a:gd name="connsiteY51" fmla="*/ 197367 h 450434"/>
              <a:gd name="connsiteX52" fmla="*/ 217116 w 347373"/>
              <a:gd name="connsiteY52" fmla="*/ 77871 h 450434"/>
              <a:gd name="connsiteX53" fmla="*/ 132272 w 347373"/>
              <a:gd name="connsiteY53" fmla="*/ 127179 h 450434"/>
              <a:gd name="connsiteX54" fmla="*/ 105476 w 347373"/>
              <a:gd name="connsiteY54" fmla="*/ 136257 h 450434"/>
              <a:gd name="connsiteX55" fmla="*/ 105476 w 347373"/>
              <a:gd name="connsiteY55" fmla="*/ 136256 h 450434"/>
              <a:gd name="connsiteX56" fmla="*/ 105476 w 347373"/>
              <a:gd name="connsiteY56" fmla="*/ 136257 h 450434"/>
              <a:gd name="connsiteX57" fmla="*/ 105476 w 347373"/>
              <a:gd name="connsiteY57" fmla="*/ 136257 h 450434"/>
              <a:gd name="connsiteX58" fmla="*/ 113199 w 347373"/>
              <a:gd name="connsiteY58" fmla="*/ 160058 h 450434"/>
              <a:gd name="connsiteX59" fmla="*/ 173776 w 347373"/>
              <a:gd name="connsiteY59" fmla="*/ 196083 h 450434"/>
              <a:gd name="connsiteX60" fmla="*/ 242588 w 347373"/>
              <a:gd name="connsiteY60" fmla="*/ 127190 h 450434"/>
              <a:gd name="connsiteX61" fmla="*/ 242588 w 347373"/>
              <a:gd name="connsiteY61" fmla="*/ 105745 h 450434"/>
              <a:gd name="connsiteX62" fmla="*/ 217116 w 347373"/>
              <a:gd name="connsiteY62" fmla="*/ 77871 h 450434"/>
              <a:gd name="connsiteX63" fmla="*/ 173071 w 347373"/>
              <a:gd name="connsiteY63" fmla="*/ 10595 h 450434"/>
              <a:gd name="connsiteX64" fmla="*/ 103411 w 347373"/>
              <a:gd name="connsiteY64" fmla="*/ 64219 h 450434"/>
              <a:gd name="connsiteX65" fmla="*/ 100438 w 347373"/>
              <a:gd name="connsiteY65" fmla="*/ 83253 h 450434"/>
              <a:gd name="connsiteX66" fmla="*/ 100389 w 347373"/>
              <a:gd name="connsiteY66" fmla="*/ 91168 h 450434"/>
              <a:gd name="connsiteX67" fmla="*/ 95037 w 347373"/>
              <a:gd name="connsiteY67" fmla="*/ 116826 h 450434"/>
              <a:gd name="connsiteX68" fmla="*/ 89450 w 347373"/>
              <a:gd name="connsiteY68" fmla="*/ 129867 h 450434"/>
              <a:gd name="connsiteX69" fmla="*/ 213451 w 347373"/>
              <a:gd name="connsiteY69" fmla="*/ 65849 h 450434"/>
              <a:gd name="connsiteX70" fmla="*/ 217903 w 347373"/>
              <a:gd name="connsiteY70" fmla="*/ 63810 h 450434"/>
              <a:gd name="connsiteX71" fmla="*/ 222123 w 347373"/>
              <a:gd name="connsiteY71" fmla="*/ 66289 h 450434"/>
              <a:gd name="connsiteX72" fmla="*/ 253601 w 347373"/>
              <a:gd name="connsiteY72" fmla="*/ 100416 h 450434"/>
              <a:gd name="connsiteX73" fmla="*/ 251432 w 347373"/>
              <a:gd name="connsiteY73" fmla="*/ 93906 h 450434"/>
              <a:gd name="connsiteX74" fmla="*/ 245478 w 347373"/>
              <a:gd name="connsiteY74" fmla="*/ 70160 h 450434"/>
              <a:gd name="connsiteX75" fmla="*/ 245476 w 347373"/>
              <a:gd name="connsiteY75" fmla="*/ 70160 h 450434"/>
              <a:gd name="connsiteX76" fmla="*/ 205320 w 347373"/>
              <a:gd name="connsiteY76" fmla="*/ 18692 h 450434"/>
              <a:gd name="connsiteX77" fmla="*/ 204706 w 347373"/>
              <a:gd name="connsiteY77" fmla="*/ 18798 h 450434"/>
              <a:gd name="connsiteX78" fmla="*/ 200440 w 347373"/>
              <a:gd name="connsiteY78" fmla="*/ 22024 h 450434"/>
              <a:gd name="connsiteX79" fmla="*/ 200201 w 347373"/>
              <a:gd name="connsiteY79" fmla="*/ 22194 h 450434"/>
              <a:gd name="connsiteX80" fmla="*/ 192846 w 347373"/>
              <a:gd name="connsiteY80" fmla="*/ 20759 h 450434"/>
              <a:gd name="connsiteX81" fmla="*/ 188118 w 347373"/>
              <a:gd name="connsiteY81" fmla="*/ 13742 h 450434"/>
              <a:gd name="connsiteX82" fmla="*/ 185435 w 347373"/>
              <a:gd name="connsiteY82" fmla="*/ 11767 h 450434"/>
              <a:gd name="connsiteX83" fmla="*/ 173071 w 347373"/>
              <a:gd name="connsiteY83" fmla="*/ 10595 h 450434"/>
              <a:gd name="connsiteX84" fmla="*/ 187387 w 347373"/>
              <a:gd name="connsiteY84" fmla="*/ 1350 h 450434"/>
              <a:gd name="connsiteX85" fmla="*/ 196909 w 347373"/>
              <a:gd name="connsiteY85" fmla="*/ 7824 h 450434"/>
              <a:gd name="connsiteX86" fmla="*/ 198508 w 347373"/>
              <a:gd name="connsiteY86" fmla="*/ 10196 h 450434"/>
              <a:gd name="connsiteX87" fmla="*/ 210282 w 347373"/>
              <a:gd name="connsiteY87" fmla="*/ 9329 h 450434"/>
              <a:gd name="connsiteX88" fmla="*/ 255877 w 347373"/>
              <a:gd name="connsiteY88" fmla="*/ 68118 h 450434"/>
              <a:gd name="connsiteX89" fmla="*/ 261488 w 347373"/>
              <a:gd name="connsiteY89" fmla="*/ 90555 h 450434"/>
              <a:gd name="connsiteX90" fmla="*/ 266855 w 347373"/>
              <a:gd name="connsiteY90" fmla="*/ 106665 h 450434"/>
              <a:gd name="connsiteX91" fmla="*/ 267126 w 347373"/>
              <a:gd name="connsiteY91" fmla="*/ 108339 h 450434"/>
              <a:gd name="connsiteX92" fmla="*/ 261827 w 347373"/>
              <a:gd name="connsiteY92" fmla="*/ 113638 h 450434"/>
              <a:gd name="connsiteX93" fmla="*/ 253185 w 347373"/>
              <a:gd name="connsiteY93" fmla="*/ 111830 h 450434"/>
              <a:gd name="connsiteX94" fmla="*/ 253185 w 347373"/>
              <a:gd name="connsiteY94" fmla="*/ 127191 h 450434"/>
              <a:gd name="connsiteX95" fmla="*/ 221378 w 347373"/>
              <a:gd name="connsiteY95" fmla="*/ 190639 h 450434"/>
              <a:gd name="connsiteX96" fmla="*/ 221378 w 347373"/>
              <a:gd name="connsiteY96" fmla="*/ 206259 h 450434"/>
              <a:gd name="connsiteX97" fmla="*/ 227953 w 347373"/>
              <a:gd name="connsiteY97" fmla="*/ 216065 h 450434"/>
              <a:gd name="connsiteX98" fmla="*/ 254037 w 347373"/>
              <a:gd name="connsiteY98" fmla="*/ 226769 h 450434"/>
              <a:gd name="connsiteX99" fmla="*/ 320095 w 347373"/>
              <a:gd name="connsiteY99" fmla="*/ 260873 h 450434"/>
              <a:gd name="connsiteX100" fmla="*/ 337928 w 347373"/>
              <a:gd name="connsiteY100" fmla="*/ 296384 h 450434"/>
              <a:gd name="connsiteX101" fmla="*/ 347168 w 347373"/>
              <a:gd name="connsiteY101" fmla="*/ 371907 h 450434"/>
              <a:gd name="connsiteX102" fmla="*/ 335993 w 347373"/>
              <a:gd name="connsiteY102" fmla="*/ 396716 h 450434"/>
              <a:gd name="connsiteX103" fmla="*/ 300888 w 347373"/>
              <a:gd name="connsiteY103" fmla="*/ 413259 h 450434"/>
              <a:gd name="connsiteX104" fmla="*/ 300888 w 347373"/>
              <a:gd name="connsiteY104" fmla="*/ 402086 h 450434"/>
              <a:gd name="connsiteX105" fmla="*/ 330077 w 347373"/>
              <a:gd name="connsiteY105" fmla="*/ 387924 h 450434"/>
              <a:gd name="connsiteX106" fmla="*/ 336642 w 347373"/>
              <a:gd name="connsiteY106" fmla="*/ 373154 h 450434"/>
              <a:gd name="connsiteX107" fmla="*/ 327338 w 347373"/>
              <a:gd name="connsiteY107" fmla="*/ 296877 h 450434"/>
              <a:gd name="connsiteX108" fmla="*/ 313471 w 347373"/>
              <a:gd name="connsiteY108" fmla="*/ 269142 h 450434"/>
              <a:gd name="connsiteX109" fmla="*/ 251148 w 347373"/>
              <a:gd name="connsiteY109" fmla="*/ 236979 h 450434"/>
              <a:gd name="connsiteX110" fmla="*/ 240144 w 347373"/>
              <a:gd name="connsiteY110" fmla="*/ 233129 h 450434"/>
              <a:gd name="connsiteX111" fmla="*/ 173686 w 347373"/>
              <a:gd name="connsiteY111" fmla="*/ 249080 h 450434"/>
              <a:gd name="connsiteX112" fmla="*/ 107215 w 347373"/>
              <a:gd name="connsiteY112" fmla="*/ 233129 h 450434"/>
              <a:gd name="connsiteX113" fmla="*/ 96193 w 347373"/>
              <a:gd name="connsiteY113" fmla="*/ 236993 h 450434"/>
              <a:gd name="connsiteX114" fmla="*/ 33980 w 347373"/>
              <a:gd name="connsiteY114" fmla="*/ 269077 h 450434"/>
              <a:gd name="connsiteX115" fmla="*/ 20025 w 347373"/>
              <a:gd name="connsiteY115" fmla="*/ 296883 h 450434"/>
              <a:gd name="connsiteX116" fmla="*/ 19986 w 347373"/>
              <a:gd name="connsiteY116" fmla="*/ 297413 h 450434"/>
              <a:gd name="connsiteX117" fmla="*/ 10726 w 347373"/>
              <a:gd name="connsiteY117" fmla="*/ 373192 h 450434"/>
              <a:gd name="connsiteX118" fmla="*/ 17301 w 347373"/>
              <a:gd name="connsiteY118" fmla="*/ 387924 h 450434"/>
              <a:gd name="connsiteX119" fmla="*/ 46521 w 347373"/>
              <a:gd name="connsiteY119" fmla="*/ 402094 h 450434"/>
              <a:gd name="connsiteX120" fmla="*/ 46521 w 347373"/>
              <a:gd name="connsiteY120" fmla="*/ 413268 h 450434"/>
              <a:gd name="connsiteX121" fmla="*/ 11387 w 347373"/>
              <a:gd name="connsiteY121" fmla="*/ 396719 h 450434"/>
              <a:gd name="connsiteX122" fmla="*/ 201 w 347373"/>
              <a:gd name="connsiteY122" fmla="*/ 371946 h 450434"/>
              <a:gd name="connsiteX123" fmla="*/ 9436 w 347373"/>
              <a:gd name="connsiteY123" fmla="*/ 296384 h 450434"/>
              <a:gd name="connsiteX124" fmla="*/ 27360 w 347373"/>
              <a:gd name="connsiteY124" fmla="*/ 260801 h 450434"/>
              <a:gd name="connsiteX125" fmla="*/ 93131 w 347373"/>
              <a:gd name="connsiteY125" fmla="*/ 226841 h 450434"/>
              <a:gd name="connsiteX126" fmla="*/ 119390 w 347373"/>
              <a:gd name="connsiteY126" fmla="*/ 216063 h 450434"/>
              <a:gd name="connsiteX127" fmla="*/ 125966 w 347373"/>
              <a:gd name="connsiteY127" fmla="*/ 206259 h 450434"/>
              <a:gd name="connsiteX128" fmla="*/ 125966 w 347373"/>
              <a:gd name="connsiteY128" fmla="*/ 190608 h 450434"/>
              <a:gd name="connsiteX129" fmla="*/ 95177 w 347373"/>
              <a:gd name="connsiteY129" fmla="*/ 139307 h 450434"/>
              <a:gd name="connsiteX130" fmla="*/ 81522 w 347373"/>
              <a:gd name="connsiteY130" fmla="*/ 142932 h 450434"/>
              <a:gd name="connsiteX131" fmla="*/ 80296 w 347373"/>
              <a:gd name="connsiteY131" fmla="*/ 143076 h 450434"/>
              <a:gd name="connsiteX132" fmla="*/ 78208 w 347373"/>
              <a:gd name="connsiteY132" fmla="*/ 142648 h 450434"/>
              <a:gd name="connsiteX133" fmla="*/ 75426 w 347373"/>
              <a:gd name="connsiteY133" fmla="*/ 135689 h 450434"/>
              <a:gd name="connsiteX134" fmla="*/ 85295 w 347373"/>
              <a:gd name="connsiteY134" fmla="*/ 112649 h 450434"/>
              <a:gd name="connsiteX135" fmla="*/ 89787 w 347373"/>
              <a:gd name="connsiteY135" fmla="*/ 91102 h 450434"/>
              <a:gd name="connsiteX136" fmla="*/ 89837 w 347373"/>
              <a:gd name="connsiteY136" fmla="*/ 83184 h 450434"/>
              <a:gd name="connsiteX137" fmla="*/ 93334 w 347373"/>
              <a:gd name="connsiteY137" fmla="*/ 60927 h 450434"/>
              <a:gd name="connsiteX138" fmla="*/ 187387 w 347373"/>
              <a:gd name="connsiteY138" fmla="*/ 1350 h 450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347373" h="450434">
                <a:moveTo>
                  <a:pt x="208427" y="334009"/>
                </a:moveTo>
                <a:lnTo>
                  <a:pt x="238156" y="363738"/>
                </a:lnTo>
                <a:lnTo>
                  <a:pt x="208427" y="393467"/>
                </a:lnTo>
                <a:lnTo>
                  <a:pt x="200955" y="385995"/>
                </a:lnTo>
                <a:lnTo>
                  <a:pt x="223159" y="363738"/>
                </a:lnTo>
                <a:lnTo>
                  <a:pt x="200955" y="341481"/>
                </a:lnTo>
                <a:close/>
                <a:moveTo>
                  <a:pt x="138795" y="334009"/>
                </a:moveTo>
                <a:lnTo>
                  <a:pt x="146267" y="341481"/>
                </a:lnTo>
                <a:lnTo>
                  <a:pt x="124063" y="363738"/>
                </a:lnTo>
                <a:lnTo>
                  <a:pt x="146267" y="385995"/>
                </a:lnTo>
                <a:lnTo>
                  <a:pt x="138795" y="393467"/>
                </a:lnTo>
                <a:lnTo>
                  <a:pt x="109066" y="363738"/>
                </a:lnTo>
                <a:close/>
                <a:moveTo>
                  <a:pt x="181083" y="333108"/>
                </a:moveTo>
                <a:lnTo>
                  <a:pt x="190833" y="337188"/>
                </a:lnTo>
                <a:lnTo>
                  <a:pt x="166033" y="397176"/>
                </a:lnTo>
                <a:lnTo>
                  <a:pt x="156229" y="393096"/>
                </a:lnTo>
                <a:close/>
                <a:moveTo>
                  <a:pt x="75881" y="291457"/>
                </a:moveTo>
                <a:cubicBezTo>
                  <a:pt x="71376" y="291462"/>
                  <a:pt x="67726" y="295113"/>
                  <a:pt x="67720" y="299617"/>
                </a:cubicBezTo>
                <a:lnTo>
                  <a:pt x="67720" y="430244"/>
                </a:lnTo>
                <a:lnTo>
                  <a:pt x="30625" y="430244"/>
                </a:lnTo>
                <a:lnTo>
                  <a:pt x="30625" y="431675"/>
                </a:lnTo>
                <a:cubicBezTo>
                  <a:pt x="30665" y="436174"/>
                  <a:pt x="34308" y="439808"/>
                  <a:pt x="38808" y="439836"/>
                </a:cubicBezTo>
                <a:lnTo>
                  <a:pt x="308625" y="439836"/>
                </a:lnTo>
                <a:cubicBezTo>
                  <a:pt x="313124" y="439797"/>
                  <a:pt x="316758" y="436154"/>
                  <a:pt x="316786" y="431655"/>
                </a:cubicBezTo>
                <a:lnTo>
                  <a:pt x="316786" y="430244"/>
                </a:lnTo>
                <a:lnTo>
                  <a:pt x="279691" y="430244"/>
                </a:lnTo>
                <a:lnTo>
                  <a:pt x="279691" y="299617"/>
                </a:lnTo>
                <a:cubicBezTo>
                  <a:pt x="279685" y="295113"/>
                  <a:pt x="276035" y="291462"/>
                  <a:pt x="271530" y="291457"/>
                </a:cubicBezTo>
                <a:close/>
                <a:moveTo>
                  <a:pt x="75882" y="280858"/>
                </a:moveTo>
                <a:lnTo>
                  <a:pt x="271372" y="280858"/>
                </a:lnTo>
                <a:cubicBezTo>
                  <a:pt x="271389" y="280858"/>
                  <a:pt x="271407" y="280858"/>
                  <a:pt x="271424" y="280858"/>
                </a:cubicBezTo>
                <a:cubicBezTo>
                  <a:pt x="281814" y="280829"/>
                  <a:pt x="290260" y="289228"/>
                  <a:pt x="290289" y="299617"/>
                </a:cubicBezTo>
                <a:lnTo>
                  <a:pt x="290289" y="419646"/>
                </a:lnTo>
                <a:lnTo>
                  <a:pt x="327384" y="419646"/>
                </a:lnTo>
                <a:lnTo>
                  <a:pt x="327384" y="431675"/>
                </a:lnTo>
                <a:cubicBezTo>
                  <a:pt x="327326" y="442003"/>
                  <a:pt x="318974" y="450365"/>
                  <a:pt x="308645" y="450434"/>
                </a:cubicBezTo>
                <a:lnTo>
                  <a:pt x="38787" y="450434"/>
                </a:lnTo>
                <a:cubicBezTo>
                  <a:pt x="28459" y="450376"/>
                  <a:pt x="20097" y="442024"/>
                  <a:pt x="20028" y="431696"/>
                </a:cubicBezTo>
                <a:lnTo>
                  <a:pt x="20028" y="419646"/>
                </a:lnTo>
                <a:lnTo>
                  <a:pt x="57123" y="419646"/>
                </a:lnTo>
                <a:lnTo>
                  <a:pt x="57123" y="299617"/>
                </a:lnTo>
                <a:cubicBezTo>
                  <a:pt x="57134" y="289262"/>
                  <a:pt x="65526" y="280869"/>
                  <a:pt x="75882" y="280858"/>
                </a:cubicBezTo>
                <a:close/>
                <a:moveTo>
                  <a:pt x="136562" y="197367"/>
                </a:moveTo>
                <a:lnTo>
                  <a:pt x="136562" y="206259"/>
                </a:lnTo>
                <a:cubicBezTo>
                  <a:pt x="136581" y="214863"/>
                  <a:pt x="131379" y="222619"/>
                  <a:pt x="123412" y="225867"/>
                </a:cubicBezTo>
                <a:lnTo>
                  <a:pt x="118993" y="227681"/>
                </a:lnTo>
                <a:cubicBezTo>
                  <a:pt x="136211" y="235253"/>
                  <a:pt x="154886" y="238939"/>
                  <a:pt x="173690" y="238476"/>
                </a:cubicBezTo>
                <a:cubicBezTo>
                  <a:pt x="192485" y="238938"/>
                  <a:pt x="211151" y="235255"/>
                  <a:pt x="228361" y="227688"/>
                </a:cubicBezTo>
                <a:lnTo>
                  <a:pt x="223927" y="225867"/>
                </a:lnTo>
                <a:cubicBezTo>
                  <a:pt x="215962" y="222618"/>
                  <a:pt x="210761" y="214863"/>
                  <a:pt x="210780" y="206260"/>
                </a:cubicBezTo>
                <a:lnTo>
                  <a:pt x="210780" y="197447"/>
                </a:lnTo>
                <a:cubicBezTo>
                  <a:pt x="187572" y="209787"/>
                  <a:pt x="159743" y="209758"/>
                  <a:pt x="136562" y="197367"/>
                </a:cubicBezTo>
                <a:close/>
                <a:moveTo>
                  <a:pt x="217116" y="77871"/>
                </a:moveTo>
                <a:cubicBezTo>
                  <a:pt x="196875" y="99674"/>
                  <a:pt x="161728" y="116224"/>
                  <a:pt x="132272" y="127179"/>
                </a:cubicBezTo>
                <a:lnTo>
                  <a:pt x="105476" y="136257"/>
                </a:lnTo>
                <a:lnTo>
                  <a:pt x="105476" y="136256"/>
                </a:lnTo>
                <a:lnTo>
                  <a:pt x="105476" y="136257"/>
                </a:lnTo>
                <a:lnTo>
                  <a:pt x="105476" y="136257"/>
                </a:lnTo>
                <a:lnTo>
                  <a:pt x="113199" y="160058"/>
                </a:lnTo>
                <a:cubicBezTo>
                  <a:pt x="124947" y="181707"/>
                  <a:pt x="147861" y="196099"/>
                  <a:pt x="173776" y="196083"/>
                </a:cubicBezTo>
                <a:cubicBezTo>
                  <a:pt x="211802" y="196061"/>
                  <a:pt x="242610" y="165217"/>
                  <a:pt x="242588" y="127190"/>
                </a:cubicBezTo>
                <a:lnTo>
                  <a:pt x="242588" y="105745"/>
                </a:lnTo>
                <a:cubicBezTo>
                  <a:pt x="232779" y="97750"/>
                  <a:pt x="224197" y="88358"/>
                  <a:pt x="217116" y="77871"/>
                </a:cubicBezTo>
                <a:close/>
                <a:moveTo>
                  <a:pt x="173071" y="10595"/>
                </a:moveTo>
                <a:cubicBezTo>
                  <a:pt x="141884" y="10595"/>
                  <a:pt x="113887" y="32144"/>
                  <a:pt x="103411" y="64219"/>
                </a:cubicBezTo>
                <a:cubicBezTo>
                  <a:pt x="101441" y="70371"/>
                  <a:pt x="100438" y="76792"/>
                  <a:pt x="100438" y="83253"/>
                </a:cubicBezTo>
                <a:lnTo>
                  <a:pt x="100389" y="91168"/>
                </a:lnTo>
                <a:cubicBezTo>
                  <a:pt x="100344" y="99993"/>
                  <a:pt x="98524" y="108719"/>
                  <a:pt x="95037" y="116826"/>
                </a:cubicBezTo>
                <a:lnTo>
                  <a:pt x="89450" y="129867"/>
                </a:lnTo>
                <a:cubicBezTo>
                  <a:pt x="116151" y="122384"/>
                  <a:pt x="186941" y="99932"/>
                  <a:pt x="213451" y="65849"/>
                </a:cubicBezTo>
                <a:cubicBezTo>
                  <a:pt x="214505" y="64474"/>
                  <a:pt x="216172" y="63710"/>
                  <a:pt x="217903" y="63810"/>
                </a:cubicBezTo>
                <a:cubicBezTo>
                  <a:pt x="219630" y="63899"/>
                  <a:pt x="221205" y="64824"/>
                  <a:pt x="222123" y="66289"/>
                </a:cubicBezTo>
                <a:cubicBezTo>
                  <a:pt x="229190" y="77555"/>
                  <a:pt x="242389" y="94067"/>
                  <a:pt x="253601" y="100416"/>
                </a:cubicBezTo>
                <a:lnTo>
                  <a:pt x="251432" y="93906"/>
                </a:lnTo>
                <a:cubicBezTo>
                  <a:pt x="248947" y="86125"/>
                  <a:pt x="246958" y="78194"/>
                  <a:pt x="245478" y="70160"/>
                </a:cubicBezTo>
                <a:lnTo>
                  <a:pt x="245476" y="70160"/>
                </a:lnTo>
                <a:cubicBezTo>
                  <a:pt x="240957" y="47631"/>
                  <a:pt x="226074" y="28555"/>
                  <a:pt x="205320" y="18692"/>
                </a:cubicBezTo>
                <a:cubicBezTo>
                  <a:pt x="205111" y="18612"/>
                  <a:pt x="204877" y="18653"/>
                  <a:pt x="204706" y="18798"/>
                </a:cubicBezTo>
                <a:lnTo>
                  <a:pt x="200440" y="22024"/>
                </a:lnTo>
                <a:cubicBezTo>
                  <a:pt x="200362" y="22083"/>
                  <a:pt x="200282" y="22140"/>
                  <a:pt x="200201" y="22194"/>
                </a:cubicBezTo>
                <a:cubicBezTo>
                  <a:pt x="197773" y="23829"/>
                  <a:pt x="194480" y="23186"/>
                  <a:pt x="192846" y="20759"/>
                </a:cubicBezTo>
                <a:lnTo>
                  <a:pt x="188118" y="13742"/>
                </a:lnTo>
                <a:cubicBezTo>
                  <a:pt x="187518" y="12756"/>
                  <a:pt x="186554" y="12046"/>
                  <a:pt x="185435" y="11767"/>
                </a:cubicBezTo>
                <a:cubicBezTo>
                  <a:pt x="181359" y="10994"/>
                  <a:pt x="177220" y="10602"/>
                  <a:pt x="173071" y="10595"/>
                </a:cubicBezTo>
                <a:close/>
                <a:moveTo>
                  <a:pt x="187387" y="1350"/>
                </a:moveTo>
                <a:cubicBezTo>
                  <a:pt x="191305" y="2134"/>
                  <a:pt x="194739" y="4469"/>
                  <a:pt x="196909" y="7824"/>
                </a:cubicBezTo>
                <a:lnTo>
                  <a:pt x="198508" y="10196"/>
                </a:lnTo>
                <a:cubicBezTo>
                  <a:pt x="201951" y="7700"/>
                  <a:pt x="206510" y="7364"/>
                  <a:pt x="210282" y="9329"/>
                </a:cubicBezTo>
                <a:cubicBezTo>
                  <a:pt x="233797" y="20766"/>
                  <a:pt x="250651" y="42496"/>
                  <a:pt x="255877" y="68118"/>
                </a:cubicBezTo>
                <a:cubicBezTo>
                  <a:pt x="257272" y="75708"/>
                  <a:pt x="259147" y="83202"/>
                  <a:pt x="261488" y="90555"/>
                </a:cubicBezTo>
                <a:lnTo>
                  <a:pt x="266855" y="106665"/>
                </a:lnTo>
                <a:cubicBezTo>
                  <a:pt x="267034" y="107205"/>
                  <a:pt x="267126" y="107770"/>
                  <a:pt x="267126" y="108339"/>
                </a:cubicBezTo>
                <a:cubicBezTo>
                  <a:pt x="267126" y="111265"/>
                  <a:pt x="264753" y="113638"/>
                  <a:pt x="261827" y="113638"/>
                </a:cubicBezTo>
                <a:cubicBezTo>
                  <a:pt x="258859" y="113575"/>
                  <a:pt x="255929" y="112962"/>
                  <a:pt x="253185" y="111830"/>
                </a:cubicBezTo>
                <a:lnTo>
                  <a:pt x="253185" y="127191"/>
                </a:lnTo>
                <a:cubicBezTo>
                  <a:pt x="253162" y="152168"/>
                  <a:pt x="241377" y="175676"/>
                  <a:pt x="221378" y="190639"/>
                </a:cubicBezTo>
                <a:lnTo>
                  <a:pt x="221378" y="206259"/>
                </a:lnTo>
                <a:cubicBezTo>
                  <a:pt x="221367" y="210562"/>
                  <a:pt x="223968" y="214442"/>
                  <a:pt x="227953" y="216065"/>
                </a:cubicBezTo>
                <a:lnTo>
                  <a:pt x="254037" y="226769"/>
                </a:lnTo>
                <a:cubicBezTo>
                  <a:pt x="278045" y="235348"/>
                  <a:pt x="300871" y="245144"/>
                  <a:pt x="320095" y="260873"/>
                </a:cubicBezTo>
                <a:cubicBezTo>
                  <a:pt x="331048" y="269449"/>
                  <a:pt x="337590" y="282477"/>
                  <a:pt x="337928" y="296384"/>
                </a:cubicBezTo>
                <a:lnTo>
                  <a:pt x="347168" y="371907"/>
                </a:lnTo>
                <a:cubicBezTo>
                  <a:pt x="348393" y="381618"/>
                  <a:pt x="344078" y="391198"/>
                  <a:pt x="335993" y="396716"/>
                </a:cubicBezTo>
                <a:cubicBezTo>
                  <a:pt x="325056" y="403727"/>
                  <a:pt x="313256" y="409287"/>
                  <a:pt x="300888" y="413259"/>
                </a:cubicBezTo>
                <a:lnTo>
                  <a:pt x="300888" y="402086"/>
                </a:lnTo>
                <a:cubicBezTo>
                  <a:pt x="311158" y="398572"/>
                  <a:pt x="320961" y="393816"/>
                  <a:pt x="330077" y="387924"/>
                </a:cubicBezTo>
                <a:cubicBezTo>
                  <a:pt x="334859" y="384619"/>
                  <a:pt x="337394" y="378918"/>
                  <a:pt x="336642" y="373154"/>
                </a:cubicBezTo>
                <a:lnTo>
                  <a:pt x="327338" y="296877"/>
                </a:lnTo>
                <a:cubicBezTo>
                  <a:pt x="327133" y="286014"/>
                  <a:pt x="322038" y="275824"/>
                  <a:pt x="313471" y="269142"/>
                </a:cubicBezTo>
                <a:cubicBezTo>
                  <a:pt x="295584" y="254509"/>
                  <a:pt x="273981" y="245172"/>
                  <a:pt x="251148" y="236979"/>
                </a:cubicBezTo>
                <a:lnTo>
                  <a:pt x="240144" y="233129"/>
                </a:lnTo>
                <a:cubicBezTo>
                  <a:pt x="225807" y="243017"/>
                  <a:pt x="200754" y="249080"/>
                  <a:pt x="173686" y="249080"/>
                </a:cubicBezTo>
                <a:cubicBezTo>
                  <a:pt x="146608" y="249080"/>
                  <a:pt x="121553" y="243016"/>
                  <a:pt x="107215" y="233129"/>
                </a:cubicBezTo>
                <a:lnTo>
                  <a:pt x="96193" y="236993"/>
                </a:lnTo>
                <a:cubicBezTo>
                  <a:pt x="73370" y="245184"/>
                  <a:pt x="51789" y="254504"/>
                  <a:pt x="33980" y="269077"/>
                </a:cubicBezTo>
                <a:cubicBezTo>
                  <a:pt x="25368" y="275763"/>
                  <a:pt x="20239" y="285983"/>
                  <a:pt x="20025" y="296883"/>
                </a:cubicBezTo>
                <a:lnTo>
                  <a:pt x="19986" y="297413"/>
                </a:lnTo>
                <a:lnTo>
                  <a:pt x="10726" y="373192"/>
                </a:lnTo>
                <a:cubicBezTo>
                  <a:pt x="9989" y="378946"/>
                  <a:pt x="12526" y="384630"/>
                  <a:pt x="17301" y="387924"/>
                </a:cubicBezTo>
                <a:cubicBezTo>
                  <a:pt x="26427" y="393820"/>
                  <a:pt x="36240" y="398579"/>
                  <a:pt x="46521" y="402094"/>
                </a:cubicBezTo>
                <a:lnTo>
                  <a:pt x="46521" y="413268"/>
                </a:lnTo>
                <a:cubicBezTo>
                  <a:pt x="34143" y="409294"/>
                  <a:pt x="22333" y="403732"/>
                  <a:pt x="11387" y="396719"/>
                </a:cubicBezTo>
                <a:cubicBezTo>
                  <a:pt x="3309" y="391212"/>
                  <a:pt x="-1009" y="381648"/>
                  <a:pt x="201" y="371946"/>
                </a:cubicBezTo>
                <a:lnTo>
                  <a:pt x="9436" y="296384"/>
                </a:lnTo>
                <a:cubicBezTo>
                  <a:pt x="9785" y="282438"/>
                  <a:pt x="16361" y="269382"/>
                  <a:pt x="27360" y="260801"/>
                </a:cubicBezTo>
                <a:cubicBezTo>
                  <a:pt x="46457" y="245177"/>
                  <a:pt x="69199" y="235403"/>
                  <a:pt x="93131" y="226841"/>
                </a:cubicBezTo>
                <a:lnTo>
                  <a:pt x="119390" y="216063"/>
                </a:lnTo>
                <a:cubicBezTo>
                  <a:pt x="123375" y="214440"/>
                  <a:pt x="125976" y="210561"/>
                  <a:pt x="125966" y="206259"/>
                </a:cubicBezTo>
                <a:lnTo>
                  <a:pt x="125966" y="190608"/>
                </a:lnTo>
                <a:cubicBezTo>
                  <a:pt x="109409" y="178174"/>
                  <a:pt x="98361" y="159766"/>
                  <a:pt x="95177" y="139307"/>
                </a:cubicBezTo>
                <a:cubicBezTo>
                  <a:pt x="87449" y="141501"/>
                  <a:pt x="82408" y="142720"/>
                  <a:pt x="81522" y="142932"/>
                </a:cubicBezTo>
                <a:cubicBezTo>
                  <a:pt x="81120" y="143028"/>
                  <a:pt x="80709" y="143077"/>
                  <a:pt x="80296" y="143076"/>
                </a:cubicBezTo>
                <a:cubicBezTo>
                  <a:pt x="79578" y="143076"/>
                  <a:pt x="78868" y="142931"/>
                  <a:pt x="78208" y="142648"/>
                </a:cubicBezTo>
                <a:cubicBezTo>
                  <a:pt x="75518" y="141495"/>
                  <a:pt x="74273" y="138379"/>
                  <a:pt x="75426" y="135689"/>
                </a:cubicBezTo>
                <a:lnTo>
                  <a:pt x="85295" y="112649"/>
                </a:lnTo>
                <a:cubicBezTo>
                  <a:pt x="88222" y="105841"/>
                  <a:pt x="89750" y="98513"/>
                  <a:pt x="89787" y="91102"/>
                </a:cubicBezTo>
                <a:lnTo>
                  <a:pt x="89837" y="83184"/>
                </a:lnTo>
                <a:cubicBezTo>
                  <a:pt x="89844" y="75629"/>
                  <a:pt x="91025" y="68121"/>
                  <a:pt x="93334" y="60927"/>
                </a:cubicBezTo>
                <a:cubicBezTo>
                  <a:pt x="106813" y="19677"/>
                  <a:pt x="146368" y="-6363"/>
                  <a:pt x="187387" y="135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34" name="矩形: 圆角 33"/>
          <p:cNvSpPr/>
          <p:nvPr/>
        </p:nvSpPr>
        <p:spPr>
          <a:xfrm>
            <a:off x="10769100" y="2899079"/>
            <a:ext cx="1080000" cy="1080000"/>
          </a:xfrm>
          <a:prstGeom prst="roundRect">
            <a:avLst>
              <a:gd name="adj" fmla="val 50000"/>
            </a:avLst>
          </a:prstGeom>
          <a:solidFill>
            <a:srgbClr val="006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  <a:t>在线</a:t>
            </a:r>
            <a:br>
              <a:rPr lang="en-US" altLang="zh-CN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</a:b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  <a:t>推理系统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6096000" y="4153289"/>
            <a:ext cx="1210588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600" b="1">
                <a:solidFill>
                  <a:srgbClr val="0070C0"/>
                </a:solidFill>
                <a:latin typeface="+mj-ea"/>
                <a:ea typeface="+mj-ea"/>
              </a:defRPr>
            </a:lvl1pPr>
          </a:lstStyle>
          <a:p>
            <a:pPr algn="ctr"/>
            <a:r>
              <a:rPr lang="zh-CN" altLang="en-US" dirty="0">
                <a:solidFill>
                  <a:schemeClr val="accent1"/>
                </a:solidFill>
              </a:rPr>
              <a:t>收集负样本</a:t>
            </a:r>
          </a:p>
        </p:txBody>
      </p:sp>
      <p:sp>
        <p:nvSpPr>
          <p:cNvPr id="39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普通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落地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        </a:t>
            </a:r>
            <a:r>
              <a:rPr lang="zh-CN" altLang="en-US" dirty="0"/>
              <a:t>高成本、低效率</a:t>
            </a:r>
          </a:p>
        </p:txBody>
      </p:sp>
      <p:sp>
        <p:nvSpPr>
          <p:cNvPr id="43" name="iconfont-1018-792295"/>
          <p:cNvSpPr/>
          <p:nvPr/>
        </p:nvSpPr>
        <p:spPr>
          <a:xfrm>
            <a:off x="1867388" y="2332646"/>
            <a:ext cx="299024" cy="219316"/>
          </a:xfrm>
          <a:custGeom>
            <a:avLst/>
            <a:gdLst>
              <a:gd name="T0" fmla="*/ 5172 w 12800"/>
              <a:gd name="T1" fmla="*/ 1147 h 9388"/>
              <a:gd name="T2" fmla="*/ 3626 w 12800"/>
              <a:gd name="T3" fmla="*/ 426 h 9388"/>
              <a:gd name="T4" fmla="*/ 2134 w 12800"/>
              <a:gd name="T5" fmla="*/ 1920 h 9388"/>
              <a:gd name="T6" fmla="*/ 3626 w 12800"/>
              <a:gd name="T7" fmla="*/ 3414 h 9388"/>
              <a:gd name="T8" fmla="*/ 3626 w 12800"/>
              <a:gd name="T9" fmla="*/ 3840 h 9388"/>
              <a:gd name="T10" fmla="*/ 426 w 12800"/>
              <a:gd name="T11" fmla="*/ 7040 h 9388"/>
              <a:gd name="T12" fmla="*/ 0 w 12800"/>
              <a:gd name="T13" fmla="*/ 7040 h 9388"/>
              <a:gd name="T14" fmla="*/ 2639 w 12800"/>
              <a:gd name="T15" fmla="*/ 3547 h 9388"/>
              <a:gd name="T16" fmla="*/ 2267 w 12800"/>
              <a:gd name="T17" fmla="*/ 559 h 9388"/>
              <a:gd name="T18" fmla="*/ 5226 w 12800"/>
              <a:gd name="T19" fmla="*/ 854 h 9388"/>
              <a:gd name="T20" fmla="*/ 9693 w 12800"/>
              <a:gd name="T21" fmla="*/ 6680 h 9388"/>
              <a:gd name="T22" fmla="*/ 10452 w 12800"/>
              <a:gd name="T23" fmla="*/ 9388 h 9388"/>
              <a:gd name="T24" fmla="*/ 9053 w 12800"/>
              <a:gd name="T25" fmla="*/ 6601 h 9388"/>
              <a:gd name="T26" fmla="*/ 3747 w 12800"/>
              <a:gd name="T27" fmla="*/ 6600 h 9388"/>
              <a:gd name="T28" fmla="*/ 2346 w 12800"/>
              <a:gd name="T29" fmla="*/ 9388 h 9388"/>
              <a:gd name="T30" fmla="*/ 3105 w 12800"/>
              <a:gd name="T31" fmla="*/ 6680 h 9388"/>
              <a:gd name="T32" fmla="*/ 4266 w 12800"/>
              <a:gd name="T33" fmla="*/ 3414 h 9388"/>
              <a:gd name="T34" fmla="*/ 6400 w 12800"/>
              <a:gd name="T35" fmla="*/ 1280 h 9388"/>
              <a:gd name="T36" fmla="*/ 8534 w 12800"/>
              <a:gd name="T37" fmla="*/ 3414 h 9388"/>
              <a:gd name="T38" fmla="*/ 5199 w 12800"/>
              <a:gd name="T39" fmla="*/ 4613 h 9388"/>
              <a:gd name="T40" fmla="*/ 7601 w 12800"/>
              <a:gd name="T41" fmla="*/ 4613 h 9388"/>
              <a:gd name="T42" fmla="*/ 7599 w 12800"/>
              <a:gd name="T43" fmla="*/ 2213 h 9388"/>
              <a:gd name="T44" fmla="*/ 5199 w 12800"/>
              <a:gd name="T45" fmla="*/ 2213 h 9388"/>
              <a:gd name="T46" fmla="*/ 5199 w 12800"/>
              <a:gd name="T47" fmla="*/ 4613 h 9388"/>
              <a:gd name="T48" fmla="*/ 12054 w 12800"/>
              <a:gd name="T49" fmla="*/ 4854 h 9388"/>
              <a:gd name="T50" fmla="*/ 12586 w 12800"/>
              <a:gd name="T51" fmla="*/ 7254 h 9388"/>
              <a:gd name="T52" fmla="*/ 11439 w 12800"/>
              <a:gd name="T53" fmla="*/ 4773 h 9388"/>
              <a:gd name="T54" fmla="*/ 8960 w 12800"/>
              <a:gd name="T55" fmla="*/ 3626 h 9388"/>
              <a:gd name="T56" fmla="*/ 10227 w 12800"/>
              <a:gd name="T57" fmla="*/ 2972 h 9388"/>
              <a:gd name="T58" fmla="*/ 10226 w 12800"/>
              <a:gd name="T59" fmla="*/ 867 h 9388"/>
              <a:gd name="T60" fmla="*/ 7921 w 12800"/>
              <a:gd name="T61" fmla="*/ 1093 h 9388"/>
              <a:gd name="T62" fmla="*/ 7572 w 12800"/>
              <a:gd name="T63" fmla="*/ 881 h 9388"/>
              <a:gd name="T64" fmla="*/ 10533 w 12800"/>
              <a:gd name="T65" fmla="*/ 559 h 9388"/>
              <a:gd name="T66" fmla="*/ 10161 w 12800"/>
              <a:gd name="T67" fmla="*/ 3547 h 9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800" h="9388">
                <a:moveTo>
                  <a:pt x="5226" y="854"/>
                </a:moveTo>
                <a:cubicBezTo>
                  <a:pt x="5298" y="942"/>
                  <a:pt x="5280" y="1041"/>
                  <a:pt x="5172" y="1147"/>
                </a:cubicBezTo>
                <a:cubicBezTo>
                  <a:pt x="5048" y="1201"/>
                  <a:pt x="4941" y="1183"/>
                  <a:pt x="4852" y="1093"/>
                </a:cubicBezTo>
                <a:cubicBezTo>
                  <a:pt x="4568" y="649"/>
                  <a:pt x="4160" y="426"/>
                  <a:pt x="3626" y="426"/>
                </a:cubicBezTo>
                <a:cubicBezTo>
                  <a:pt x="3218" y="426"/>
                  <a:pt x="2866" y="573"/>
                  <a:pt x="2573" y="867"/>
                </a:cubicBezTo>
                <a:cubicBezTo>
                  <a:pt x="2280" y="1160"/>
                  <a:pt x="2134" y="1512"/>
                  <a:pt x="2134" y="1920"/>
                </a:cubicBezTo>
                <a:cubicBezTo>
                  <a:pt x="2134" y="2328"/>
                  <a:pt x="2281" y="2680"/>
                  <a:pt x="2574" y="2973"/>
                </a:cubicBezTo>
                <a:cubicBezTo>
                  <a:pt x="2867" y="3267"/>
                  <a:pt x="3218" y="3414"/>
                  <a:pt x="3626" y="3414"/>
                </a:cubicBezTo>
                <a:cubicBezTo>
                  <a:pt x="3768" y="3414"/>
                  <a:pt x="3840" y="3484"/>
                  <a:pt x="3840" y="3626"/>
                </a:cubicBezTo>
                <a:cubicBezTo>
                  <a:pt x="3840" y="3768"/>
                  <a:pt x="3768" y="3840"/>
                  <a:pt x="3626" y="3840"/>
                </a:cubicBezTo>
                <a:cubicBezTo>
                  <a:pt x="2738" y="3840"/>
                  <a:pt x="1983" y="4151"/>
                  <a:pt x="1359" y="4773"/>
                </a:cubicBezTo>
                <a:cubicBezTo>
                  <a:pt x="737" y="5395"/>
                  <a:pt x="426" y="6152"/>
                  <a:pt x="426" y="7040"/>
                </a:cubicBezTo>
                <a:cubicBezTo>
                  <a:pt x="426" y="7182"/>
                  <a:pt x="355" y="7254"/>
                  <a:pt x="212" y="7254"/>
                </a:cubicBezTo>
                <a:cubicBezTo>
                  <a:pt x="70" y="7254"/>
                  <a:pt x="0" y="7182"/>
                  <a:pt x="0" y="7040"/>
                </a:cubicBezTo>
                <a:cubicBezTo>
                  <a:pt x="0" y="6222"/>
                  <a:pt x="248" y="5494"/>
                  <a:pt x="746" y="4854"/>
                </a:cubicBezTo>
                <a:cubicBezTo>
                  <a:pt x="1244" y="4214"/>
                  <a:pt x="1875" y="3779"/>
                  <a:pt x="2639" y="3547"/>
                </a:cubicBezTo>
                <a:cubicBezTo>
                  <a:pt x="2017" y="3191"/>
                  <a:pt x="1706" y="2648"/>
                  <a:pt x="1706" y="1920"/>
                </a:cubicBezTo>
                <a:cubicBezTo>
                  <a:pt x="1706" y="1386"/>
                  <a:pt x="1893" y="933"/>
                  <a:pt x="2267" y="559"/>
                </a:cubicBezTo>
                <a:cubicBezTo>
                  <a:pt x="2639" y="187"/>
                  <a:pt x="3094" y="0"/>
                  <a:pt x="3626" y="0"/>
                </a:cubicBezTo>
                <a:cubicBezTo>
                  <a:pt x="4302" y="0"/>
                  <a:pt x="4836" y="284"/>
                  <a:pt x="5226" y="854"/>
                </a:cubicBezTo>
                <a:close/>
                <a:moveTo>
                  <a:pt x="7466" y="5253"/>
                </a:moveTo>
                <a:cubicBezTo>
                  <a:pt x="8355" y="5485"/>
                  <a:pt x="9097" y="5960"/>
                  <a:pt x="9693" y="6680"/>
                </a:cubicBezTo>
                <a:cubicBezTo>
                  <a:pt x="10289" y="7400"/>
                  <a:pt x="10614" y="8232"/>
                  <a:pt x="10666" y="9174"/>
                </a:cubicBezTo>
                <a:cubicBezTo>
                  <a:pt x="10666" y="9316"/>
                  <a:pt x="10595" y="9388"/>
                  <a:pt x="10452" y="9388"/>
                </a:cubicBezTo>
                <a:cubicBezTo>
                  <a:pt x="10312" y="9386"/>
                  <a:pt x="10240" y="9316"/>
                  <a:pt x="10240" y="9174"/>
                </a:cubicBezTo>
                <a:cubicBezTo>
                  <a:pt x="10186" y="8160"/>
                  <a:pt x="9791" y="7302"/>
                  <a:pt x="9053" y="6601"/>
                </a:cubicBezTo>
                <a:cubicBezTo>
                  <a:pt x="8316" y="5898"/>
                  <a:pt x="7432" y="5546"/>
                  <a:pt x="6400" y="5546"/>
                </a:cubicBezTo>
                <a:cubicBezTo>
                  <a:pt x="5368" y="5546"/>
                  <a:pt x="4484" y="5898"/>
                  <a:pt x="3747" y="6600"/>
                </a:cubicBezTo>
                <a:cubicBezTo>
                  <a:pt x="3009" y="7302"/>
                  <a:pt x="2614" y="8160"/>
                  <a:pt x="2560" y="9174"/>
                </a:cubicBezTo>
                <a:cubicBezTo>
                  <a:pt x="2560" y="9316"/>
                  <a:pt x="2488" y="9388"/>
                  <a:pt x="2346" y="9388"/>
                </a:cubicBezTo>
                <a:cubicBezTo>
                  <a:pt x="2204" y="9388"/>
                  <a:pt x="2132" y="9316"/>
                  <a:pt x="2132" y="9174"/>
                </a:cubicBezTo>
                <a:cubicBezTo>
                  <a:pt x="2186" y="8232"/>
                  <a:pt x="2510" y="7401"/>
                  <a:pt x="3105" y="6680"/>
                </a:cubicBezTo>
                <a:cubicBezTo>
                  <a:pt x="3700" y="5960"/>
                  <a:pt x="4443" y="5485"/>
                  <a:pt x="5332" y="5253"/>
                </a:cubicBezTo>
                <a:cubicBezTo>
                  <a:pt x="4622" y="4845"/>
                  <a:pt x="4266" y="4232"/>
                  <a:pt x="4266" y="3414"/>
                </a:cubicBezTo>
                <a:cubicBezTo>
                  <a:pt x="4266" y="2828"/>
                  <a:pt x="4475" y="2324"/>
                  <a:pt x="4893" y="1907"/>
                </a:cubicBezTo>
                <a:cubicBezTo>
                  <a:pt x="5311" y="1489"/>
                  <a:pt x="5814" y="1280"/>
                  <a:pt x="6400" y="1280"/>
                </a:cubicBezTo>
                <a:cubicBezTo>
                  <a:pt x="6986" y="1280"/>
                  <a:pt x="7489" y="1489"/>
                  <a:pt x="7907" y="1907"/>
                </a:cubicBezTo>
                <a:cubicBezTo>
                  <a:pt x="8324" y="2324"/>
                  <a:pt x="8534" y="2828"/>
                  <a:pt x="8534" y="3414"/>
                </a:cubicBezTo>
                <a:cubicBezTo>
                  <a:pt x="8534" y="4232"/>
                  <a:pt x="8178" y="4845"/>
                  <a:pt x="7466" y="5253"/>
                </a:cubicBezTo>
                <a:close/>
                <a:moveTo>
                  <a:pt x="5199" y="4613"/>
                </a:moveTo>
                <a:cubicBezTo>
                  <a:pt x="5537" y="4951"/>
                  <a:pt x="5938" y="5120"/>
                  <a:pt x="6400" y="5120"/>
                </a:cubicBezTo>
                <a:cubicBezTo>
                  <a:pt x="6862" y="5120"/>
                  <a:pt x="7263" y="4951"/>
                  <a:pt x="7601" y="4613"/>
                </a:cubicBezTo>
                <a:cubicBezTo>
                  <a:pt x="7937" y="4275"/>
                  <a:pt x="8106" y="3876"/>
                  <a:pt x="8106" y="3414"/>
                </a:cubicBezTo>
                <a:cubicBezTo>
                  <a:pt x="8106" y="2952"/>
                  <a:pt x="7937" y="2551"/>
                  <a:pt x="7599" y="2213"/>
                </a:cubicBezTo>
                <a:cubicBezTo>
                  <a:pt x="7263" y="1875"/>
                  <a:pt x="6862" y="1706"/>
                  <a:pt x="6400" y="1706"/>
                </a:cubicBezTo>
                <a:cubicBezTo>
                  <a:pt x="5938" y="1706"/>
                  <a:pt x="5537" y="1875"/>
                  <a:pt x="5199" y="2213"/>
                </a:cubicBezTo>
                <a:cubicBezTo>
                  <a:pt x="4863" y="2551"/>
                  <a:pt x="4694" y="2952"/>
                  <a:pt x="4694" y="3414"/>
                </a:cubicBezTo>
                <a:cubicBezTo>
                  <a:pt x="4694" y="3876"/>
                  <a:pt x="4863" y="4275"/>
                  <a:pt x="5199" y="4613"/>
                </a:cubicBezTo>
                <a:close/>
                <a:moveTo>
                  <a:pt x="10161" y="3547"/>
                </a:moveTo>
                <a:cubicBezTo>
                  <a:pt x="10925" y="3779"/>
                  <a:pt x="11556" y="4214"/>
                  <a:pt x="12054" y="4854"/>
                </a:cubicBezTo>
                <a:cubicBezTo>
                  <a:pt x="12552" y="5494"/>
                  <a:pt x="12800" y="6222"/>
                  <a:pt x="12800" y="7040"/>
                </a:cubicBezTo>
                <a:cubicBezTo>
                  <a:pt x="12800" y="7182"/>
                  <a:pt x="12728" y="7254"/>
                  <a:pt x="12586" y="7254"/>
                </a:cubicBezTo>
                <a:cubicBezTo>
                  <a:pt x="12444" y="7254"/>
                  <a:pt x="12372" y="7182"/>
                  <a:pt x="12372" y="7040"/>
                </a:cubicBezTo>
                <a:cubicBezTo>
                  <a:pt x="12372" y="6152"/>
                  <a:pt x="12061" y="5395"/>
                  <a:pt x="11439" y="4773"/>
                </a:cubicBezTo>
                <a:cubicBezTo>
                  <a:pt x="10817" y="4151"/>
                  <a:pt x="10062" y="3840"/>
                  <a:pt x="9174" y="3840"/>
                </a:cubicBezTo>
                <a:cubicBezTo>
                  <a:pt x="9032" y="3840"/>
                  <a:pt x="8960" y="3768"/>
                  <a:pt x="8960" y="3626"/>
                </a:cubicBezTo>
                <a:cubicBezTo>
                  <a:pt x="8960" y="3484"/>
                  <a:pt x="9032" y="3412"/>
                  <a:pt x="9174" y="3412"/>
                </a:cubicBezTo>
                <a:cubicBezTo>
                  <a:pt x="9582" y="3412"/>
                  <a:pt x="9934" y="3265"/>
                  <a:pt x="10227" y="2972"/>
                </a:cubicBezTo>
                <a:cubicBezTo>
                  <a:pt x="10520" y="2680"/>
                  <a:pt x="10666" y="2328"/>
                  <a:pt x="10666" y="1920"/>
                </a:cubicBezTo>
                <a:cubicBezTo>
                  <a:pt x="10666" y="1512"/>
                  <a:pt x="10519" y="1160"/>
                  <a:pt x="10226" y="867"/>
                </a:cubicBezTo>
                <a:cubicBezTo>
                  <a:pt x="9933" y="573"/>
                  <a:pt x="9582" y="426"/>
                  <a:pt x="9174" y="426"/>
                </a:cubicBezTo>
                <a:cubicBezTo>
                  <a:pt x="8640" y="426"/>
                  <a:pt x="8223" y="649"/>
                  <a:pt x="7921" y="1093"/>
                </a:cubicBezTo>
                <a:cubicBezTo>
                  <a:pt x="7867" y="1217"/>
                  <a:pt x="7768" y="1244"/>
                  <a:pt x="7626" y="1174"/>
                </a:cubicBezTo>
                <a:cubicBezTo>
                  <a:pt x="7502" y="1068"/>
                  <a:pt x="7484" y="969"/>
                  <a:pt x="7572" y="881"/>
                </a:cubicBezTo>
                <a:cubicBezTo>
                  <a:pt x="7928" y="293"/>
                  <a:pt x="8462" y="0"/>
                  <a:pt x="9174" y="0"/>
                </a:cubicBezTo>
                <a:cubicBezTo>
                  <a:pt x="9708" y="0"/>
                  <a:pt x="10161" y="187"/>
                  <a:pt x="10533" y="559"/>
                </a:cubicBezTo>
                <a:cubicBezTo>
                  <a:pt x="10907" y="933"/>
                  <a:pt x="11094" y="1386"/>
                  <a:pt x="11094" y="1920"/>
                </a:cubicBezTo>
                <a:cubicBezTo>
                  <a:pt x="11094" y="2648"/>
                  <a:pt x="10783" y="3191"/>
                  <a:pt x="10161" y="354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箭头: 右 74"/>
          <p:cNvSpPr/>
          <p:nvPr/>
        </p:nvSpPr>
        <p:spPr>
          <a:xfrm>
            <a:off x="3738562" y="3292410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箭头: 右 75"/>
          <p:cNvSpPr/>
          <p:nvPr/>
        </p:nvSpPr>
        <p:spPr>
          <a:xfrm>
            <a:off x="6867912" y="3292410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箭头: 右 76"/>
          <p:cNvSpPr/>
          <p:nvPr/>
        </p:nvSpPr>
        <p:spPr>
          <a:xfrm>
            <a:off x="9997158" y="3292410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0" name="直接连接符 79"/>
          <p:cNvCxnSpPr/>
          <p:nvPr/>
        </p:nvCxnSpPr>
        <p:spPr>
          <a:xfrm>
            <a:off x="342900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/>
          <p:cNvCxnSpPr/>
          <p:nvPr/>
        </p:nvCxnSpPr>
        <p:spPr>
          <a:xfrm>
            <a:off x="3690900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81"/>
          <p:cNvCxnSpPr/>
          <p:nvPr/>
        </p:nvCxnSpPr>
        <p:spPr>
          <a:xfrm flipV="1">
            <a:off x="4504917" y="2001539"/>
            <a:ext cx="2318400" cy="1"/>
          </a:xfrm>
          <a:prstGeom prst="straightConnector1">
            <a:avLst/>
          </a:prstGeom>
          <a:ln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/>
        </p:nvCxnSpPr>
        <p:spPr>
          <a:xfrm>
            <a:off x="4504917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6822667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文本框 84"/>
          <p:cNvSpPr txBox="1"/>
          <p:nvPr/>
        </p:nvSpPr>
        <p:spPr>
          <a:xfrm>
            <a:off x="5350896" y="1875538"/>
            <a:ext cx="626442" cy="25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none" bIns="36000" rtlCol="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2</a:t>
            </a:r>
            <a:r>
              <a:rPr lang="zh-CN" altLang="en-US" sz="1400" dirty="0">
                <a:solidFill>
                  <a:schemeClr val="bg1"/>
                </a:solidFill>
              </a:rPr>
              <a:t>天</a:t>
            </a:r>
          </a:p>
        </p:txBody>
      </p:sp>
      <p:cxnSp>
        <p:nvCxnSpPr>
          <p:cNvPr id="86" name="直接箭头连接符 85"/>
          <p:cNvCxnSpPr/>
          <p:nvPr/>
        </p:nvCxnSpPr>
        <p:spPr>
          <a:xfrm flipV="1">
            <a:off x="7636684" y="2001539"/>
            <a:ext cx="2318400" cy="1"/>
          </a:xfrm>
          <a:prstGeom prst="straightConnector1">
            <a:avLst/>
          </a:prstGeom>
          <a:ln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/>
          <p:nvPr/>
        </p:nvCxnSpPr>
        <p:spPr>
          <a:xfrm>
            <a:off x="7636684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/>
        </p:nvCxnSpPr>
        <p:spPr>
          <a:xfrm>
            <a:off x="9955084" y="1895476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文本框 88"/>
          <p:cNvSpPr txBox="1"/>
          <p:nvPr/>
        </p:nvSpPr>
        <p:spPr>
          <a:xfrm>
            <a:off x="8395380" y="1875538"/>
            <a:ext cx="801008" cy="25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none" bIns="36000" rtlCol="0" anchor="ctr" anchorCtr="0">
            <a:noAutofit/>
          </a:bodyPr>
          <a:lstStyle>
            <a:defPPr>
              <a:defRPr lang="zh-CN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7-14</a:t>
            </a:r>
            <a:r>
              <a:rPr lang="zh-CN" altLang="en-US" dirty="0"/>
              <a:t>天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1885911" y="4057882"/>
            <a:ext cx="9498368" cy="529572"/>
            <a:chOff x="1885911" y="4057882"/>
            <a:chExt cx="9498368" cy="529572"/>
          </a:xfrm>
        </p:grpSpPr>
        <p:sp>
          <p:nvSpPr>
            <p:cNvPr id="93" name="任意多边形: 形状 92"/>
            <p:cNvSpPr/>
            <p:nvPr/>
          </p:nvSpPr>
          <p:spPr>
            <a:xfrm flipH="1" flipV="1">
              <a:off x="2456720" y="4057882"/>
              <a:ext cx="8927559" cy="529572"/>
            </a:xfrm>
            <a:custGeom>
              <a:avLst/>
              <a:gdLst>
                <a:gd name="connsiteX0" fmla="*/ 101879 w 8927559"/>
                <a:gd name="connsiteY0" fmla="*/ 529572 h 529572"/>
                <a:gd name="connsiteX1" fmla="*/ 0 w 8927559"/>
                <a:gd name="connsiteY1" fmla="*/ 529572 h 529572"/>
                <a:gd name="connsiteX2" fmla="*/ 0 w 8927559"/>
                <a:gd name="connsiteY2" fmla="*/ 279202 h 529572"/>
                <a:gd name="connsiteX3" fmla="*/ 279202 w 8927559"/>
                <a:gd name="connsiteY3" fmla="*/ 0 h 529572"/>
                <a:gd name="connsiteX4" fmla="*/ 8927559 w 8927559"/>
                <a:gd name="connsiteY4" fmla="*/ 0 h 529572"/>
                <a:gd name="connsiteX5" fmla="*/ 8927559 w 8927559"/>
                <a:gd name="connsiteY5" fmla="*/ 101879 h 529572"/>
                <a:gd name="connsiteX6" fmla="*/ 279202 w 8927559"/>
                <a:gd name="connsiteY6" fmla="*/ 101879 h 529572"/>
                <a:gd name="connsiteX7" fmla="*/ 101878 w 8927559"/>
                <a:gd name="connsiteY7" fmla="*/ 279203 h 529572"/>
                <a:gd name="connsiteX8" fmla="*/ 101879 w 8927559"/>
                <a:gd name="connsiteY8" fmla="*/ 529572 h 5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27559" h="529572">
                  <a:moveTo>
                    <a:pt x="101879" y="529572"/>
                  </a:moveTo>
                  <a:lnTo>
                    <a:pt x="0" y="529572"/>
                  </a:lnTo>
                  <a:lnTo>
                    <a:pt x="0" y="279202"/>
                  </a:lnTo>
                  <a:cubicBezTo>
                    <a:pt x="0" y="125003"/>
                    <a:pt x="125003" y="0"/>
                    <a:pt x="279202" y="0"/>
                  </a:cubicBezTo>
                  <a:lnTo>
                    <a:pt x="8927559" y="0"/>
                  </a:lnTo>
                  <a:lnTo>
                    <a:pt x="8927559" y="101879"/>
                  </a:lnTo>
                  <a:lnTo>
                    <a:pt x="279202" y="101879"/>
                  </a:lnTo>
                  <a:cubicBezTo>
                    <a:pt x="181269" y="101879"/>
                    <a:pt x="101878" y="181270"/>
                    <a:pt x="101878" y="279203"/>
                  </a:cubicBezTo>
                  <a:cubicBezTo>
                    <a:pt x="101878" y="362659"/>
                    <a:pt x="101879" y="446116"/>
                    <a:pt x="101879" y="529572"/>
                  </a:cubicBezTo>
                  <a:close/>
                </a:path>
              </a:pathLst>
            </a:custGeom>
            <a:noFill/>
            <a:ln w="6350">
              <a:gradFill flip="none" rotWithShape="1">
                <a:gsLst>
                  <a:gs pos="2000">
                    <a:schemeClr val="accent1">
                      <a:alpha val="0"/>
                    </a:schemeClr>
                  </a:gs>
                  <a:gs pos="62000">
                    <a:schemeClr val="accent1"/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8" name="任意多边形: 形状 97"/>
            <p:cNvSpPr/>
            <p:nvPr/>
          </p:nvSpPr>
          <p:spPr>
            <a:xfrm rot="5400000" flipH="1" flipV="1">
              <a:off x="1927304" y="4022323"/>
              <a:ext cx="523738" cy="606524"/>
            </a:xfrm>
            <a:custGeom>
              <a:avLst/>
              <a:gdLst>
                <a:gd name="connsiteX0" fmla="*/ 523738 w 523738"/>
                <a:gd name="connsiteY0" fmla="*/ 130989 h 606524"/>
                <a:gd name="connsiteX1" fmla="*/ 375023 w 523738"/>
                <a:gd name="connsiteY1" fmla="*/ 261978 h 606524"/>
                <a:gd name="connsiteX2" fmla="*/ 375023 w 523738"/>
                <a:gd name="connsiteY2" fmla="*/ 178831 h 606524"/>
                <a:gd name="connsiteX3" fmla="*/ 279202 w 523738"/>
                <a:gd name="connsiteY3" fmla="*/ 178831 h 606524"/>
                <a:gd name="connsiteX4" fmla="*/ 101878 w 523738"/>
                <a:gd name="connsiteY4" fmla="*/ 356155 h 606524"/>
                <a:gd name="connsiteX5" fmla="*/ 101879 w 523738"/>
                <a:gd name="connsiteY5" fmla="*/ 606524 h 606524"/>
                <a:gd name="connsiteX6" fmla="*/ 0 w 523738"/>
                <a:gd name="connsiteY6" fmla="*/ 606524 h 606524"/>
                <a:gd name="connsiteX7" fmla="*/ 0 w 523738"/>
                <a:gd name="connsiteY7" fmla="*/ 356154 h 606524"/>
                <a:gd name="connsiteX8" fmla="*/ 279202 w 523738"/>
                <a:gd name="connsiteY8" fmla="*/ 76952 h 606524"/>
                <a:gd name="connsiteX9" fmla="*/ 375023 w 523738"/>
                <a:gd name="connsiteY9" fmla="*/ 76952 h 606524"/>
                <a:gd name="connsiteX10" fmla="*/ 375023 w 523738"/>
                <a:gd name="connsiteY10" fmla="*/ 0 h 606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738" h="606524">
                  <a:moveTo>
                    <a:pt x="523738" y="130989"/>
                  </a:moveTo>
                  <a:lnTo>
                    <a:pt x="375023" y="261978"/>
                  </a:lnTo>
                  <a:lnTo>
                    <a:pt x="375023" y="178831"/>
                  </a:lnTo>
                  <a:lnTo>
                    <a:pt x="279202" y="178831"/>
                  </a:lnTo>
                  <a:cubicBezTo>
                    <a:pt x="181269" y="178831"/>
                    <a:pt x="101878" y="258222"/>
                    <a:pt x="101878" y="356155"/>
                  </a:cubicBezTo>
                  <a:cubicBezTo>
                    <a:pt x="101878" y="439611"/>
                    <a:pt x="101879" y="523068"/>
                    <a:pt x="101879" y="606524"/>
                  </a:cubicBezTo>
                  <a:lnTo>
                    <a:pt x="0" y="606524"/>
                  </a:lnTo>
                  <a:lnTo>
                    <a:pt x="0" y="356154"/>
                  </a:lnTo>
                  <a:cubicBezTo>
                    <a:pt x="0" y="201955"/>
                    <a:pt x="125003" y="76952"/>
                    <a:pt x="279202" y="76952"/>
                  </a:cubicBezTo>
                  <a:lnTo>
                    <a:pt x="375023" y="76952"/>
                  </a:lnTo>
                  <a:lnTo>
                    <a:pt x="375023" y="0"/>
                  </a:lnTo>
                  <a:close/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9" name="矩形 98"/>
            <p:cNvSpPr/>
            <p:nvPr/>
          </p:nvSpPr>
          <p:spPr>
            <a:xfrm>
              <a:off x="2350294" y="4491037"/>
              <a:ext cx="221456" cy="93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0" name="矩形: 圆角 99"/>
          <p:cNvSpPr/>
          <p:nvPr/>
        </p:nvSpPr>
        <p:spPr>
          <a:xfrm>
            <a:off x="342900" y="5007429"/>
            <a:ext cx="3706586" cy="1277257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1" name="矩形: 圆角 100"/>
          <p:cNvSpPr/>
          <p:nvPr/>
        </p:nvSpPr>
        <p:spPr>
          <a:xfrm>
            <a:off x="4242707" y="5007429"/>
            <a:ext cx="3706586" cy="1277257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2" name="矩形: 圆角 101"/>
          <p:cNvSpPr/>
          <p:nvPr/>
        </p:nvSpPr>
        <p:spPr>
          <a:xfrm>
            <a:off x="8143865" y="5007429"/>
            <a:ext cx="3706586" cy="1277257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4" name="文本框 103"/>
          <p:cNvSpPr txBox="1"/>
          <p:nvPr/>
        </p:nvSpPr>
        <p:spPr>
          <a:xfrm>
            <a:off x="342900" y="5122122"/>
            <a:ext cx="3705235" cy="1020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sz="2000" b="1" dirty="0">
                <a:solidFill>
                  <a:schemeClr val="accent2"/>
                </a:solidFill>
                <a:latin typeface="+mj-ea"/>
                <a:ea typeface="+mj-ea"/>
              </a:rPr>
              <a:t>周期长</a:t>
            </a:r>
            <a:endParaRPr lang="en-US" altLang="zh-CN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从需求收集到系统上线</a:t>
            </a:r>
            <a:br>
              <a:rPr lang="en-US" altLang="zh-CN" sz="1600" dirty="0"/>
            </a:br>
            <a:r>
              <a:rPr lang="zh-CN" altLang="en-US" sz="1600" dirty="0"/>
              <a:t>要</a:t>
            </a:r>
            <a:r>
              <a:rPr lang="zh-CN" altLang="en-US" sz="1600" b="1" dirty="0">
                <a:solidFill>
                  <a:schemeClr val="accent2"/>
                </a:solidFill>
                <a:latin typeface="+mj-ea"/>
                <a:ea typeface="+mj-ea"/>
              </a:rPr>
              <a:t>至少半个月</a:t>
            </a:r>
            <a:r>
              <a:rPr lang="zh-CN" altLang="en-US" sz="1600" dirty="0"/>
              <a:t>时间</a:t>
            </a:r>
          </a:p>
        </p:txBody>
      </p:sp>
      <p:sp>
        <p:nvSpPr>
          <p:cNvPr id="106" name="文本框 105"/>
          <p:cNvSpPr txBox="1"/>
          <p:nvPr/>
        </p:nvSpPr>
        <p:spPr>
          <a:xfrm>
            <a:off x="4242707" y="5122122"/>
            <a:ext cx="3706586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sz="2000" b="1" dirty="0">
                <a:solidFill>
                  <a:schemeClr val="accent2"/>
                </a:solidFill>
                <a:latin typeface="+mj-ea"/>
                <a:ea typeface="+mj-ea"/>
              </a:rPr>
              <a:t>人力复杂</a:t>
            </a:r>
            <a:endParaRPr lang="en-US" altLang="zh-CN" sz="2000" b="1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整个流程涉及多个角色人员</a:t>
            </a:r>
            <a:br>
              <a:rPr lang="en-US" altLang="zh-CN" sz="1600" dirty="0"/>
            </a:br>
            <a:r>
              <a:rPr lang="zh-CN" altLang="en-US" sz="1600" dirty="0"/>
              <a:t>沟通协调成本高</a:t>
            </a:r>
            <a:endParaRPr lang="en-US" altLang="zh-CN" sz="1600" dirty="0"/>
          </a:p>
        </p:txBody>
      </p:sp>
      <p:sp>
        <p:nvSpPr>
          <p:cNvPr id="108" name="文本框 107"/>
          <p:cNvSpPr txBox="1"/>
          <p:nvPr/>
        </p:nvSpPr>
        <p:spPr>
          <a:xfrm>
            <a:off x="8143865" y="5122122"/>
            <a:ext cx="3705235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sz="2000" b="1" dirty="0">
                <a:solidFill>
                  <a:schemeClr val="accent2"/>
                </a:solidFill>
                <a:latin typeface="+mj-ea"/>
                <a:ea typeface="+mj-ea"/>
              </a:rPr>
              <a:t>维护成本高</a:t>
            </a:r>
            <a:endParaRPr lang="en-US" altLang="zh-CN" sz="2000" b="1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后期模型升级更新等</a:t>
            </a:r>
            <a:br>
              <a:rPr lang="en-US" altLang="zh-CN" sz="1600" dirty="0"/>
            </a:br>
            <a:r>
              <a:rPr lang="zh-CN" altLang="en-US" sz="1600" dirty="0"/>
              <a:t>都要重复相同流程</a:t>
            </a:r>
          </a:p>
        </p:txBody>
      </p:sp>
      <p:cxnSp>
        <p:nvCxnSpPr>
          <p:cNvPr id="14" name="直接连接符 13"/>
          <p:cNvCxnSpPr/>
          <p:nvPr/>
        </p:nvCxnSpPr>
        <p:spPr>
          <a:xfrm>
            <a:off x="5403056" y="814388"/>
            <a:ext cx="504000" cy="0"/>
          </a:xfrm>
          <a:prstGeom prst="line">
            <a:avLst/>
          </a:prstGeom>
          <a:ln w="12700"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/>
          <p:cNvSpPr txBox="1"/>
          <p:nvPr/>
        </p:nvSpPr>
        <p:spPr>
          <a:xfrm>
            <a:off x="342900" y="1096482"/>
            <a:ext cx="11506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现有工业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打法，几乎不可能实现跨行业的工业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落地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88950" y="714487"/>
            <a:ext cx="11214100" cy="9772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320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4800000" scaled="0"/>
                  <a:tileRect/>
                </a:gradFill>
                <a:latin typeface="+mj-ea"/>
                <a:ea typeface="+mj-ea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zh-CN" altLang="en-US" sz="2400" dirty="0">
                <a:solidFill>
                  <a:schemeClr val="tx1"/>
                </a:solidFill>
              </a:rPr>
              <a:t>我们举个例子来看下</a:t>
            </a:r>
            <a:br>
              <a:rPr lang="en-US" altLang="zh-CN" sz="2400" dirty="0">
                <a:solidFill>
                  <a:schemeClr val="tx1"/>
                </a:solidFill>
              </a:rPr>
            </a:br>
            <a:r>
              <a:rPr lang="zh-CN" altLang="en-US" sz="2400" dirty="0">
                <a:solidFill>
                  <a:schemeClr val="tx1"/>
                </a:solidFill>
              </a:rPr>
              <a:t>用目前广泛应用的</a:t>
            </a:r>
            <a:r>
              <a:rPr lang="en-US" altLang="zh-CN" sz="2400" dirty="0">
                <a:solidFill>
                  <a:schemeClr val="tx1"/>
                </a:solidFill>
              </a:rPr>
              <a:t>AI</a:t>
            </a:r>
            <a:r>
              <a:rPr lang="zh-CN" altLang="en-US" sz="2400" dirty="0">
                <a:solidFill>
                  <a:schemeClr val="tx1"/>
                </a:solidFill>
              </a:rPr>
              <a:t>架构和工业</a:t>
            </a:r>
            <a:r>
              <a:rPr lang="en-US" altLang="zh-CN" sz="2400" dirty="0">
                <a:solidFill>
                  <a:schemeClr val="tx1"/>
                </a:solidFill>
              </a:rPr>
              <a:t>AI</a:t>
            </a:r>
            <a:r>
              <a:rPr lang="zh-CN" altLang="en-US" sz="2400" dirty="0">
                <a:solidFill>
                  <a:schemeClr val="tx1"/>
                </a:solidFill>
              </a:rPr>
              <a:t>打法，在高端制造业实现</a:t>
            </a:r>
            <a:r>
              <a:rPr lang="en-US" altLang="zh-CN" sz="2400" dirty="0">
                <a:solidFill>
                  <a:schemeClr val="tx1"/>
                </a:solidFill>
              </a:rPr>
              <a:t>AI</a:t>
            </a:r>
            <a:r>
              <a:rPr lang="zh-CN" altLang="en-US" sz="2400" dirty="0">
                <a:solidFill>
                  <a:schemeClr val="tx1"/>
                </a:solidFill>
              </a:rPr>
              <a:t>全面产业化有多难？</a:t>
            </a:r>
          </a:p>
        </p:txBody>
      </p:sp>
      <p:grpSp>
        <p:nvGrpSpPr>
          <p:cNvPr id="68" name="组合 67"/>
          <p:cNvGrpSpPr/>
          <p:nvPr/>
        </p:nvGrpSpPr>
        <p:grpSpPr>
          <a:xfrm>
            <a:off x="0" y="2097406"/>
            <a:ext cx="12192000" cy="4036060"/>
            <a:chOff x="0" y="2097406"/>
            <a:chExt cx="12192000" cy="4036060"/>
          </a:xfrm>
        </p:grpSpPr>
        <p:sp>
          <p:nvSpPr>
            <p:cNvPr id="44" name="平行四边形 43"/>
            <p:cNvSpPr/>
            <p:nvPr/>
          </p:nvSpPr>
          <p:spPr>
            <a:xfrm flipV="1">
              <a:off x="3793127" y="2642171"/>
              <a:ext cx="1502774" cy="96999"/>
            </a:xfrm>
            <a:prstGeom prst="parallelogram">
              <a:avLst>
                <a:gd name="adj" fmla="val 50466"/>
              </a:avLst>
            </a:prstGeom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" name="矩形 3"/>
            <p:cNvSpPr/>
            <p:nvPr/>
          </p:nvSpPr>
          <p:spPr>
            <a:xfrm>
              <a:off x="0" y="3157857"/>
              <a:ext cx="12192000" cy="1458062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组合 4"/>
            <p:cNvGrpSpPr/>
            <p:nvPr/>
          </p:nvGrpSpPr>
          <p:grpSpPr>
            <a:xfrm>
              <a:off x="5949858" y="2408260"/>
              <a:ext cx="3179120" cy="541367"/>
              <a:chOff x="5949858" y="2624794"/>
              <a:chExt cx="3179120" cy="541367"/>
            </a:xfrm>
          </p:grpSpPr>
          <p:sp>
            <p:nvSpPr>
              <p:cNvPr id="42" name="平行四边形 41"/>
              <p:cNvSpPr/>
              <p:nvPr/>
            </p:nvSpPr>
            <p:spPr>
              <a:xfrm flipV="1">
                <a:off x="5959534" y="2965329"/>
                <a:ext cx="3131344" cy="172251"/>
              </a:xfrm>
              <a:prstGeom prst="parallelogram">
                <a:avLst>
                  <a:gd name="adj" fmla="val 50466"/>
                </a:avLst>
              </a:prstGeom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2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文本框 42"/>
              <p:cNvSpPr txBox="1"/>
              <p:nvPr/>
            </p:nvSpPr>
            <p:spPr>
              <a:xfrm>
                <a:off x="5949858" y="2624794"/>
                <a:ext cx="3179120" cy="5413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>
                  <a:lnSpc>
                    <a:spcPct val="110000"/>
                  </a:lnSpc>
                  <a:defRPr sz="1500">
                    <a:gradFill flip="none" rotWithShape="1">
                      <a:gsLst>
                        <a:gs pos="100000">
                          <a:schemeClr val="bg1"/>
                        </a:gs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4800000" scaled="0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algn="ctr"/>
                <a:r>
                  <a:rPr lang="zh-CN" altLang="en-US" sz="2800" b="1" dirty="0">
                    <a:solidFill>
                      <a:schemeClr val="accent1"/>
                    </a:solidFill>
                  </a:rPr>
                  <a:t>以智能手机为例</a:t>
                </a:r>
              </a:p>
            </p:txBody>
          </p:sp>
        </p:grpSp>
        <p:grpSp>
          <p:nvGrpSpPr>
            <p:cNvPr id="32" name="组合 31"/>
            <p:cNvGrpSpPr/>
            <p:nvPr/>
          </p:nvGrpSpPr>
          <p:grpSpPr>
            <a:xfrm>
              <a:off x="1258845" y="2097406"/>
              <a:ext cx="2023409" cy="4036060"/>
              <a:chOff x="1258845" y="1996440"/>
              <a:chExt cx="2023409" cy="4036060"/>
            </a:xfrm>
          </p:grpSpPr>
          <p:grpSp>
            <p:nvGrpSpPr>
              <p:cNvPr id="36" name="组合 35"/>
              <p:cNvGrpSpPr/>
              <p:nvPr/>
            </p:nvGrpSpPr>
            <p:grpSpPr>
              <a:xfrm>
                <a:off x="1258845" y="1996440"/>
                <a:ext cx="2023409" cy="4036060"/>
                <a:chOff x="1258845" y="2222500"/>
                <a:chExt cx="2023409" cy="3810000"/>
              </a:xfrm>
            </p:grpSpPr>
            <p:sp>
              <p:nvSpPr>
                <p:cNvPr id="41" name="矩形: 圆角 40"/>
                <p:cNvSpPr/>
                <p:nvPr/>
              </p:nvSpPr>
              <p:spPr>
                <a:xfrm>
                  <a:off x="1258845" y="2222500"/>
                  <a:ext cx="2023409" cy="3810000"/>
                </a:xfrm>
                <a:prstGeom prst="roundRect">
                  <a:avLst>
                    <a:gd name="adj" fmla="val 8508"/>
                  </a:avLst>
                </a:prstGeom>
                <a:solidFill>
                  <a:srgbClr val="F2F8FB"/>
                </a:solidFill>
                <a:ln w="63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" name="矩形: 圆角 39"/>
                <p:cNvSpPr/>
                <p:nvPr/>
              </p:nvSpPr>
              <p:spPr>
                <a:xfrm>
                  <a:off x="1296796" y="2260899"/>
                  <a:ext cx="1947508" cy="3733200"/>
                </a:xfrm>
                <a:prstGeom prst="roundRect">
                  <a:avLst>
                    <a:gd name="adj" fmla="val 7367"/>
                  </a:avLst>
                </a:prstGeom>
                <a:solidFill>
                  <a:srgbClr val="F8FBFD"/>
                </a:solidFill>
                <a:ln w="31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7" name="组合 36"/>
              <p:cNvGrpSpPr/>
              <p:nvPr/>
            </p:nvGrpSpPr>
            <p:grpSpPr>
              <a:xfrm flipH="1">
                <a:off x="1928369" y="2157449"/>
                <a:ext cx="684362" cy="45719"/>
                <a:chOff x="1159506" y="2637509"/>
                <a:chExt cx="684362" cy="45719"/>
              </a:xfrm>
            </p:grpSpPr>
            <p:sp>
              <p:nvSpPr>
                <p:cNvPr id="38" name="矩形: 圆角 37"/>
                <p:cNvSpPr/>
                <p:nvPr/>
              </p:nvSpPr>
              <p:spPr>
                <a:xfrm>
                  <a:off x="1159506" y="2637509"/>
                  <a:ext cx="540000" cy="45719"/>
                </a:xfrm>
                <a:prstGeom prst="roundRect">
                  <a:avLst>
                    <a:gd name="adj" fmla="val 50000"/>
                  </a:avLst>
                </a:prstGeom>
                <a:noFill/>
                <a:ln w="31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矩形: 圆角 38"/>
                <p:cNvSpPr/>
                <p:nvPr/>
              </p:nvSpPr>
              <p:spPr>
                <a:xfrm>
                  <a:off x="1797068" y="2637509"/>
                  <a:ext cx="46800" cy="45719"/>
                </a:xfrm>
                <a:prstGeom prst="roundRect">
                  <a:avLst>
                    <a:gd name="adj" fmla="val 50000"/>
                  </a:avLst>
                </a:prstGeom>
                <a:noFill/>
                <a:ln w="31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7" name="矩形: 圆角 6"/>
            <p:cNvSpPr/>
            <p:nvPr/>
          </p:nvSpPr>
          <p:spPr>
            <a:xfrm>
              <a:off x="2002687" y="5761704"/>
              <a:ext cx="535726" cy="161646"/>
            </a:xfrm>
            <a:prstGeom prst="roundRect">
              <a:avLst>
                <a:gd name="adj" fmla="val 5000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3954943" y="3406139"/>
              <a:ext cx="2769708" cy="1002493"/>
              <a:chOff x="3954943" y="3622673"/>
              <a:chExt cx="2769708" cy="1002493"/>
            </a:xfrm>
          </p:grpSpPr>
          <p:sp>
            <p:nvSpPr>
              <p:cNvPr id="30" name="settings_297137"/>
              <p:cNvSpPr/>
              <p:nvPr/>
            </p:nvSpPr>
            <p:spPr>
              <a:xfrm>
                <a:off x="5182337" y="3622673"/>
                <a:ext cx="314920" cy="314444"/>
              </a:xfrm>
              <a:custGeom>
                <a:avLst/>
                <a:gdLst>
                  <a:gd name="connsiteX0" fmla="*/ 303819 w 607639"/>
                  <a:gd name="connsiteY0" fmla="*/ 470672 h 606722"/>
                  <a:gd name="connsiteX1" fmla="*/ 313310 w 607639"/>
                  <a:gd name="connsiteY1" fmla="*/ 480128 h 606722"/>
                  <a:gd name="connsiteX2" fmla="*/ 303819 w 607639"/>
                  <a:gd name="connsiteY2" fmla="*/ 489584 h 606722"/>
                  <a:gd name="connsiteX3" fmla="*/ 294328 w 607639"/>
                  <a:gd name="connsiteY3" fmla="*/ 480128 h 606722"/>
                  <a:gd name="connsiteX4" fmla="*/ 303819 w 607639"/>
                  <a:gd name="connsiteY4" fmla="*/ 470672 h 606722"/>
                  <a:gd name="connsiteX5" fmla="*/ 428968 w 607639"/>
                  <a:gd name="connsiteY5" fmla="*/ 418877 h 606722"/>
                  <a:gd name="connsiteX6" fmla="*/ 438495 w 607639"/>
                  <a:gd name="connsiteY6" fmla="*/ 428368 h 606722"/>
                  <a:gd name="connsiteX7" fmla="*/ 428968 w 607639"/>
                  <a:gd name="connsiteY7" fmla="*/ 437859 h 606722"/>
                  <a:gd name="connsiteX8" fmla="*/ 419441 w 607639"/>
                  <a:gd name="connsiteY8" fmla="*/ 428368 h 606722"/>
                  <a:gd name="connsiteX9" fmla="*/ 428968 w 607639"/>
                  <a:gd name="connsiteY9" fmla="*/ 418877 h 606722"/>
                  <a:gd name="connsiteX10" fmla="*/ 178566 w 607639"/>
                  <a:gd name="connsiteY10" fmla="*/ 418877 h 606722"/>
                  <a:gd name="connsiteX11" fmla="*/ 188057 w 607639"/>
                  <a:gd name="connsiteY11" fmla="*/ 428368 h 606722"/>
                  <a:gd name="connsiteX12" fmla="*/ 178566 w 607639"/>
                  <a:gd name="connsiteY12" fmla="*/ 437859 h 606722"/>
                  <a:gd name="connsiteX13" fmla="*/ 169075 w 607639"/>
                  <a:gd name="connsiteY13" fmla="*/ 428368 h 606722"/>
                  <a:gd name="connsiteX14" fmla="*/ 178566 w 607639"/>
                  <a:gd name="connsiteY14" fmla="*/ 418877 h 606722"/>
                  <a:gd name="connsiteX15" fmla="*/ 480833 w 607639"/>
                  <a:gd name="connsiteY15" fmla="*/ 293905 h 606722"/>
                  <a:gd name="connsiteX16" fmla="*/ 490289 w 607639"/>
                  <a:gd name="connsiteY16" fmla="*/ 303361 h 606722"/>
                  <a:gd name="connsiteX17" fmla="*/ 480833 w 607639"/>
                  <a:gd name="connsiteY17" fmla="*/ 312817 h 606722"/>
                  <a:gd name="connsiteX18" fmla="*/ 471377 w 607639"/>
                  <a:gd name="connsiteY18" fmla="*/ 303361 h 606722"/>
                  <a:gd name="connsiteX19" fmla="*/ 480833 w 607639"/>
                  <a:gd name="connsiteY19" fmla="*/ 293905 h 606722"/>
                  <a:gd name="connsiteX20" fmla="*/ 126736 w 607639"/>
                  <a:gd name="connsiteY20" fmla="*/ 293905 h 606722"/>
                  <a:gd name="connsiteX21" fmla="*/ 136263 w 607639"/>
                  <a:gd name="connsiteY21" fmla="*/ 303361 h 606722"/>
                  <a:gd name="connsiteX22" fmla="*/ 126736 w 607639"/>
                  <a:gd name="connsiteY22" fmla="*/ 312817 h 606722"/>
                  <a:gd name="connsiteX23" fmla="*/ 117209 w 607639"/>
                  <a:gd name="connsiteY23" fmla="*/ 303361 h 606722"/>
                  <a:gd name="connsiteX24" fmla="*/ 126736 w 607639"/>
                  <a:gd name="connsiteY24" fmla="*/ 293905 h 606722"/>
                  <a:gd name="connsiteX25" fmla="*/ 303748 w 607639"/>
                  <a:gd name="connsiteY25" fmla="*/ 218440 h 606722"/>
                  <a:gd name="connsiteX26" fmla="*/ 218747 w 607639"/>
                  <a:gd name="connsiteY26" fmla="*/ 303325 h 606722"/>
                  <a:gd name="connsiteX27" fmla="*/ 303748 w 607639"/>
                  <a:gd name="connsiteY27" fmla="*/ 388300 h 606722"/>
                  <a:gd name="connsiteX28" fmla="*/ 388839 w 607639"/>
                  <a:gd name="connsiteY28" fmla="*/ 303325 h 606722"/>
                  <a:gd name="connsiteX29" fmla="*/ 303748 w 607639"/>
                  <a:gd name="connsiteY29" fmla="*/ 218440 h 606722"/>
                  <a:gd name="connsiteX30" fmla="*/ 303748 w 607639"/>
                  <a:gd name="connsiteY30" fmla="*/ 199418 h 606722"/>
                  <a:gd name="connsiteX31" fmla="*/ 407797 w 607639"/>
                  <a:gd name="connsiteY31" fmla="*/ 303325 h 606722"/>
                  <a:gd name="connsiteX32" fmla="*/ 303748 w 607639"/>
                  <a:gd name="connsiteY32" fmla="*/ 407233 h 606722"/>
                  <a:gd name="connsiteX33" fmla="*/ 199700 w 607639"/>
                  <a:gd name="connsiteY33" fmla="*/ 303325 h 606722"/>
                  <a:gd name="connsiteX34" fmla="*/ 303748 w 607639"/>
                  <a:gd name="connsiteY34" fmla="*/ 199418 h 606722"/>
                  <a:gd name="connsiteX35" fmla="*/ 303784 w 607639"/>
                  <a:gd name="connsiteY35" fmla="*/ 178358 h 606722"/>
                  <a:gd name="connsiteX36" fmla="*/ 178663 w 607639"/>
                  <a:gd name="connsiteY36" fmla="*/ 303326 h 606722"/>
                  <a:gd name="connsiteX37" fmla="*/ 303784 w 607639"/>
                  <a:gd name="connsiteY37" fmla="*/ 428383 h 606722"/>
                  <a:gd name="connsiteX38" fmla="*/ 428994 w 607639"/>
                  <a:gd name="connsiteY38" fmla="*/ 303326 h 606722"/>
                  <a:gd name="connsiteX39" fmla="*/ 303784 w 607639"/>
                  <a:gd name="connsiteY39" fmla="*/ 178358 h 606722"/>
                  <a:gd name="connsiteX40" fmla="*/ 428968 w 607639"/>
                  <a:gd name="connsiteY40" fmla="*/ 168863 h 606722"/>
                  <a:gd name="connsiteX41" fmla="*/ 438495 w 607639"/>
                  <a:gd name="connsiteY41" fmla="*/ 178319 h 606722"/>
                  <a:gd name="connsiteX42" fmla="*/ 428968 w 607639"/>
                  <a:gd name="connsiteY42" fmla="*/ 187775 h 606722"/>
                  <a:gd name="connsiteX43" fmla="*/ 419441 w 607639"/>
                  <a:gd name="connsiteY43" fmla="*/ 178319 h 606722"/>
                  <a:gd name="connsiteX44" fmla="*/ 428968 w 607639"/>
                  <a:gd name="connsiteY44" fmla="*/ 168863 h 606722"/>
                  <a:gd name="connsiteX45" fmla="*/ 178566 w 607639"/>
                  <a:gd name="connsiteY45" fmla="*/ 168863 h 606722"/>
                  <a:gd name="connsiteX46" fmla="*/ 188057 w 607639"/>
                  <a:gd name="connsiteY46" fmla="*/ 178319 h 606722"/>
                  <a:gd name="connsiteX47" fmla="*/ 178566 w 607639"/>
                  <a:gd name="connsiteY47" fmla="*/ 187775 h 606722"/>
                  <a:gd name="connsiteX48" fmla="*/ 169075 w 607639"/>
                  <a:gd name="connsiteY48" fmla="*/ 178319 h 606722"/>
                  <a:gd name="connsiteX49" fmla="*/ 178566 w 607639"/>
                  <a:gd name="connsiteY49" fmla="*/ 168863 h 606722"/>
                  <a:gd name="connsiteX50" fmla="*/ 303784 w 607639"/>
                  <a:gd name="connsiteY50" fmla="*/ 159337 h 606722"/>
                  <a:gd name="connsiteX51" fmla="*/ 447949 w 607639"/>
                  <a:gd name="connsiteY51" fmla="*/ 303326 h 606722"/>
                  <a:gd name="connsiteX52" fmla="*/ 303784 w 607639"/>
                  <a:gd name="connsiteY52" fmla="*/ 447315 h 606722"/>
                  <a:gd name="connsiteX53" fmla="*/ 159619 w 607639"/>
                  <a:gd name="connsiteY53" fmla="*/ 303326 h 606722"/>
                  <a:gd name="connsiteX54" fmla="*/ 303784 w 607639"/>
                  <a:gd name="connsiteY54" fmla="*/ 159337 h 606722"/>
                  <a:gd name="connsiteX55" fmla="*/ 303819 w 607639"/>
                  <a:gd name="connsiteY55" fmla="*/ 117068 h 606722"/>
                  <a:gd name="connsiteX56" fmla="*/ 313310 w 607639"/>
                  <a:gd name="connsiteY56" fmla="*/ 126559 h 606722"/>
                  <a:gd name="connsiteX57" fmla="*/ 303819 w 607639"/>
                  <a:gd name="connsiteY57" fmla="*/ 136050 h 606722"/>
                  <a:gd name="connsiteX58" fmla="*/ 294328 w 607639"/>
                  <a:gd name="connsiteY58" fmla="*/ 126559 h 606722"/>
                  <a:gd name="connsiteX59" fmla="*/ 303819 w 607639"/>
                  <a:gd name="connsiteY59" fmla="*/ 117068 h 606722"/>
                  <a:gd name="connsiteX60" fmla="*/ 277340 w 607639"/>
                  <a:gd name="connsiteY60" fmla="*/ 18930 h 606722"/>
                  <a:gd name="connsiteX61" fmla="*/ 268351 w 607639"/>
                  <a:gd name="connsiteY61" fmla="*/ 27905 h 606722"/>
                  <a:gd name="connsiteX62" fmla="*/ 268351 w 607639"/>
                  <a:gd name="connsiteY62" fmla="*/ 66920 h 606722"/>
                  <a:gd name="connsiteX63" fmla="*/ 247702 w 607639"/>
                  <a:gd name="connsiteY63" fmla="*/ 93848 h 606722"/>
                  <a:gd name="connsiteX64" fmla="*/ 195189 w 607639"/>
                  <a:gd name="connsiteY64" fmla="*/ 115621 h 606722"/>
                  <a:gd name="connsiteX65" fmla="*/ 161456 w 607639"/>
                  <a:gd name="connsiteY65" fmla="*/ 111089 h 606722"/>
                  <a:gd name="connsiteX66" fmla="*/ 133864 w 607639"/>
                  <a:gd name="connsiteY66" fmla="*/ 83539 h 606722"/>
                  <a:gd name="connsiteX67" fmla="*/ 127545 w 607639"/>
                  <a:gd name="connsiteY67" fmla="*/ 80961 h 606722"/>
                  <a:gd name="connsiteX68" fmla="*/ 121136 w 607639"/>
                  <a:gd name="connsiteY68" fmla="*/ 83539 h 606722"/>
                  <a:gd name="connsiteX69" fmla="*/ 83665 w 607639"/>
                  <a:gd name="connsiteY69" fmla="*/ 120953 h 606722"/>
                  <a:gd name="connsiteX70" fmla="*/ 81084 w 607639"/>
                  <a:gd name="connsiteY70" fmla="*/ 127352 h 606722"/>
                  <a:gd name="connsiteX71" fmla="*/ 83665 w 607639"/>
                  <a:gd name="connsiteY71" fmla="*/ 133662 h 606722"/>
                  <a:gd name="connsiteX72" fmla="*/ 111257 w 607639"/>
                  <a:gd name="connsiteY72" fmla="*/ 161212 h 606722"/>
                  <a:gd name="connsiteX73" fmla="*/ 115796 w 607639"/>
                  <a:gd name="connsiteY73" fmla="*/ 194894 h 606722"/>
                  <a:gd name="connsiteX74" fmla="*/ 93990 w 607639"/>
                  <a:gd name="connsiteY74" fmla="*/ 247328 h 606722"/>
                  <a:gd name="connsiteX75" fmla="*/ 67021 w 607639"/>
                  <a:gd name="connsiteY75" fmla="*/ 267946 h 606722"/>
                  <a:gd name="connsiteX76" fmla="*/ 27948 w 607639"/>
                  <a:gd name="connsiteY76" fmla="*/ 267946 h 606722"/>
                  <a:gd name="connsiteX77" fmla="*/ 18958 w 607639"/>
                  <a:gd name="connsiteY77" fmla="*/ 276922 h 606722"/>
                  <a:gd name="connsiteX78" fmla="*/ 18958 w 607639"/>
                  <a:gd name="connsiteY78" fmla="*/ 329800 h 606722"/>
                  <a:gd name="connsiteX79" fmla="*/ 27948 w 607639"/>
                  <a:gd name="connsiteY79" fmla="*/ 338776 h 606722"/>
                  <a:gd name="connsiteX80" fmla="*/ 67021 w 607639"/>
                  <a:gd name="connsiteY80" fmla="*/ 338776 h 606722"/>
                  <a:gd name="connsiteX81" fmla="*/ 93990 w 607639"/>
                  <a:gd name="connsiteY81" fmla="*/ 359394 h 606722"/>
                  <a:gd name="connsiteX82" fmla="*/ 115796 w 607639"/>
                  <a:gd name="connsiteY82" fmla="*/ 411739 h 606722"/>
                  <a:gd name="connsiteX83" fmla="*/ 111346 w 607639"/>
                  <a:gd name="connsiteY83" fmla="*/ 445421 h 606722"/>
                  <a:gd name="connsiteX84" fmla="*/ 83665 w 607639"/>
                  <a:gd name="connsiteY84" fmla="*/ 473060 h 606722"/>
                  <a:gd name="connsiteX85" fmla="*/ 81084 w 607639"/>
                  <a:gd name="connsiteY85" fmla="*/ 479370 h 606722"/>
                  <a:gd name="connsiteX86" fmla="*/ 83665 w 607639"/>
                  <a:gd name="connsiteY86" fmla="*/ 485769 h 606722"/>
                  <a:gd name="connsiteX87" fmla="*/ 121136 w 607639"/>
                  <a:gd name="connsiteY87" fmla="*/ 523094 h 606722"/>
                  <a:gd name="connsiteX88" fmla="*/ 127545 w 607639"/>
                  <a:gd name="connsiteY88" fmla="*/ 525761 h 606722"/>
                  <a:gd name="connsiteX89" fmla="*/ 133864 w 607639"/>
                  <a:gd name="connsiteY89" fmla="*/ 523094 h 606722"/>
                  <a:gd name="connsiteX90" fmla="*/ 161456 w 607639"/>
                  <a:gd name="connsiteY90" fmla="*/ 495544 h 606722"/>
                  <a:gd name="connsiteX91" fmla="*/ 181304 w 607639"/>
                  <a:gd name="connsiteY91" fmla="*/ 487368 h 606722"/>
                  <a:gd name="connsiteX92" fmla="*/ 195189 w 607639"/>
                  <a:gd name="connsiteY92" fmla="*/ 491101 h 606722"/>
                  <a:gd name="connsiteX93" fmla="*/ 247702 w 607639"/>
                  <a:gd name="connsiteY93" fmla="*/ 512785 h 606722"/>
                  <a:gd name="connsiteX94" fmla="*/ 268351 w 607639"/>
                  <a:gd name="connsiteY94" fmla="*/ 539802 h 606722"/>
                  <a:gd name="connsiteX95" fmla="*/ 268351 w 607639"/>
                  <a:gd name="connsiteY95" fmla="*/ 578728 h 606722"/>
                  <a:gd name="connsiteX96" fmla="*/ 277340 w 607639"/>
                  <a:gd name="connsiteY96" fmla="*/ 587704 h 606722"/>
                  <a:gd name="connsiteX97" fmla="*/ 330299 w 607639"/>
                  <a:gd name="connsiteY97" fmla="*/ 587704 h 606722"/>
                  <a:gd name="connsiteX98" fmla="*/ 339288 w 607639"/>
                  <a:gd name="connsiteY98" fmla="*/ 578728 h 606722"/>
                  <a:gd name="connsiteX99" fmla="*/ 339288 w 607639"/>
                  <a:gd name="connsiteY99" fmla="*/ 539802 h 606722"/>
                  <a:gd name="connsiteX100" fmla="*/ 359937 w 607639"/>
                  <a:gd name="connsiteY100" fmla="*/ 512785 h 606722"/>
                  <a:gd name="connsiteX101" fmla="*/ 412361 w 607639"/>
                  <a:gd name="connsiteY101" fmla="*/ 491101 h 606722"/>
                  <a:gd name="connsiteX102" fmla="*/ 446094 w 607639"/>
                  <a:gd name="connsiteY102" fmla="*/ 495544 h 606722"/>
                  <a:gd name="connsiteX103" fmla="*/ 473775 w 607639"/>
                  <a:gd name="connsiteY103" fmla="*/ 523094 h 606722"/>
                  <a:gd name="connsiteX104" fmla="*/ 480094 w 607639"/>
                  <a:gd name="connsiteY104" fmla="*/ 525761 h 606722"/>
                  <a:gd name="connsiteX105" fmla="*/ 486414 w 607639"/>
                  <a:gd name="connsiteY105" fmla="*/ 523094 h 606722"/>
                  <a:gd name="connsiteX106" fmla="*/ 523885 w 607639"/>
                  <a:gd name="connsiteY106" fmla="*/ 485769 h 606722"/>
                  <a:gd name="connsiteX107" fmla="*/ 526555 w 607639"/>
                  <a:gd name="connsiteY107" fmla="*/ 479370 h 606722"/>
                  <a:gd name="connsiteX108" fmla="*/ 523885 w 607639"/>
                  <a:gd name="connsiteY108" fmla="*/ 473060 h 606722"/>
                  <a:gd name="connsiteX109" fmla="*/ 496293 w 607639"/>
                  <a:gd name="connsiteY109" fmla="*/ 445421 h 606722"/>
                  <a:gd name="connsiteX110" fmla="*/ 491843 w 607639"/>
                  <a:gd name="connsiteY110" fmla="*/ 411739 h 606722"/>
                  <a:gd name="connsiteX111" fmla="*/ 513560 w 607639"/>
                  <a:gd name="connsiteY111" fmla="*/ 359394 h 606722"/>
                  <a:gd name="connsiteX112" fmla="*/ 540618 w 607639"/>
                  <a:gd name="connsiteY112" fmla="*/ 338776 h 606722"/>
                  <a:gd name="connsiteX113" fmla="*/ 579602 w 607639"/>
                  <a:gd name="connsiteY113" fmla="*/ 338776 h 606722"/>
                  <a:gd name="connsiteX114" fmla="*/ 588592 w 607639"/>
                  <a:gd name="connsiteY114" fmla="*/ 329800 h 606722"/>
                  <a:gd name="connsiteX115" fmla="*/ 588592 w 607639"/>
                  <a:gd name="connsiteY115" fmla="*/ 276922 h 606722"/>
                  <a:gd name="connsiteX116" fmla="*/ 579602 w 607639"/>
                  <a:gd name="connsiteY116" fmla="*/ 267946 h 606722"/>
                  <a:gd name="connsiteX117" fmla="*/ 540618 w 607639"/>
                  <a:gd name="connsiteY117" fmla="*/ 267946 h 606722"/>
                  <a:gd name="connsiteX118" fmla="*/ 513560 w 607639"/>
                  <a:gd name="connsiteY118" fmla="*/ 247328 h 606722"/>
                  <a:gd name="connsiteX119" fmla="*/ 491843 w 607639"/>
                  <a:gd name="connsiteY119" fmla="*/ 194894 h 606722"/>
                  <a:gd name="connsiteX120" fmla="*/ 496293 w 607639"/>
                  <a:gd name="connsiteY120" fmla="*/ 161212 h 606722"/>
                  <a:gd name="connsiteX121" fmla="*/ 523885 w 607639"/>
                  <a:gd name="connsiteY121" fmla="*/ 133662 h 606722"/>
                  <a:gd name="connsiteX122" fmla="*/ 523885 w 607639"/>
                  <a:gd name="connsiteY122" fmla="*/ 120953 h 606722"/>
                  <a:gd name="connsiteX123" fmla="*/ 486414 w 607639"/>
                  <a:gd name="connsiteY123" fmla="*/ 83539 h 606722"/>
                  <a:gd name="connsiteX124" fmla="*/ 480094 w 607639"/>
                  <a:gd name="connsiteY124" fmla="*/ 80961 h 606722"/>
                  <a:gd name="connsiteX125" fmla="*/ 473775 w 607639"/>
                  <a:gd name="connsiteY125" fmla="*/ 83539 h 606722"/>
                  <a:gd name="connsiteX126" fmla="*/ 446094 w 607639"/>
                  <a:gd name="connsiteY126" fmla="*/ 111089 h 606722"/>
                  <a:gd name="connsiteX127" fmla="*/ 412361 w 607639"/>
                  <a:gd name="connsiteY127" fmla="*/ 115621 h 606722"/>
                  <a:gd name="connsiteX128" fmla="*/ 359937 w 607639"/>
                  <a:gd name="connsiteY128" fmla="*/ 93848 h 606722"/>
                  <a:gd name="connsiteX129" fmla="*/ 339288 w 607639"/>
                  <a:gd name="connsiteY129" fmla="*/ 66920 h 606722"/>
                  <a:gd name="connsiteX130" fmla="*/ 339288 w 607639"/>
                  <a:gd name="connsiteY130" fmla="*/ 27905 h 606722"/>
                  <a:gd name="connsiteX131" fmla="*/ 330299 w 607639"/>
                  <a:gd name="connsiteY131" fmla="*/ 18930 h 606722"/>
                  <a:gd name="connsiteX132" fmla="*/ 277340 w 607639"/>
                  <a:gd name="connsiteY132" fmla="*/ 0 h 606722"/>
                  <a:gd name="connsiteX133" fmla="*/ 330299 w 607639"/>
                  <a:gd name="connsiteY133" fmla="*/ 0 h 606722"/>
                  <a:gd name="connsiteX134" fmla="*/ 358246 w 607639"/>
                  <a:gd name="connsiteY134" fmla="*/ 27905 h 606722"/>
                  <a:gd name="connsiteX135" fmla="*/ 358246 w 607639"/>
                  <a:gd name="connsiteY135" fmla="*/ 66920 h 606722"/>
                  <a:gd name="connsiteX136" fmla="*/ 364833 w 607639"/>
                  <a:gd name="connsiteY136" fmla="*/ 75540 h 606722"/>
                  <a:gd name="connsiteX137" fmla="*/ 421885 w 607639"/>
                  <a:gd name="connsiteY137" fmla="*/ 99180 h 606722"/>
                  <a:gd name="connsiteX138" fmla="*/ 432655 w 607639"/>
                  <a:gd name="connsiteY138" fmla="*/ 97758 h 606722"/>
                  <a:gd name="connsiteX139" fmla="*/ 460335 w 607639"/>
                  <a:gd name="connsiteY139" fmla="*/ 70119 h 606722"/>
                  <a:gd name="connsiteX140" fmla="*/ 499854 w 607639"/>
                  <a:gd name="connsiteY140" fmla="*/ 70119 h 606722"/>
                  <a:gd name="connsiteX141" fmla="*/ 537325 w 607639"/>
                  <a:gd name="connsiteY141" fmla="*/ 107534 h 606722"/>
                  <a:gd name="connsiteX142" fmla="*/ 537325 w 607639"/>
                  <a:gd name="connsiteY142" fmla="*/ 147081 h 606722"/>
                  <a:gd name="connsiteX143" fmla="*/ 509733 w 607639"/>
                  <a:gd name="connsiteY143" fmla="*/ 174631 h 606722"/>
                  <a:gd name="connsiteX144" fmla="*/ 508309 w 607639"/>
                  <a:gd name="connsiteY144" fmla="*/ 185385 h 606722"/>
                  <a:gd name="connsiteX145" fmla="*/ 531984 w 607639"/>
                  <a:gd name="connsiteY145" fmla="*/ 242440 h 606722"/>
                  <a:gd name="connsiteX146" fmla="*/ 540618 w 607639"/>
                  <a:gd name="connsiteY146" fmla="*/ 248928 h 606722"/>
                  <a:gd name="connsiteX147" fmla="*/ 579602 w 607639"/>
                  <a:gd name="connsiteY147" fmla="*/ 248928 h 606722"/>
                  <a:gd name="connsiteX148" fmla="*/ 607639 w 607639"/>
                  <a:gd name="connsiteY148" fmla="*/ 276922 h 606722"/>
                  <a:gd name="connsiteX149" fmla="*/ 607639 w 607639"/>
                  <a:gd name="connsiteY149" fmla="*/ 329800 h 606722"/>
                  <a:gd name="connsiteX150" fmla="*/ 579602 w 607639"/>
                  <a:gd name="connsiteY150" fmla="*/ 357706 h 606722"/>
                  <a:gd name="connsiteX151" fmla="*/ 540618 w 607639"/>
                  <a:gd name="connsiteY151" fmla="*/ 357706 h 606722"/>
                  <a:gd name="connsiteX152" fmla="*/ 531984 w 607639"/>
                  <a:gd name="connsiteY152" fmla="*/ 364282 h 606722"/>
                  <a:gd name="connsiteX153" fmla="*/ 508309 w 607639"/>
                  <a:gd name="connsiteY153" fmla="*/ 421248 h 606722"/>
                  <a:gd name="connsiteX154" fmla="*/ 509733 w 607639"/>
                  <a:gd name="connsiteY154" fmla="*/ 432002 h 606722"/>
                  <a:gd name="connsiteX155" fmla="*/ 537325 w 607639"/>
                  <a:gd name="connsiteY155" fmla="*/ 459641 h 606722"/>
                  <a:gd name="connsiteX156" fmla="*/ 545513 w 607639"/>
                  <a:gd name="connsiteY156" fmla="*/ 479370 h 606722"/>
                  <a:gd name="connsiteX157" fmla="*/ 537325 w 607639"/>
                  <a:gd name="connsiteY157" fmla="*/ 499099 h 606722"/>
                  <a:gd name="connsiteX158" fmla="*/ 499854 w 607639"/>
                  <a:gd name="connsiteY158" fmla="*/ 536514 h 606722"/>
                  <a:gd name="connsiteX159" fmla="*/ 480094 w 607639"/>
                  <a:gd name="connsiteY159" fmla="*/ 544690 h 606722"/>
                  <a:gd name="connsiteX160" fmla="*/ 460335 w 607639"/>
                  <a:gd name="connsiteY160" fmla="*/ 536514 h 606722"/>
                  <a:gd name="connsiteX161" fmla="*/ 432655 w 607639"/>
                  <a:gd name="connsiteY161" fmla="*/ 508964 h 606722"/>
                  <a:gd name="connsiteX162" fmla="*/ 421885 w 607639"/>
                  <a:gd name="connsiteY162" fmla="*/ 507542 h 606722"/>
                  <a:gd name="connsiteX163" fmla="*/ 364833 w 607639"/>
                  <a:gd name="connsiteY163" fmla="*/ 531182 h 606722"/>
                  <a:gd name="connsiteX164" fmla="*/ 358246 w 607639"/>
                  <a:gd name="connsiteY164" fmla="*/ 539802 h 606722"/>
                  <a:gd name="connsiteX165" fmla="*/ 358246 w 607639"/>
                  <a:gd name="connsiteY165" fmla="*/ 578728 h 606722"/>
                  <a:gd name="connsiteX166" fmla="*/ 330299 w 607639"/>
                  <a:gd name="connsiteY166" fmla="*/ 606722 h 606722"/>
                  <a:gd name="connsiteX167" fmla="*/ 277340 w 607639"/>
                  <a:gd name="connsiteY167" fmla="*/ 606722 h 606722"/>
                  <a:gd name="connsiteX168" fmla="*/ 249304 w 607639"/>
                  <a:gd name="connsiteY168" fmla="*/ 578728 h 606722"/>
                  <a:gd name="connsiteX169" fmla="*/ 249304 w 607639"/>
                  <a:gd name="connsiteY169" fmla="*/ 539802 h 606722"/>
                  <a:gd name="connsiteX170" fmla="*/ 242806 w 607639"/>
                  <a:gd name="connsiteY170" fmla="*/ 531182 h 606722"/>
                  <a:gd name="connsiteX171" fmla="*/ 185665 w 607639"/>
                  <a:gd name="connsiteY171" fmla="*/ 507542 h 606722"/>
                  <a:gd name="connsiteX172" fmla="*/ 174895 w 607639"/>
                  <a:gd name="connsiteY172" fmla="*/ 508964 h 606722"/>
                  <a:gd name="connsiteX173" fmla="*/ 147304 w 607639"/>
                  <a:gd name="connsiteY173" fmla="*/ 536514 h 606722"/>
                  <a:gd name="connsiteX174" fmla="*/ 127545 w 607639"/>
                  <a:gd name="connsiteY174" fmla="*/ 544690 h 606722"/>
                  <a:gd name="connsiteX175" fmla="*/ 107696 w 607639"/>
                  <a:gd name="connsiteY175" fmla="*/ 536514 h 606722"/>
                  <a:gd name="connsiteX176" fmla="*/ 70225 w 607639"/>
                  <a:gd name="connsiteY176" fmla="*/ 499099 h 606722"/>
                  <a:gd name="connsiteX177" fmla="*/ 62037 w 607639"/>
                  <a:gd name="connsiteY177" fmla="*/ 479370 h 606722"/>
                  <a:gd name="connsiteX178" fmla="*/ 70225 w 607639"/>
                  <a:gd name="connsiteY178" fmla="*/ 459641 h 606722"/>
                  <a:gd name="connsiteX179" fmla="*/ 97906 w 607639"/>
                  <a:gd name="connsiteY179" fmla="*/ 432002 h 606722"/>
                  <a:gd name="connsiteX180" fmla="*/ 99330 w 607639"/>
                  <a:gd name="connsiteY180" fmla="*/ 421248 h 606722"/>
                  <a:gd name="connsiteX181" fmla="*/ 75654 w 607639"/>
                  <a:gd name="connsiteY181" fmla="*/ 364282 h 606722"/>
                  <a:gd name="connsiteX182" fmla="*/ 67021 w 607639"/>
                  <a:gd name="connsiteY182" fmla="*/ 357706 h 606722"/>
                  <a:gd name="connsiteX183" fmla="*/ 27948 w 607639"/>
                  <a:gd name="connsiteY183" fmla="*/ 357706 h 606722"/>
                  <a:gd name="connsiteX184" fmla="*/ 0 w 607639"/>
                  <a:gd name="connsiteY184" fmla="*/ 329800 h 606722"/>
                  <a:gd name="connsiteX185" fmla="*/ 0 w 607639"/>
                  <a:gd name="connsiteY185" fmla="*/ 276922 h 606722"/>
                  <a:gd name="connsiteX186" fmla="*/ 27948 w 607639"/>
                  <a:gd name="connsiteY186" fmla="*/ 248928 h 606722"/>
                  <a:gd name="connsiteX187" fmla="*/ 67021 w 607639"/>
                  <a:gd name="connsiteY187" fmla="*/ 248928 h 606722"/>
                  <a:gd name="connsiteX188" fmla="*/ 75654 w 607639"/>
                  <a:gd name="connsiteY188" fmla="*/ 242440 h 606722"/>
                  <a:gd name="connsiteX189" fmla="*/ 99330 w 607639"/>
                  <a:gd name="connsiteY189" fmla="*/ 185385 h 606722"/>
                  <a:gd name="connsiteX190" fmla="*/ 97906 w 607639"/>
                  <a:gd name="connsiteY190" fmla="*/ 174631 h 606722"/>
                  <a:gd name="connsiteX191" fmla="*/ 70225 w 607639"/>
                  <a:gd name="connsiteY191" fmla="*/ 147081 h 606722"/>
                  <a:gd name="connsiteX192" fmla="*/ 62037 w 607639"/>
                  <a:gd name="connsiteY192" fmla="*/ 127352 h 606722"/>
                  <a:gd name="connsiteX193" fmla="*/ 70225 w 607639"/>
                  <a:gd name="connsiteY193" fmla="*/ 107534 h 606722"/>
                  <a:gd name="connsiteX194" fmla="*/ 107696 w 607639"/>
                  <a:gd name="connsiteY194" fmla="*/ 70119 h 606722"/>
                  <a:gd name="connsiteX195" fmla="*/ 147304 w 607639"/>
                  <a:gd name="connsiteY195" fmla="*/ 70119 h 606722"/>
                  <a:gd name="connsiteX196" fmla="*/ 174895 w 607639"/>
                  <a:gd name="connsiteY196" fmla="*/ 97758 h 606722"/>
                  <a:gd name="connsiteX197" fmla="*/ 185665 w 607639"/>
                  <a:gd name="connsiteY197" fmla="*/ 99180 h 606722"/>
                  <a:gd name="connsiteX198" fmla="*/ 242806 w 607639"/>
                  <a:gd name="connsiteY198" fmla="*/ 75540 h 606722"/>
                  <a:gd name="connsiteX199" fmla="*/ 249304 w 607639"/>
                  <a:gd name="connsiteY199" fmla="*/ 66920 h 606722"/>
                  <a:gd name="connsiteX200" fmla="*/ 249304 w 607639"/>
                  <a:gd name="connsiteY200" fmla="*/ 27905 h 606722"/>
                  <a:gd name="connsiteX201" fmla="*/ 277340 w 607639"/>
                  <a:gd name="connsiteY201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</a:cxnLst>
                <a:rect l="l" t="t" r="r" b="b"/>
                <a:pathLst>
                  <a:path w="607639" h="606722">
                    <a:moveTo>
                      <a:pt x="303819" y="470672"/>
                    </a:moveTo>
                    <a:cubicBezTo>
                      <a:pt x="309061" y="470672"/>
                      <a:pt x="313310" y="474906"/>
                      <a:pt x="313310" y="480128"/>
                    </a:cubicBezTo>
                    <a:cubicBezTo>
                      <a:pt x="313310" y="485350"/>
                      <a:pt x="309061" y="489584"/>
                      <a:pt x="303819" y="489584"/>
                    </a:cubicBezTo>
                    <a:cubicBezTo>
                      <a:pt x="298577" y="489584"/>
                      <a:pt x="294328" y="485350"/>
                      <a:pt x="294328" y="480128"/>
                    </a:cubicBezTo>
                    <a:cubicBezTo>
                      <a:pt x="294328" y="474906"/>
                      <a:pt x="298577" y="470672"/>
                      <a:pt x="303819" y="470672"/>
                    </a:cubicBezTo>
                    <a:close/>
                    <a:moveTo>
                      <a:pt x="428968" y="418877"/>
                    </a:moveTo>
                    <a:cubicBezTo>
                      <a:pt x="434230" y="418877"/>
                      <a:pt x="438495" y="423126"/>
                      <a:pt x="438495" y="428368"/>
                    </a:cubicBezTo>
                    <a:cubicBezTo>
                      <a:pt x="438495" y="433610"/>
                      <a:pt x="434230" y="437859"/>
                      <a:pt x="428968" y="437859"/>
                    </a:cubicBezTo>
                    <a:cubicBezTo>
                      <a:pt x="423706" y="437859"/>
                      <a:pt x="419441" y="433610"/>
                      <a:pt x="419441" y="428368"/>
                    </a:cubicBezTo>
                    <a:cubicBezTo>
                      <a:pt x="419441" y="423126"/>
                      <a:pt x="423706" y="418877"/>
                      <a:pt x="428968" y="418877"/>
                    </a:cubicBezTo>
                    <a:close/>
                    <a:moveTo>
                      <a:pt x="178566" y="418877"/>
                    </a:moveTo>
                    <a:cubicBezTo>
                      <a:pt x="183808" y="418877"/>
                      <a:pt x="188057" y="423126"/>
                      <a:pt x="188057" y="428368"/>
                    </a:cubicBezTo>
                    <a:cubicBezTo>
                      <a:pt x="188057" y="433610"/>
                      <a:pt x="183808" y="437859"/>
                      <a:pt x="178566" y="437859"/>
                    </a:cubicBezTo>
                    <a:cubicBezTo>
                      <a:pt x="173324" y="437859"/>
                      <a:pt x="169075" y="433610"/>
                      <a:pt x="169075" y="428368"/>
                    </a:cubicBezTo>
                    <a:cubicBezTo>
                      <a:pt x="169075" y="423126"/>
                      <a:pt x="173324" y="418877"/>
                      <a:pt x="178566" y="418877"/>
                    </a:cubicBezTo>
                    <a:close/>
                    <a:moveTo>
                      <a:pt x="480833" y="293905"/>
                    </a:moveTo>
                    <a:cubicBezTo>
                      <a:pt x="486055" y="293905"/>
                      <a:pt x="490289" y="298139"/>
                      <a:pt x="490289" y="303361"/>
                    </a:cubicBezTo>
                    <a:cubicBezTo>
                      <a:pt x="490289" y="308583"/>
                      <a:pt x="486055" y="312817"/>
                      <a:pt x="480833" y="312817"/>
                    </a:cubicBezTo>
                    <a:cubicBezTo>
                      <a:pt x="475611" y="312817"/>
                      <a:pt x="471377" y="308583"/>
                      <a:pt x="471377" y="303361"/>
                    </a:cubicBezTo>
                    <a:cubicBezTo>
                      <a:pt x="471377" y="298139"/>
                      <a:pt x="475611" y="293905"/>
                      <a:pt x="480833" y="293905"/>
                    </a:cubicBezTo>
                    <a:close/>
                    <a:moveTo>
                      <a:pt x="126736" y="293905"/>
                    </a:moveTo>
                    <a:cubicBezTo>
                      <a:pt x="131998" y="293905"/>
                      <a:pt x="136263" y="298139"/>
                      <a:pt x="136263" y="303361"/>
                    </a:cubicBezTo>
                    <a:cubicBezTo>
                      <a:pt x="136263" y="308583"/>
                      <a:pt x="131998" y="312817"/>
                      <a:pt x="126736" y="312817"/>
                    </a:cubicBezTo>
                    <a:cubicBezTo>
                      <a:pt x="121474" y="312817"/>
                      <a:pt x="117209" y="308583"/>
                      <a:pt x="117209" y="303361"/>
                    </a:cubicBezTo>
                    <a:cubicBezTo>
                      <a:pt x="117209" y="298139"/>
                      <a:pt x="121474" y="293905"/>
                      <a:pt x="126736" y="293905"/>
                    </a:cubicBezTo>
                    <a:close/>
                    <a:moveTo>
                      <a:pt x="303748" y="218440"/>
                    </a:moveTo>
                    <a:cubicBezTo>
                      <a:pt x="256842" y="218440"/>
                      <a:pt x="218747" y="256483"/>
                      <a:pt x="218747" y="303325"/>
                    </a:cubicBezTo>
                    <a:cubicBezTo>
                      <a:pt x="218747" y="350168"/>
                      <a:pt x="256842" y="388300"/>
                      <a:pt x="303748" y="388300"/>
                    </a:cubicBezTo>
                    <a:cubicBezTo>
                      <a:pt x="350655" y="388300"/>
                      <a:pt x="388839" y="350168"/>
                      <a:pt x="388839" y="303325"/>
                    </a:cubicBezTo>
                    <a:cubicBezTo>
                      <a:pt x="388839" y="256483"/>
                      <a:pt x="350655" y="218440"/>
                      <a:pt x="303748" y="218440"/>
                    </a:cubicBezTo>
                    <a:close/>
                    <a:moveTo>
                      <a:pt x="303748" y="199418"/>
                    </a:moveTo>
                    <a:cubicBezTo>
                      <a:pt x="361158" y="199418"/>
                      <a:pt x="407797" y="246083"/>
                      <a:pt x="407797" y="303325"/>
                    </a:cubicBezTo>
                    <a:cubicBezTo>
                      <a:pt x="407797" y="360657"/>
                      <a:pt x="361158" y="407233"/>
                      <a:pt x="303748" y="407233"/>
                    </a:cubicBezTo>
                    <a:cubicBezTo>
                      <a:pt x="246428" y="407233"/>
                      <a:pt x="199700" y="360657"/>
                      <a:pt x="199700" y="303325"/>
                    </a:cubicBezTo>
                    <a:cubicBezTo>
                      <a:pt x="199700" y="246083"/>
                      <a:pt x="246428" y="199418"/>
                      <a:pt x="303748" y="199418"/>
                    </a:cubicBezTo>
                    <a:close/>
                    <a:moveTo>
                      <a:pt x="303784" y="178358"/>
                    </a:moveTo>
                    <a:cubicBezTo>
                      <a:pt x="234816" y="178358"/>
                      <a:pt x="178663" y="234442"/>
                      <a:pt x="178663" y="303326"/>
                    </a:cubicBezTo>
                    <a:cubicBezTo>
                      <a:pt x="178663" y="372299"/>
                      <a:pt x="234816" y="428383"/>
                      <a:pt x="303784" y="428383"/>
                    </a:cubicBezTo>
                    <a:cubicBezTo>
                      <a:pt x="372841" y="428383"/>
                      <a:pt x="428994" y="372299"/>
                      <a:pt x="428994" y="303326"/>
                    </a:cubicBezTo>
                    <a:cubicBezTo>
                      <a:pt x="428994" y="234442"/>
                      <a:pt x="372841" y="178358"/>
                      <a:pt x="303784" y="178358"/>
                    </a:cubicBezTo>
                    <a:close/>
                    <a:moveTo>
                      <a:pt x="428968" y="168863"/>
                    </a:moveTo>
                    <a:cubicBezTo>
                      <a:pt x="434230" y="168863"/>
                      <a:pt x="438495" y="173097"/>
                      <a:pt x="438495" y="178319"/>
                    </a:cubicBezTo>
                    <a:cubicBezTo>
                      <a:pt x="438495" y="183541"/>
                      <a:pt x="434230" y="187775"/>
                      <a:pt x="428968" y="187775"/>
                    </a:cubicBezTo>
                    <a:cubicBezTo>
                      <a:pt x="423706" y="187775"/>
                      <a:pt x="419441" y="183541"/>
                      <a:pt x="419441" y="178319"/>
                    </a:cubicBezTo>
                    <a:cubicBezTo>
                      <a:pt x="419441" y="173097"/>
                      <a:pt x="423706" y="168863"/>
                      <a:pt x="428968" y="168863"/>
                    </a:cubicBezTo>
                    <a:close/>
                    <a:moveTo>
                      <a:pt x="178566" y="168863"/>
                    </a:moveTo>
                    <a:cubicBezTo>
                      <a:pt x="183808" y="168863"/>
                      <a:pt x="188057" y="173097"/>
                      <a:pt x="188057" y="178319"/>
                    </a:cubicBezTo>
                    <a:cubicBezTo>
                      <a:pt x="188057" y="183541"/>
                      <a:pt x="183808" y="187775"/>
                      <a:pt x="178566" y="187775"/>
                    </a:cubicBezTo>
                    <a:cubicBezTo>
                      <a:pt x="173324" y="187775"/>
                      <a:pt x="169075" y="183541"/>
                      <a:pt x="169075" y="178319"/>
                    </a:cubicBezTo>
                    <a:cubicBezTo>
                      <a:pt x="169075" y="173097"/>
                      <a:pt x="173324" y="168863"/>
                      <a:pt x="178566" y="168863"/>
                    </a:cubicBezTo>
                    <a:close/>
                    <a:moveTo>
                      <a:pt x="303784" y="159337"/>
                    </a:moveTo>
                    <a:cubicBezTo>
                      <a:pt x="383342" y="159337"/>
                      <a:pt x="447949" y="223954"/>
                      <a:pt x="447949" y="303326"/>
                    </a:cubicBezTo>
                    <a:cubicBezTo>
                      <a:pt x="447949" y="382787"/>
                      <a:pt x="383342" y="447315"/>
                      <a:pt x="303784" y="447315"/>
                    </a:cubicBezTo>
                    <a:cubicBezTo>
                      <a:pt x="224315" y="447315"/>
                      <a:pt x="159619" y="382787"/>
                      <a:pt x="159619" y="303326"/>
                    </a:cubicBezTo>
                    <a:cubicBezTo>
                      <a:pt x="159619" y="223954"/>
                      <a:pt x="224315" y="159337"/>
                      <a:pt x="303784" y="159337"/>
                    </a:cubicBezTo>
                    <a:close/>
                    <a:moveTo>
                      <a:pt x="303819" y="117068"/>
                    </a:moveTo>
                    <a:cubicBezTo>
                      <a:pt x="309061" y="117068"/>
                      <a:pt x="313310" y="121317"/>
                      <a:pt x="313310" y="126559"/>
                    </a:cubicBezTo>
                    <a:cubicBezTo>
                      <a:pt x="313310" y="131801"/>
                      <a:pt x="309061" y="136050"/>
                      <a:pt x="303819" y="136050"/>
                    </a:cubicBezTo>
                    <a:cubicBezTo>
                      <a:pt x="298577" y="136050"/>
                      <a:pt x="294328" y="131801"/>
                      <a:pt x="294328" y="126559"/>
                    </a:cubicBezTo>
                    <a:cubicBezTo>
                      <a:pt x="294328" y="121317"/>
                      <a:pt x="298577" y="117068"/>
                      <a:pt x="303819" y="117068"/>
                    </a:cubicBezTo>
                    <a:close/>
                    <a:moveTo>
                      <a:pt x="277340" y="18930"/>
                    </a:moveTo>
                    <a:cubicBezTo>
                      <a:pt x="272356" y="18930"/>
                      <a:pt x="268351" y="23018"/>
                      <a:pt x="268351" y="27905"/>
                    </a:cubicBezTo>
                    <a:lnTo>
                      <a:pt x="268351" y="66920"/>
                    </a:lnTo>
                    <a:cubicBezTo>
                      <a:pt x="268351" y="79539"/>
                      <a:pt x="259806" y="90648"/>
                      <a:pt x="247702" y="93848"/>
                    </a:cubicBezTo>
                    <a:cubicBezTo>
                      <a:pt x="229367" y="98736"/>
                      <a:pt x="211655" y="106112"/>
                      <a:pt x="195189" y="115621"/>
                    </a:cubicBezTo>
                    <a:cubicBezTo>
                      <a:pt x="184330" y="121931"/>
                      <a:pt x="170445" y="120065"/>
                      <a:pt x="161456" y="111089"/>
                    </a:cubicBezTo>
                    <a:lnTo>
                      <a:pt x="133864" y="83539"/>
                    </a:lnTo>
                    <a:cubicBezTo>
                      <a:pt x="132173" y="81850"/>
                      <a:pt x="129948" y="80961"/>
                      <a:pt x="127545" y="80961"/>
                    </a:cubicBezTo>
                    <a:cubicBezTo>
                      <a:pt x="125141" y="80961"/>
                      <a:pt x="122827" y="81850"/>
                      <a:pt x="121136" y="83539"/>
                    </a:cubicBezTo>
                    <a:lnTo>
                      <a:pt x="83665" y="120953"/>
                    </a:lnTo>
                    <a:cubicBezTo>
                      <a:pt x="81974" y="122642"/>
                      <a:pt x="81084" y="124953"/>
                      <a:pt x="81084" y="127352"/>
                    </a:cubicBezTo>
                    <a:cubicBezTo>
                      <a:pt x="81084" y="129752"/>
                      <a:pt x="81974" y="131973"/>
                      <a:pt x="83665" y="133662"/>
                    </a:cubicBezTo>
                    <a:lnTo>
                      <a:pt x="111257" y="161212"/>
                    </a:lnTo>
                    <a:cubicBezTo>
                      <a:pt x="120246" y="170188"/>
                      <a:pt x="122115" y="184052"/>
                      <a:pt x="115796" y="194894"/>
                    </a:cubicBezTo>
                    <a:cubicBezTo>
                      <a:pt x="106272" y="211335"/>
                      <a:pt x="98885" y="229020"/>
                      <a:pt x="93990" y="247328"/>
                    </a:cubicBezTo>
                    <a:cubicBezTo>
                      <a:pt x="90785" y="259414"/>
                      <a:pt x="79660" y="267946"/>
                      <a:pt x="67021" y="267946"/>
                    </a:cubicBezTo>
                    <a:lnTo>
                      <a:pt x="27948" y="267946"/>
                    </a:lnTo>
                    <a:cubicBezTo>
                      <a:pt x="23052" y="267946"/>
                      <a:pt x="18958" y="271945"/>
                      <a:pt x="18958" y="276922"/>
                    </a:cubicBezTo>
                    <a:lnTo>
                      <a:pt x="18958" y="329800"/>
                    </a:lnTo>
                    <a:cubicBezTo>
                      <a:pt x="18958" y="334777"/>
                      <a:pt x="23052" y="338776"/>
                      <a:pt x="27948" y="338776"/>
                    </a:cubicBezTo>
                    <a:lnTo>
                      <a:pt x="67021" y="338776"/>
                    </a:lnTo>
                    <a:cubicBezTo>
                      <a:pt x="79660" y="338776"/>
                      <a:pt x="90785" y="347219"/>
                      <a:pt x="93990" y="359394"/>
                    </a:cubicBezTo>
                    <a:cubicBezTo>
                      <a:pt x="98885" y="377702"/>
                      <a:pt x="106272" y="395298"/>
                      <a:pt x="115796" y="411739"/>
                    </a:cubicBezTo>
                    <a:cubicBezTo>
                      <a:pt x="122115" y="422670"/>
                      <a:pt x="120246" y="436534"/>
                      <a:pt x="111346" y="445421"/>
                    </a:cubicBezTo>
                    <a:lnTo>
                      <a:pt x="83665" y="473060"/>
                    </a:lnTo>
                    <a:cubicBezTo>
                      <a:pt x="81974" y="474749"/>
                      <a:pt x="81084" y="476970"/>
                      <a:pt x="81084" y="479370"/>
                    </a:cubicBezTo>
                    <a:cubicBezTo>
                      <a:pt x="81084" y="481769"/>
                      <a:pt x="81974" y="483991"/>
                      <a:pt x="83665" y="485769"/>
                    </a:cubicBezTo>
                    <a:lnTo>
                      <a:pt x="121136" y="523094"/>
                    </a:lnTo>
                    <a:cubicBezTo>
                      <a:pt x="122827" y="524872"/>
                      <a:pt x="125141" y="525761"/>
                      <a:pt x="127545" y="525761"/>
                    </a:cubicBezTo>
                    <a:cubicBezTo>
                      <a:pt x="129948" y="525761"/>
                      <a:pt x="132173" y="524872"/>
                      <a:pt x="133864" y="523094"/>
                    </a:cubicBezTo>
                    <a:lnTo>
                      <a:pt x="161456" y="495544"/>
                    </a:lnTo>
                    <a:cubicBezTo>
                      <a:pt x="166885" y="490212"/>
                      <a:pt x="174094" y="487368"/>
                      <a:pt x="181304" y="487368"/>
                    </a:cubicBezTo>
                    <a:cubicBezTo>
                      <a:pt x="186110" y="487368"/>
                      <a:pt x="190916" y="488613"/>
                      <a:pt x="195189" y="491101"/>
                    </a:cubicBezTo>
                    <a:cubicBezTo>
                      <a:pt x="211655" y="500610"/>
                      <a:pt x="229367" y="507897"/>
                      <a:pt x="247702" y="512785"/>
                    </a:cubicBezTo>
                    <a:cubicBezTo>
                      <a:pt x="259806" y="516074"/>
                      <a:pt x="268351" y="527183"/>
                      <a:pt x="268351" y="539802"/>
                    </a:cubicBezTo>
                    <a:lnTo>
                      <a:pt x="268351" y="578728"/>
                    </a:lnTo>
                    <a:cubicBezTo>
                      <a:pt x="268351" y="583704"/>
                      <a:pt x="272356" y="587704"/>
                      <a:pt x="277340" y="587704"/>
                    </a:cubicBezTo>
                    <a:lnTo>
                      <a:pt x="330299" y="587704"/>
                    </a:lnTo>
                    <a:cubicBezTo>
                      <a:pt x="335283" y="587704"/>
                      <a:pt x="339288" y="583704"/>
                      <a:pt x="339288" y="578728"/>
                    </a:cubicBezTo>
                    <a:lnTo>
                      <a:pt x="339288" y="539802"/>
                    </a:lnTo>
                    <a:cubicBezTo>
                      <a:pt x="339288" y="527183"/>
                      <a:pt x="347744" y="516074"/>
                      <a:pt x="359937" y="512785"/>
                    </a:cubicBezTo>
                    <a:cubicBezTo>
                      <a:pt x="378272" y="507897"/>
                      <a:pt x="395895" y="500610"/>
                      <a:pt x="412361" y="491101"/>
                    </a:cubicBezTo>
                    <a:cubicBezTo>
                      <a:pt x="423309" y="484791"/>
                      <a:pt x="437194" y="486657"/>
                      <a:pt x="446094" y="495544"/>
                    </a:cubicBezTo>
                    <a:lnTo>
                      <a:pt x="473775" y="523094"/>
                    </a:lnTo>
                    <a:cubicBezTo>
                      <a:pt x="475466" y="524872"/>
                      <a:pt x="477691" y="525761"/>
                      <a:pt x="480094" y="525761"/>
                    </a:cubicBezTo>
                    <a:cubicBezTo>
                      <a:pt x="482498" y="525761"/>
                      <a:pt x="484723" y="524872"/>
                      <a:pt x="486414" y="523094"/>
                    </a:cubicBezTo>
                    <a:lnTo>
                      <a:pt x="523885" y="485769"/>
                    </a:lnTo>
                    <a:cubicBezTo>
                      <a:pt x="525576" y="483991"/>
                      <a:pt x="526555" y="481769"/>
                      <a:pt x="526555" y="479370"/>
                    </a:cubicBezTo>
                    <a:cubicBezTo>
                      <a:pt x="526555" y="476970"/>
                      <a:pt x="525576" y="474749"/>
                      <a:pt x="523885" y="473060"/>
                    </a:cubicBezTo>
                    <a:lnTo>
                      <a:pt x="496293" y="445421"/>
                    </a:lnTo>
                    <a:cubicBezTo>
                      <a:pt x="487393" y="436534"/>
                      <a:pt x="485524" y="422670"/>
                      <a:pt x="491843" y="411739"/>
                    </a:cubicBezTo>
                    <a:cubicBezTo>
                      <a:pt x="501367" y="395298"/>
                      <a:pt x="508665" y="377702"/>
                      <a:pt x="513560" y="359394"/>
                    </a:cubicBezTo>
                    <a:cubicBezTo>
                      <a:pt x="516854" y="347219"/>
                      <a:pt x="527979" y="338776"/>
                      <a:pt x="540618" y="338776"/>
                    </a:cubicBezTo>
                    <a:lnTo>
                      <a:pt x="579602" y="338776"/>
                    </a:lnTo>
                    <a:cubicBezTo>
                      <a:pt x="584587" y="338776"/>
                      <a:pt x="588592" y="334777"/>
                      <a:pt x="588592" y="329800"/>
                    </a:cubicBezTo>
                    <a:lnTo>
                      <a:pt x="588592" y="276922"/>
                    </a:lnTo>
                    <a:cubicBezTo>
                      <a:pt x="588592" y="271945"/>
                      <a:pt x="584587" y="267946"/>
                      <a:pt x="579602" y="267946"/>
                    </a:cubicBezTo>
                    <a:lnTo>
                      <a:pt x="540618" y="267946"/>
                    </a:lnTo>
                    <a:cubicBezTo>
                      <a:pt x="527890" y="267946"/>
                      <a:pt x="516854" y="259414"/>
                      <a:pt x="513560" y="247328"/>
                    </a:cubicBezTo>
                    <a:cubicBezTo>
                      <a:pt x="508665" y="229020"/>
                      <a:pt x="501367" y="211335"/>
                      <a:pt x="491843" y="194894"/>
                    </a:cubicBezTo>
                    <a:cubicBezTo>
                      <a:pt x="485524" y="184052"/>
                      <a:pt x="487393" y="170188"/>
                      <a:pt x="496293" y="161212"/>
                    </a:cubicBezTo>
                    <a:lnTo>
                      <a:pt x="523885" y="133662"/>
                    </a:lnTo>
                    <a:cubicBezTo>
                      <a:pt x="527445" y="130196"/>
                      <a:pt x="527445" y="124508"/>
                      <a:pt x="523885" y="120953"/>
                    </a:cubicBezTo>
                    <a:lnTo>
                      <a:pt x="486414" y="83539"/>
                    </a:lnTo>
                    <a:cubicBezTo>
                      <a:pt x="484723" y="81850"/>
                      <a:pt x="482498" y="80961"/>
                      <a:pt x="480094" y="80961"/>
                    </a:cubicBezTo>
                    <a:cubicBezTo>
                      <a:pt x="477691" y="80961"/>
                      <a:pt x="475466" y="81850"/>
                      <a:pt x="473775" y="83539"/>
                    </a:cubicBezTo>
                    <a:lnTo>
                      <a:pt x="446094" y="111089"/>
                    </a:lnTo>
                    <a:cubicBezTo>
                      <a:pt x="437194" y="120065"/>
                      <a:pt x="423309" y="121931"/>
                      <a:pt x="412361" y="115621"/>
                    </a:cubicBezTo>
                    <a:cubicBezTo>
                      <a:pt x="395895" y="106112"/>
                      <a:pt x="378272" y="98736"/>
                      <a:pt x="359937" y="93848"/>
                    </a:cubicBezTo>
                    <a:cubicBezTo>
                      <a:pt x="347744" y="90648"/>
                      <a:pt x="339288" y="79539"/>
                      <a:pt x="339288" y="66920"/>
                    </a:cubicBezTo>
                    <a:lnTo>
                      <a:pt x="339288" y="27905"/>
                    </a:lnTo>
                    <a:cubicBezTo>
                      <a:pt x="339288" y="23018"/>
                      <a:pt x="335283" y="18930"/>
                      <a:pt x="330299" y="18930"/>
                    </a:cubicBezTo>
                    <a:close/>
                    <a:moveTo>
                      <a:pt x="277340" y="0"/>
                    </a:moveTo>
                    <a:lnTo>
                      <a:pt x="330299" y="0"/>
                    </a:lnTo>
                    <a:cubicBezTo>
                      <a:pt x="345696" y="0"/>
                      <a:pt x="358246" y="12531"/>
                      <a:pt x="358246" y="27905"/>
                    </a:cubicBezTo>
                    <a:lnTo>
                      <a:pt x="358246" y="66920"/>
                    </a:lnTo>
                    <a:cubicBezTo>
                      <a:pt x="358246" y="71008"/>
                      <a:pt x="361005" y="74563"/>
                      <a:pt x="364833" y="75540"/>
                    </a:cubicBezTo>
                    <a:cubicBezTo>
                      <a:pt x="384770" y="80873"/>
                      <a:pt x="403995" y="88782"/>
                      <a:pt x="421885" y="99180"/>
                    </a:cubicBezTo>
                    <a:cubicBezTo>
                      <a:pt x="425356" y="101224"/>
                      <a:pt x="429806" y="100602"/>
                      <a:pt x="432655" y="97758"/>
                    </a:cubicBezTo>
                    <a:lnTo>
                      <a:pt x="460335" y="70119"/>
                    </a:lnTo>
                    <a:cubicBezTo>
                      <a:pt x="471194" y="59277"/>
                      <a:pt x="488995" y="59277"/>
                      <a:pt x="499854" y="70119"/>
                    </a:cubicBezTo>
                    <a:lnTo>
                      <a:pt x="537325" y="107534"/>
                    </a:lnTo>
                    <a:cubicBezTo>
                      <a:pt x="548272" y="118465"/>
                      <a:pt x="548272" y="136150"/>
                      <a:pt x="537325" y="147081"/>
                    </a:cubicBezTo>
                    <a:lnTo>
                      <a:pt x="509733" y="174631"/>
                    </a:lnTo>
                    <a:cubicBezTo>
                      <a:pt x="506885" y="177475"/>
                      <a:pt x="506262" y="181919"/>
                      <a:pt x="508309" y="185385"/>
                    </a:cubicBezTo>
                    <a:cubicBezTo>
                      <a:pt x="518634" y="203337"/>
                      <a:pt x="526644" y="222444"/>
                      <a:pt x="531984" y="242440"/>
                    </a:cubicBezTo>
                    <a:cubicBezTo>
                      <a:pt x="532964" y="246261"/>
                      <a:pt x="536524" y="248928"/>
                      <a:pt x="540618" y="248928"/>
                    </a:cubicBezTo>
                    <a:lnTo>
                      <a:pt x="579602" y="248928"/>
                    </a:lnTo>
                    <a:cubicBezTo>
                      <a:pt x="595089" y="248928"/>
                      <a:pt x="607639" y="261458"/>
                      <a:pt x="607639" y="276922"/>
                    </a:cubicBezTo>
                    <a:lnTo>
                      <a:pt x="607639" y="329800"/>
                    </a:lnTo>
                    <a:cubicBezTo>
                      <a:pt x="607639" y="345175"/>
                      <a:pt x="595089" y="357706"/>
                      <a:pt x="579602" y="357706"/>
                    </a:cubicBezTo>
                    <a:lnTo>
                      <a:pt x="540618" y="357706"/>
                    </a:lnTo>
                    <a:cubicBezTo>
                      <a:pt x="536524" y="357706"/>
                      <a:pt x="532964" y="360461"/>
                      <a:pt x="531984" y="364282"/>
                    </a:cubicBezTo>
                    <a:cubicBezTo>
                      <a:pt x="526644" y="384189"/>
                      <a:pt x="518634" y="403385"/>
                      <a:pt x="508309" y="421248"/>
                    </a:cubicBezTo>
                    <a:cubicBezTo>
                      <a:pt x="506262" y="424714"/>
                      <a:pt x="506885" y="429158"/>
                      <a:pt x="509733" y="432002"/>
                    </a:cubicBezTo>
                    <a:lnTo>
                      <a:pt x="537325" y="459641"/>
                    </a:lnTo>
                    <a:cubicBezTo>
                      <a:pt x="542665" y="464884"/>
                      <a:pt x="545513" y="471905"/>
                      <a:pt x="545513" y="479370"/>
                    </a:cubicBezTo>
                    <a:cubicBezTo>
                      <a:pt x="545513" y="486835"/>
                      <a:pt x="542665" y="493856"/>
                      <a:pt x="537325" y="499099"/>
                    </a:cubicBezTo>
                    <a:lnTo>
                      <a:pt x="499854" y="536514"/>
                    </a:lnTo>
                    <a:cubicBezTo>
                      <a:pt x="494602" y="541846"/>
                      <a:pt x="487571" y="544690"/>
                      <a:pt x="480094" y="544690"/>
                    </a:cubicBezTo>
                    <a:cubicBezTo>
                      <a:pt x="472618" y="544690"/>
                      <a:pt x="465587" y="541846"/>
                      <a:pt x="460335" y="536514"/>
                    </a:cubicBezTo>
                    <a:lnTo>
                      <a:pt x="432655" y="508964"/>
                    </a:lnTo>
                    <a:cubicBezTo>
                      <a:pt x="429806" y="506120"/>
                      <a:pt x="425356" y="505498"/>
                      <a:pt x="421885" y="507542"/>
                    </a:cubicBezTo>
                    <a:cubicBezTo>
                      <a:pt x="403995" y="517851"/>
                      <a:pt x="384770" y="525849"/>
                      <a:pt x="364833" y="531182"/>
                    </a:cubicBezTo>
                    <a:cubicBezTo>
                      <a:pt x="361005" y="532159"/>
                      <a:pt x="358246" y="535714"/>
                      <a:pt x="358246" y="539802"/>
                    </a:cubicBezTo>
                    <a:lnTo>
                      <a:pt x="358246" y="578728"/>
                    </a:lnTo>
                    <a:cubicBezTo>
                      <a:pt x="358246" y="594191"/>
                      <a:pt x="345696" y="606722"/>
                      <a:pt x="330299" y="606722"/>
                    </a:cubicBezTo>
                    <a:lnTo>
                      <a:pt x="277340" y="606722"/>
                    </a:lnTo>
                    <a:cubicBezTo>
                      <a:pt x="261854" y="606722"/>
                      <a:pt x="249304" y="594191"/>
                      <a:pt x="249304" y="578728"/>
                    </a:cubicBezTo>
                    <a:lnTo>
                      <a:pt x="249304" y="539802"/>
                    </a:lnTo>
                    <a:cubicBezTo>
                      <a:pt x="249304" y="535714"/>
                      <a:pt x="246634" y="532159"/>
                      <a:pt x="242806" y="531182"/>
                    </a:cubicBezTo>
                    <a:cubicBezTo>
                      <a:pt x="222780" y="525849"/>
                      <a:pt x="203644" y="517851"/>
                      <a:pt x="185665" y="507542"/>
                    </a:cubicBezTo>
                    <a:cubicBezTo>
                      <a:pt x="182194" y="505498"/>
                      <a:pt x="177744" y="506120"/>
                      <a:pt x="174895" y="508964"/>
                    </a:cubicBezTo>
                    <a:lnTo>
                      <a:pt x="147304" y="536514"/>
                    </a:lnTo>
                    <a:cubicBezTo>
                      <a:pt x="142052" y="541846"/>
                      <a:pt x="135021" y="544690"/>
                      <a:pt x="127545" y="544690"/>
                    </a:cubicBezTo>
                    <a:cubicBezTo>
                      <a:pt x="120068" y="544690"/>
                      <a:pt x="113037" y="541846"/>
                      <a:pt x="107696" y="536514"/>
                    </a:cubicBezTo>
                    <a:lnTo>
                      <a:pt x="70225" y="499099"/>
                    </a:lnTo>
                    <a:cubicBezTo>
                      <a:pt x="64974" y="493856"/>
                      <a:pt x="62037" y="486835"/>
                      <a:pt x="62037" y="479370"/>
                    </a:cubicBezTo>
                    <a:cubicBezTo>
                      <a:pt x="62037" y="471905"/>
                      <a:pt x="64974" y="464884"/>
                      <a:pt x="70225" y="459641"/>
                    </a:cubicBezTo>
                    <a:lnTo>
                      <a:pt x="97906" y="432002"/>
                    </a:lnTo>
                    <a:cubicBezTo>
                      <a:pt x="100754" y="429158"/>
                      <a:pt x="101377" y="424714"/>
                      <a:pt x="99330" y="421248"/>
                    </a:cubicBezTo>
                    <a:cubicBezTo>
                      <a:pt x="88916" y="403385"/>
                      <a:pt x="80995" y="384189"/>
                      <a:pt x="75654" y="364282"/>
                    </a:cubicBezTo>
                    <a:cubicBezTo>
                      <a:pt x="74675" y="360461"/>
                      <a:pt x="71115" y="357706"/>
                      <a:pt x="67021" y="357706"/>
                    </a:cubicBezTo>
                    <a:lnTo>
                      <a:pt x="27948" y="357706"/>
                    </a:lnTo>
                    <a:cubicBezTo>
                      <a:pt x="12550" y="357706"/>
                      <a:pt x="0" y="345175"/>
                      <a:pt x="0" y="329800"/>
                    </a:cubicBezTo>
                    <a:lnTo>
                      <a:pt x="0" y="276922"/>
                    </a:lnTo>
                    <a:cubicBezTo>
                      <a:pt x="0" y="261458"/>
                      <a:pt x="12550" y="248928"/>
                      <a:pt x="27948" y="248928"/>
                    </a:cubicBezTo>
                    <a:lnTo>
                      <a:pt x="67021" y="248928"/>
                    </a:lnTo>
                    <a:cubicBezTo>
                      <a:pt x="71115" y="248928"/>
                      <a:pt x="74675" y="246261"/>
                      <a:pt x="75654" y="242440"/>
                    </a:cubicBezTo>
                    <a:cubicBezTo>
                      <a:pt x="80995" y="222444"/>
                      <a:pt x="88916" y="203337"/>
                      <a:pt x="99330" y="185385"/>
                    </a:cubicBezTo>
                    <a:cubicBezTo>
                      <a:pt x="101377" y="181919"/>
                      <a:pt x="100754" y="177475"/>
                      <a:pt x="97906" y="174631"/>
                    </a:cubicBezTo>
                    <a:lnTo>
                      <a:pt x="70225" y="147081"/>
                    </a:lnTo>
                    <a:cubicBezTo>
                      <a:pt x="64974" y="141838"/>
                      <a:pt x="62037" y="134817"/>
                      <a:pt x="62037" y="127352"/>
                    </a:cubicBezTo>
                    <a:cubicBezTo>
                      <a:pt x="62037" y="119887"/>
                      <a:pt x="64974" y="112866"/>
                      <a:pt x="70225" y="107534"/>
                    </a:cubicBezTo>
                    <a:lnTo>
                      <a:pt x="107696" y="70119"/>
                    </a:lnTo>
                    <a:cubicBezTo>
                      <a:pt x="118644" y="59277"/>
                      <a:pt x="136356" y="59277"/>
                      <a:pt x="147304" y="70119"/>
                    </a:cubicBezTo>
                    <a:lnTo>
                      <a:pt x="174895" y="97758"/>
                    </a:lnTo>
                    <a:cubicBezTo>
                      <a:pt x="177744" y="100602"/>
                      <a:pt x="182194" y="101224"/>
                      <a:pt x="185665" y="99180"/>
                    </a:cubicBezTo>
                    <a:cubicBezTo>
                      <a:pt x="203644" y="88782"/>
                      <a:pt x="222780" y="80873"/>
                      <a:pt x="242806" y="75540"/>
                    </a:cubicBezTo>
                    <a:cubicBezTo>
                      <a:pt x="246634" y="74563"/>
                      <a:pt x="249304" y="71008"/>
                      <a:pt x="249304" y="66920"/>
                    </a:cubicBezTo>
                    <a:lnTo>
                      <a:pt x="249304" y="27905"/>
                    </a:lnTo>
                    <a:cubicBezTo>
                      <a:pt x="249304" y="12531"/>
                      <a:pt x="261854" y="0"/>
                      <a:pt x="27734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文本框 30"/>
              <p:cNvSpPr txBox="1"/>
              <p:nvPr/>
            </p:nvSpPr>
            <p:spPr>
              <a:xfrm>
                <a:off x="3954943" y="3949526"/>
                <a:ext cx="2769708" cy="6756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一款手机</a:t>
                </a:r>
                <a:br>
                  <a:rPr lang="en-US" altLang="zh-CN" dirty="0">
                    <a:solidFill>
                      <a:schemeClr val="tx1"/>
                    </a:solidFill>
                    <a:latin typeface="+mn-ea"/>
                    <a:ea typeface="+mn-ea"/>
                  </a:rPr>
                </a:br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有大概</a:t>
                </a:r>
                <a:r>
                  <a:rPr lang="en-US" altLang="zh-CN" sz="2000" dirty="0">
                    <a:solidFill>
                      <a:schemeClr val="accent1"/>
                    </a:solidFill>
                  </a:rPr>
                  <a:t>200</a:t>
                </a:r>
                <a:r>
                  <a:rPr lang="zh-CN" altLang="en-US" dirty="0">
                    <a:solidFill>
                      <a:schemeClr val="accent1"/>
                    </a:solidFill>
                    <a:latin typeface="+mn-ea"/>
                    <a:ea typeface="+mn-ea"/>
                  </a:rPr>
                  <a:t>种</a:t>
                </a:r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零部件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6836973" y="3422969"/>
              <a:ext cx="1449778" cy="985663"/>
              <a:chOff x="6836973" y="3639503"/>
              <a:chExt cx="1449778" cy="985663"/>
            </a:xfrm>
          </p:grpSpPr>
          <p:sp>
            <p:nvSpPr>
              <p:cNvPr id="28" name="iconfont-11119-5252508"/>
              <p:cNvSpPr/>
              <p:nvPr/>
            </p:nvSpPr>
            <p:spPr>
              <a:xfrm>
                <a:off x="7404402" y="3639503"/>
                <a:ext cx="314920" cy="280784"/>
              </a:xfrm>
              <a:custGeom>
                <a:avLst/>
                <a:gdLst>
                  <a:gd name="connsiteX0" fmla="*/ 333482 w 609487"/>
                  <a:gd name="connsiteY0" fmla="*/ 277641 h 543419"/>
                  <a:gd name="connsiteX1" fmla="*/ 363955 w 609487"/>
                  <a:gd name="connsiteY1" fmla="*/ 277641 h 543419"/>
                  <a:gd name="connsiteX2" fmla="*/ 363955 w 609487"/>
                  <a:gd name="connsiteY2" fmla="*/ 418428 h 543419"/>
                  <a:gd name="connsiteX3" fmla="*/ 333482 w 609487"/>
                  <a:gd name="connsiteY3" fmla="*/ 418428 h 543419"/>
                  <a:gd name="connsiteX4" fmla="*/ 455373 w 609487"/>
                  <a:gd name="connsiteY4" fmla="*/ 262167 h 543419"/>
                  <a:gd name="connsiteX5" fmla="*/ 485846 w 609487"/>
                  <a:gd name="connsiteY5" fmla="*/ 262167 h 543419"/>
                  <a:gd name="connsiteX6" fmla="*/ 485846 w 609487"/>
                  <a:gd name="connsiteY6" fmla="*/ 419666 h 543419"/>
                  <a:gd name="connsiteX7" fmla="*/ 455373 w 609487"/>
                  <a:gd name="connsiteY7" fmla="*/ 419666 h 543419"/>
                  <a:gd name="connsiteX8" fmla="*/ 153692 w 609487"/>
                  <a:gd name="connsiteY8" fmla="*/ 227458 h 543419"/>
                  <a:gd name="connsiteX9" fmla="*/ 80557 w 609487"/>
                  <a:gd name="connsiteY9" fmla="*/ 317063 h 543419"/>
                  <a:gd name="connsiteX10" fmla="*/ 171976 w 609487"/>
                  <a:gd name="connsiteY10" fmla="*/ 408477 h 543419"/>
                  <a:gd name="connsiteX11" fmla="*/ 261538 w 609487"/>
                  <a:gd name="connsiteY11" fmla="*/ 335346 h 543419"/>
                  <a:gd name="connsiteX12" fmla="*/ 153692 w 609487"/>
                  <a:gd name="connsiteY12" fmla="*/ 335346 h 543419"/>
                  <a:gd name="connsiteX13" fmla="*/ 516319 w 609487"/>
                  <a:gd name="connsiteY13" fmla="*/ 227363 h 543419"/>
                  <a:gd name="connsiteX14" fmla="*/ 546792 w 609487"/>
                  <a:gd name="connsiteY14" fmla="*/ 227363 h 543419"/>
                  <a:gd name="connsiteX15" fmla="*/ 546792 w 609487"/>
                  <a:gd name="connsiteY15" fmla="*/ 419666 h 543419"/>
                  <a:gd name="connsiteX16" fmla="*/ 516319 w 609487"/>
                  <a:gd name="connsiteY16" fmla="*/ 419666 h 543419"/>
                  <a:gd name="connsiteX17" fmla="*/ 394428 w 609487"/>
                  <a:gd name="connsiteY17" fmla="*/ 227363 h 543419"/>
                  <a:gd name="connsiteX18" fmla="*/ 424901 w 609487"/>
                  <a:gd name="connsiteY18" fmla="*/ 227363 h 543419"/>
                  <a:gd name="connsiteX19" fmla="*/ 424901 w 609487"/>
                  <a:gd name="connsiteY19" fmla="*/ 419666 h 543419"/>
                  <a:gd name="connsiteX20" fmla="*/ 394428 w 609487"/>
                  <a:gd name="connsiteY20" fmla="*/ 419666 h 543419"/>
                  <a:gd name="connsiteX21" fmla="*/ 171976 w 609487"/>
                  <a:gd name="connsiteY21" fmla="*/ 207366 h 543419"/>
                  <a:gd name="connsiteX22" fmla="*/ 171976 w 609487"/>
                  <a:gd name="connsiteY22" fmla="*/ 317063 h 543419"/>
                  <a:gd name="connsiteX23" fmla="*/ 281631 w 609487"/>
                  <a:gd name="connsiteY23" fmla="*/ 317063 h 543419"/>
                  <a:gd name="connsiteX24" fmla="*/ 171976 w 609487"/>
                  <a:gd name="connsiteY24" fmla="*/ 426760 h 543419"/>
                  <a:gd name="connsiteX25" fmla="*/ 62274 w 609487"/>
                  <a:gd name="connsiteY25" fmla="*/ 317063 h 543419"/>
                  <a:gd name="connsiteX26" fmla="*/ 171976 w 609487"/>
                  <a:gd name="connsiteY26" fmla="*/ 207366 h 543419"/>
                  <a:gd name="connsiteX27" fmla="*/ 365669 w 609487"/>
                  <a:gd name="connsiteY27" fmla="*/ 162992 h 543419"/>
                  <a:gd name="connsiteX28" fmla="*/ 508701 w 609487"/>
                  <a:gd name="connsiteY28" fmla="*/ 162992 h 543419"/>
                  <a:gd name="connsiteX29" fmla="*/ 508701 w 609487"/>
                  <a:gd name="connsiteY29" fmla="*/ 187369 h 543419"/>
                  <a:gd name="connsiteX30" fmla="*/ 365669 w 609487"/>
                  <a:gd name="connsiteY30" fmla="*/ 187369 h 543419"/>
                  <a:gd name="connsiteX31" fmla="*/ 60560 w 609487"/>
                  <a:gd name="connsiteY31" fmla="*/ 162992 h 543419"/>
                  <a:gd name="connsiteX32" fmla="*/ 340053 w 609487"/>
                  <a:gd name="connsiteY32" fmla="*/ 162992 h 543419"/>
                  <a:gd name="connsiteX33" fmla="*/ 340053 w 609487"/>
                  <a:gd name="connsiteY33" fmla="*/ 187369 h 543419"/>
                  <a:gd name="connsiteX34" fmla="*/ 60560 w 609487"/>
                  <a:gd name="connsiteY34" fmla="*/ 187369 h 543419"/>
                  <a:gd name="connsiteX35" fmla="*/ 60560 w 609487"/>
                  <a:gd name="connsiteY35" fmla="*/ 110191 h 543419"/>
                  <a:gd name="connsiteX36" fmla="*/ 409664 w 609487"/>
                  <a:gd name="connsiteY36" fmla="*/ 110191 h 543419"/>
                  <a:gd name="connsiteX37" fmla="*/ 409664 w 609487"/>
                  <a:gd name="connsiteY37" fmla="*/ 134568 h 543419"/>
                  <a:gd name="connsiteX38" fmla="*/ 60560 w 609487"/>
                  <a:gd name="connsiteY38" fmla="*/ 134568 h 543419"/>
                  <a:gd name="connsiteX39" fmla="*/ 199830 w 609487"/>
                  <a:gd name="connsiteY39" fmla="*/ 57437 h 543419"/>
                  <a:gd name="connsiteX40" fmla="*/ 236350 w 609487"/>
                  <a:gd name="connsiteY40" fmla="*/ 57437 h 543419"/>
                  <a:gd name="connsiteX41" fmla="*/ 236350 w 609487"/>
                  <a:gd name="connsiteY41" fmla="*/ 81862 h 543419"/>
                  <a:gd name="connsiteX42" fmla="*/ 199830 w 609487"/>
                  <a:gd name="connsiteY42" fmla="*/ 81862 h 543419"/>
                  <a:gd name="connsiteX43" fmla="*/ 130171 w 609487"/>
                  <a:gd name="connsiteY43" fmla="*/ 57437 h 543419"/>
                  <a:gd name="connsiteX44" fmla="*/ 166738 w 609487"/>
                  <a:gd name="connsiteY44" fmla="*/ 57437 h 543419"/>
                  <a:gd name="connsiteX45" fmla="*/ 166738 w 609487"/>
                  <a:gd name="connsiteY45" fmla="*/ 81862 h 543419"/>
                  <a:gd name="connsiteX46" fmla="*/ 130171 w 609487"/>
                  <a:gd name="connsiteY46" fmla="*/ 81862 h 543419"/>
                  <a:gd name="connsiteX47" fmla="*/ 60560 w 609487"/>
                  <a:gd name="connsiteY47" fmla="*/ 57437 h 543419"/>
                  <a:gd name="connsiteX48" fmla="*/ 97079 w 609487"/>
                  <a:gd name="connsiteY48" fmla="*/ 57437 h 543419"/>
                  <a:gd name="connsiteX49" fmla="*/ 97079 w 609487"/>
                  <a:gd name="connsiteY49" fmla="*/ 81862 h 543419"/>
                  <a:gd name="connsiteX50" fmla="*/ 60512 w 609487"/>
                  <a:gd name="connsiteY50" fmla="*/ 81862 h 543419"/>
                  <a:gd name="connsiteX51" fmla="*/ 34427 w 609487"/>
                  <a:gd name="connsiteY51" fmla="*/ 24385 h 543419"/>
                  <a:gd name="connsiteX52" fmla="*/ 24379 w 609487"/>
                  <a:gd name="connsiteY52" fmla="*/ 34434 h 543419"/>
                  <a:gd name="connsiteX53" fmla="*/ 24379 w 609487"/>
                  <a:gd name="connsiteY53" fmla="*/ 436688 h 543419"/>
                  <a:gd name="connsiteX54" fmla="*/ 34427 w 609487"/>
                  <a:gd name="connsiteY54" fmla="*/ 446737 h 543419"/>
                  <a:gd name="connsiteX55" fmla="*/ 575061 w 609487"/>
                  <a:gd name="connsiteY55" fmla="*/ 446737 h 543419"/>
                  <a:gd name="connsiteX56" fmla="*/ 585108 w 609487"/>
                  <a:gd name="connsiteY56" fmla="*/ 436688 h 543419"/>
                  <a:gd name="connsiteX57" fmla="*/ 585155 w 609487"/>
                  <a:gd name="connsiteY57" fmla="*/ 436688 h 543419"/>
                  <a:gd name="connsiteX58" fmla="*/ 585155 w 609487"/>
                  <a:gd name="connsiteY58" fmla="*/ 34434 h 543419"/>
                  <a:gd name="connsiteX59" fmla="*/ 575108 w 609487"/>
                  <a:gd name="connsiteY59" fmla="*/ 24385 h 543419"/>
                  <a:gd name="connsiteX60" fmla="*/ 34427 w 609487"/>
                  <a:gd name="connsiteY60" fmla="*/ 0 h 543419"/>
                  <a:gd name="connsiteX61" fmla="*/ 575108 w 609487"/>
                  <a:gd name="connsiteY61" fmla="*/ 0 h 543419"/>
                  <a:gd name="connsiteX62" fmla="*/ 609487 w 609487"/>
                  <a:gd name="connsiteY62" fmla="*/ 34434 h 543419"/>
                  <a:gd name="connsiteX63" fmla="*/ 609487 w 609487"/>
                  <a:gd name="connsiteY63" fmla="*/ 436688 h 543419"/>
                  <a:gd name="connsiteX64" fmla="*/ 575108 w 609487"/>
                  <a:gd name="connsiteY64" fmla="*/ 471122 h 543419"/>
                  <a:gd name="connsiteX65" fmla="*/ 323028 w 609487"/>
                  <a:gd name="connsiteY65" fmla="*/ 471122 h 543419"/>
                  <a:gd name="connsiteX66" fmla="*/ 323028 w 609487"/>
                  <a:gd name="connsiteY66" fmla="*/ 512938 h 543419"/>
                  <a:gd name="connsiteX67" fmla="*/ 508065 w 609487"/>
                  <a:gd name="connsiteY67" fmla="*/ 512938 h 543419"/>
                  <a:gd name="connsiteX68" fmla="*/ 523302 w 609487"/>
                  <a:gd name="connsiteY68" fmla="*/ 528179 h 543419"/>
                  <a:gd name="connsiteX69" fmla="*/ 508065 w 609487"/>
                  <a:gd name="connsiteY69" fmla="*/ 543419 h 543419"/>
                  <a:gd name="connsiteX70" fmla="*/ 101422 w 609487"/>
                  <a:gd name="connsiteY70" fmla="*/ 543419 h 543419"/>
                  <a:gd name="connsiteX71" fmla="*/ 86185 w 609487"/>
                  <a:gd name="connsiteY71" fmla="*/ 528179 h 543419"/>
                  <a:gd name="connsiteX72" fmla="*/ 101422 w 609487"/>
                  <a:gd name="connsiteY72" fmla="*/ 512938 h 543419"/>
                  <a:gd name="connsiteX73" fmla="*/ 286507 w 609487"/>
                  <a:gd name="connsiteY73" fmla="*/ 512938 h 543419"/>
                  <a:gd name="connsiteX74" fmla="*/ 286507 w 609487"/>
                  <a:gd name="connsiteY74" fmla="*/ 471122 h 543419"/>
                  <a:gd name="connsiteX75" fmla="*/ 34427 w 609487"/>
                  <a:gd name="connsiteY75" fmla="*/ 471122 h 543419"/>
                  <a:gd name="connsiteX76" fmla="*/ 0 w 609487"/>
                  <a:gd name="connsiteY76" fmla="*/ 436688 h 543419"/>
                  <a:gd name="connsiteX77" fmla="*/ 0 w 609487"/>
                  <a:gd name="connsiteY77" fmla="*/ 34434 h 543419"/>
                  <a:gd name="connsiteX78" fmla="*/ 34427 w 609487"/>
                  <a:gd name="connsiteY78" fmla="*/ 0 h 543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609487" h="543419">
                    <a:moveTo>
                      <a:pt x="333482" y="277641"/>
                    </a:moveTo>
                    <a:lnTo>
                      <a:pt x="363955" y="277641"/>
                    </a:lnTo>
                    <a:lnTo>
                      <a:pt x="363955" y="418428"/>
                    </a:lnTo>
                    <a:lnTo>
                      <a:pt x="333482" y="418428"/>
                    </a:lnTo>
                    <a:close/>
                    <a:moveTo>
                      <a:pt x="455373" y="262167"/>
                    </a:moveTo>
                    <a:lnTo>
                      <a:pt x="485846" y="262167"/>
                    </a:lnTo>
                    <a:lnTo>
                      <a:pt x="485846" y="419666"/>
                    </a:lnTo>
                    <a:lnTo>
                      <a:pt x="455373" y="419666"/>
                    </a:lnTo>
                    <a:close/>
                    <a:moveTo>
                      <a:pt x="153692" y="227458"/>
                    </a:moveTo>
                    <a:cubicBezTo>
                      <a:pt x="112030" y="235933"/>
                      <a:pt x="80557" y="272879"/>
                      <a:pt x="80557" y="317063"/>
                    </a:cubicBezTo>
                    <a:cubicBezTo>
                      <a:pt x="80557" y="367484"/>
                      <a:pt x="121553" y="408477"/>
                      <a:pt x="171976" y="408477"/>
                    </a:cubicBezTo>
                    <a:cubicBezTo>
                      <a:pt x="216114" y="408477"/>
                      <a:pt x="253062" y="377006"/>
                      <a:pt x="261538" y="335346"/>
                    </a:cubicBezTo>
                    <a:lnTo>
                      <a:pt x="153692" y="335346"/>
                    </a:lnTo>
                    <a:close/>
                    <a:moveTo>
                      <a:pt x="516319" y="227363"/>
                    </a:moveTo>
                    <a:lnTo>
                      <a:pt x="546792" y="227363"/>
                    </a:lnTo>
                    <a:lnTo>
                      <a:pt x="546792" y="419666"/>
                    </a:lnTo>
                    <a:lnTo>
                      <a:pt x="516319" y="419666"/>
                    </a:lnTo>
                    <a:close/>
                    <a:moveTo>
                      <a:pt x="394428" y="227363"/>
                    </a:moveTo>
                    <a:lnTo>
                      <a:pt x="424901" y="227363"/>
                    </a:lnTo>
                    <a:lnTo>
                      <a:pt x="424901" y="419666"/>
                    </a:lnTo>
                    <a:lnTo>
                      <a:pt x="394428" y="419666"/>
                    </a:lnTo>
                    <a:close/>
                    <a:moveTo>
                      <a:pt x="171976" y="207366"/>
                    </a:moveTo>
                    <a:lnTo>
                      <a:pt x="171976" y="317063"/>
                    </a:lnTo>
                    <a:lnTo>
                      <a:pt x="281631" y="317063"/>
                    </a:lnTo>
                    <a:cubicBezTo>
                      <a:pt x="281631" y="377625"/>
                      <a:pt x="232541" y="426760"/>
                      <a:pt x="171976" y="426760"/>
                    </a:cubicBezTo>
                    <a:cubicBezTo>
                      <a:pt x="111364" y="426760"/>
                      <a:pt x="62274" y="377625"/>
                      <a:pt x="62274" y="317063"/>
                    </a:cubicBezTo>
                    <a:cubicBezTo>
                      <a:pt x="62274" y="256453"/>
                      <a:pt x="111364" y="207366"/>
                      <a:pt x="171976" y="207366"/>
                    </a:cubicBezTo>
                    <a:close/>
                    <a:moveTo>
                      <a:pt x="365669" y="162992"/>
                    </a:moveTo>
                    <a:lnTo>
                      <a:pt x="508701" y="162992"/>
                    </a:lnTo>
                    <a:lnTo>
                      <a:pt x="508701" y="187369"/>
                    </a:lnTo>
                    <a:lnTo>
                      <a:pt x="365669" y="187369"/>
                    </a:lnTo>
                    <a:close/>
                    <a:moveTo>
                      <a:pt x="60560" y="162992"/>
                    </a:moveTo>
                    <a:lnTo>
                      <a:pt x="340053" y="162992"/>
                    </a:lnTo>
                    <a:lnTo>
                      <a:pt x="340053" y="187369"/>
                    </a:lnTo>
                    <a:lnTo>
                      <a:pt x="60560" y="187369"/>
                    </a:lnTo>
                    <a:close/>
                    <a:moveTo>
                      <a:pt x="60560" y="110191"/>
                    </a:moveTo>
                    <a:lnTo>
                      <a:pt x="409664" y="110191"/>
                    </a:lnTo>
                    <a:lnTo>
                      <a:pt x="409664" y="134568"/>
                    </a:lnTo>
                    <a:lnTo>
                      <a:pt x="60560" y="134568"/>
                    </a:lnTo>
                    <a:close/>
                    <a:moveTo>
                      <a:pt x="199830" y="57437"/>
                    </a:moveTo>
                    <a:lnTo>
                      <a:pt x="236350" y="57437"/>
                    </a:lnTo>
                    <a:lnTo>
                      <a:pt x="236350" y="81862"/>
                    </a:lnTo>
                    <a:lnTo>
                      <a:pt x="199830" y="81862"/>
                    </a:lnTo>
                    <a:close/>
                    <a:moveTo>
                      <a:pt x="130171" y="57437"/>
                    </a:moveTo>
                    <a:lnTo>
                      <a:pt x="166738" y="57437"/>
                    </a:lnTo>
                    <a:lnTo>
                      <a:pt x="166738" y="81862"/>
                    </a:lnTo>
                    <a:lnTo>
                      <a:pt x="130171" y="81862"/>
                    </a:lnTo>
                    <a:close/>
                    <a:moveTo>
                      <a:pt x="60560" y="57437"/>
                    </a:moveTo>
                    <a:lnTo>
                      <a:pt x="97079" y="57437"/>
                    </a:lnTo>
                    <a:lnTo>
                      <a:pt x="97079" y="81862"/>
                    </a:lnTo>
                    <a:lnTo>
                      <a:pt x="60512" y="81862"/>
                    </a:lnTo>
                    <a:close/>
                    <a:moveTo>
                      <a:pt x="34427" y="24385"/>
                    </a:moveTo>
                    <a:cubicBezTo>
                      <a:pt x="28903" y="24385"/>
                      <a:pt x="24379" y="28909"/>
                      <a:pt x="24379" y="34434"/>
                    </a:cubicBezTo>
                    <a:lnTo>
                      <a:pt x="24379" y="436688"/>
                    </a:lnTo>
                    <a:cubicBezTo>
                      <a:pt x="24379" y="442213"/>
                      <a:pt x="28855" y="446737"/>
                      <a:pt x="34427" y="446737"/>
                    </a:cubicBezTo>
                    <a:lnTo>
                      <a:pt x="575061" y="446737"/>
                    </a:lnTo>
                    <a:cubicBezTo>
                      <a:pt x="580584" y="446737"/>
                      <a:pt x="585108" y="442213"/>
                      <a:pt x="585108" y="436688"/>
                    </a:cubicBezTo>
                    <a:lnTo>
                      <a:pt x="585155" y="436688"/>
                    </a:lnTo>
                    <a:lnTo>
                      <a:pt x="585155" y="34434"/>
                    </a:lnTo>
                    <a:cubicBezTo>
                      <a:pt x="585155" y="28862"/>
                      <a:pt x="580632" y="24385"/>
                      <a:pt x="575108" y="24385"/>
                    </a:cubicBezTo>
                    <a:close/>
                    <a:moveTo>
                      <a:pt x="34427" y="0"/>
                    </a:moveTo>
                    <a:lnTo>
                      <a:pt x="575108" y="0"/>
                    </a:lnTo>
                    <a:cubicBezTo>
                      <a:pt x="594107" y="0"/>
                      <a:pt x="609487" y="15431"/>
                      <a:pt x="609487" y="34434"/>
                    </a:cubicBezTo>
                    <a:lnTo>
                      <a:pt x="609487" y="436688"/>
                    </a:lnTo>
                    <a:cubicBezTo>
                      <a:pt x="609487" y="455691"/>
                      <a:pt x="594107" y="471122"/>
                      <a:pt x="575108" y="471122"/>
                    </a:cubicBezTo>
                    <a:lnTo>
                      <a:pt x="323028" y="471122"/>
                    </a:lnTo>
                    <a:lnTo>
                      <a:pt x="323028" y="512938"/>
                    </a:lnTo>
                    <a:lnTo>
                      <a:pt x="508065" y="512938"/>
                    </a:lnTo>
                    <a:cubicBezTo>
                      <a:pt x="516493" y="512938"/>
                      <a:pt x="523302" y="519796"/>
                      <a:pt x="523302" y="528179"/>
                    </a:cubicBezTo>
                    <a:cubicBezTo>
                      <a:pt x="523302" y="536608"/>
                      <a:pt x="516493" y="543419"/>
                      <a:pt x="508065" y="543419"/>
                    </a:cubicBezTo>
                    <a:lnTo>
                      <a:pt x="101422" y="543419"/>
                    </a:lnTo>
                    <a:cubicBezTo>
                      <a:pt x="93042" y="543419"/>
                      <a:pt x="86185" y="536608"/>
                      <a:pt x="86185" y="528179"/>
                    </a:cubicBezTo>
                    <a:cubicBezTo>
                      <a:pt x="86185" y="519796"/>
                      <a:pt x="93042" y="512938"/>
                      <a:pt x="101422" y="512938"/>
                    </a:cubicBezTo>
                    <a:lnTo>
                      <a:pt x="286507" y="512938"/>
                    </a:lnTo>
                    <a:lnTo>
                      <a:pt x="286507" y="471122"/>
                    </a:lnTo>
                    <a:lnTo>
                      <a:pt x="34427" y="471122"/>
                    </a:lnTo>
                    <a:cubicBezTo>
                      <a:pt x="15428" y="471122"/>
                      <a:pt x="0" y="455691"/>
                      <a:pt x="0" y="436688"/>
                    </a:cubicBezTo>
                    <a:lnTo>
                      <a:pt x="0" y="34434"/>
                    </a:lnTo>
                    <a:cubicBezTo>
                      <a:pt x="0" y="15431"/>
                      <a:pt x="15428" y="0"/>
                      <a:pt x="34427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6836973" y="3949526"/>
                <a:ext cx="1449778" cy="6756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每个</a:t>
                </a:r>
                <a:br>
                  <a:rPr lang="en-US" altLang="zh-CN" dirty="0">
                    <a:solidFill>
                      <a:schemeClr val="tx1"/>
                    </a:solidFill>
                    <a:latin typeface="+mn-ea"/>
                    <a:ea typeface="+mn-ea"/>
                  </a:rPr>
                </a:br>
                <a:r>
                  <a:rPr lang="en-US" altLang="zh-CN" sz="2000" dirty="0">
                    <a:solidFill>
                      <a:schemeClr val="accent1"/>
                    </a:solidFill>
                  </a:rPr>
                  <a:t>5</a:t>
                </a:r>
                <a:r>
                  <a:rPr lang="zh-CN" altLang="en-US" dirty="0">
                    <a:solidFill>
                      <a:schemeClr val="accent1"/>
                    </a:solidFill>
                    <a:latin typeface="+mn-ea"/>
                    <a:ea typeface="+mn-ea"/>
                  </a:rPr>
                  <a:t>种</a:t>
                </a:r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制程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8815388" y="3406139"/>
              <a:ext cx="1959750" cy="1002493"/>
              <a:chOff x="8815388" y="3622673"/>
              <a:chExt cx="1959750" cy="1002493"/>
            </a:xfrm>
          </p:grpSpPr>
          <p:sp>
            <p:nvSpPr>
              <p:cNvPr id="26" name="文本框 25"/>
              <p:cNvSpPr txBox="1"/>
              <p:nvPr/>
            </p:nvSpPr>
            <p:spPr>
              <a:xfrm>
                <a:off x="9626466" y="3622673"/>
                <a:ext cx="314920" cy="314444"/>
              </a:xfrm>
              <a:custGeom>
                <a:avLst/>
                <a:gdLst>
                  <a:gd name="connsiteX0" fmla="*/ 278627 w 609685"/>
                  <a:gd name="connsiteY0" fmla="*/ 217553 h 608764"/>
                  <a:gd name="connsiteX1" fmla="*/ 268103 w 609685"/>
                  <a:gd name="connsiteY1" fmla="*/ 254098 h 608764"/>
                  <a:gd name="connsiteX2" fmla="*/ 245590 w 609685"/>
                  <a:gd name="connsiteY2" fmla="*/ 324849 h 608764"/>
                  <a:gd name="connsiteX3" fmla="*/ 313125 w 609685"/>
                  <a:gd name="connsiteY3" fmla="*/ 324849 h 608764"/>
                  <a:gd name="connsiteX4" fmla="*/ 302016 w 609685"/>
                  <a:gd name="connsiteY4" fmla="*/ 290058 h 608764"/>
                  <a:gd name="connsiteX5" fmla="*/ 290614 w 609685"/>
                  <a:gd name="connsiteY5" fmla="*/ 254098 h 608764"/>
                  <a:gd name="connsiteX6" fmla="*/ 279797 w 609685"/>
                  <a:gd name="connsiteY6" fmla="*/ 217553 h 608764"/>
                  <a:gd name="connsiteX7" fmla="*/ 392159 w 609685"/>
                  <a:gd name="connsiteY7" fmla="*/ 197381 h 608764"/>
                  <a:gd name="connsiteX8" fmla="*/ 416425 w 609685"/>
                  <a:gd name="connsiteY8" fmla="*/ 197381 h 608764"/>
                  <a:gd name="connsiteX9" fmla="*/ 416425 w 609685"/>
                  <a:gd name="connsiteY9" fmla="*/ 411385 h 608764"/>
                  <a:gd name="connsiteX10" fmla="*/ 392159 w 609685"/>
                  <a:gd name="connsiteY10" fmla="*/ 411385 h 608764"/>
                  <a:gd name="connsiteX11" fmla="*/ 266348 w 609685"/>
                  <a:gd name="connsiteY11" fmla="*/ 197381 h 608764"/>
                  <a:gd name="connsiteX12" fmla="*/ 292953 w 609685"/>
                  <a:gd name="connsiteY12" fmla="*/ 197381 h 608764"/>
                  <a:gd name="connsiteX13" fmla="*/ 366334 w 609685"/>
                  <a:gd name="connsiteY13" fmla="*/ 411385 h 608764"/>
                  <a:gd name="connsiteX14" fmla="*/ 340607 w 609685"/>
                  <a:gd name="connsiteY14" fmla="*/ 411385 h 608764"/>
                  <a:gd name="connsiteX15" fmla="*/ 319265 w 609685"/>
                  <a:gd name="connsiteY15" fmla="*/ 343852 h 608764"/>
                  <a:gd name="connsiteX16" fmla="*/ 239452 w 609685"/>
                  <a:gd name="connsiteY16" fmla="*/ 343852 h 608764"/>
                  <a:gd name="connsiteX17" fmla="*/ 217525 w 609685"/>
                  <a:gd name="connsiteY17" fmla="*/ 411385 h 608764"/>
                  <a:gd name="connsiteX18" fmla="*/ 193259 w 609685"/>
                  <a:gd name="connsiteY18" fmla="*/ 411385 h 608764"/>
                  <a:gd name="connsiteX19" fmla="*/ 135643 w 609685"/>
                  <a:gd name="connsiteY19" fmla="*/ 135468 h 608764"/>
                  <a:gd name="connsiteX20" fmla="*/ 135643 w 609685"/>
                  <a:gd name="connsiteY20" fmla="*/ 473298 h 608764"/>
                  <a:gd name="connsiteX21" fmla="*/ 474043 w 609685"/>
                  <a:gd name="connsiteY21" fmla="*/ 473298 h 608764"/>
                  <a:gd name="connsiteX22" fmla="*/ 474043 w 609685"/>
                  <a:gd name="connsiteY22" fmla="*/ 135468 h 608764"/>
                  <a:gd name="connsiteX23" fmla="*/ 125729 w 609685"/>
                  <a:gd name="connsiteY23" fmla="*/ 115763 h 608764"/>
                  <a:gd name="connsiteX24" fmla="*/ 483957 w 609685"/>
                  <a:gd name="connsiteY24" fmla="*/ 115763 h 608764"/>
                  <a:gd name="connsiteX25" fmla="*/ 493781 w 609685"/>
                  <a:gd name="connsiteY25" fmla="*/ 125571 h 608764"/>
                  <a:gd name="connsiteX26" fmla="*/ 493781 w 609685"/>
                  <a:gd name="connsiteY26" fmla="*/ 483194 h 608764"/>
                  <a:gd name="connsiteX27" fmla="*/ 483957 w 609685"/>
                  <a:gd name="connsiteY27" fmla="*/ 493002 h 608764"/>
                  <a:gd name="connsiteX28" fmla="*/ 125729 w 609685"/>
                  <a:gd name="connsiteY28" fmla="*/ 493002 h 608764"/>
                  <a:gd name="connsiteX29" fmla="*/ 115905 w 609685"/>
                  <a:gd name="connsiteY29" fmla="*/ 483194 h 608764"/>
                  <a:gd name="connsiteX30" fmla="*/ 115905 w 609685"/>
                  <a:gd name="connsiteY30" fmla="*/ 125571 h 608764"/>
                  <a:gd name="connsiteX31" fmla="*/ 125729 w 609685"/>
                  <a:gd name="connsiteY31" fmla="*/ 115763 h 608764"/>
                  <a:gd name="connsiteX32" fmla="*/ 115204 w 609685"/>
                  <a:gd name="connsiteY32" fmla="*/ 93361 h 608764"/>
                  <a:gd name="connsiteX33" fmla="*/ 93503 w 609685"/>
                  <a:gd name="connsiteY33" fmla="*/ 115029 h 608764"/>
                  <a:gd name="connsiteX34" fmla="*/ 93503 w 609685"/>
                  <a:gd name="connsiteY34" fmla="*/ 493735 h 608764"/>
                  <a:gd name="connsiteX35" fmla="*/ 115204 w 609685"/>
                  <a:gd name="connsiteY35" fmla="*/ 515403 h 608764"/>
                  <a:gd name="connsiteX36" fmla="*/ 494481 w 609685"/>
                  <a:gd name="connsiteY36" fmla="*/ 515403 h 608764"/>
                  <a:gd name="connsiteX37" fmla="*/ 516182 w 609685"/>
                  <a:gd name="connsiteY37" fmla="*/ 493735 h 608764"/>
                  <a:gd name="connsiteX38" fmla="*/ 516182 w 609685"/>
                  <a:gd name="connsiteY38" fmla="*/ 115029 h 608764"/>
                  <a:gd name="connsiteX39" fmla="*/ 494481 w 609685"/>
                  <a:gd name="connsiteY39" fmla="*/ 93361 h 608764"/>
                  <a:gd name="connsiteX40" fmla="*/ 146818 w 609685"/>
                  <a:gd name="connsiteY40" fmla="*/ 0 h 608764"/>
                  <a:gd name="connsiteX41" fmla="*/ 156730 w 609685"/>
                  <a:gd name="connsiteY41" fmla="*/ 9897 h 608764"/>
                  <a:gd name="connsiteX42" fmla="*/ 156730 w 609685"/>
                  <a:gd name="connsiteY42" fmla="*/ 73654 h 608764"/>
                  <a:gd name="connsiteX43" fmla="*/ 189594 w 609685"/>
                  <a:gd name="connsiteY43" fmla="*/ 73654 h 608764"/>
                  <a:gd name="connsiteX44" fmla="*/ 189594 w 609685"/>
                  <a:gd name="connsiteY44" fmla="*/ 9897 h 608764"/>
                  <a:gd name="connsiteX45" fmla="*/ 199508 w 609685"/>
                  <a:gd name="connsiteY45" fmla="*/ 0 h 608764"/>
                  <a:gd name="connsiteX46" fmla="*/ 209330 w 609685"/>
                  <a:gd name="connsiteY46" fmla="*/ 9897 h 608764"/>
                  <a:gd name="connsiteX47" fmla="*/ 209330 w 609685"/>
                  <a:gd name="connsiteY47" fmla="*/ 73654 h 608764"/>
                  <a:gd name="connsiteX48" fmla="*/ 242284 w 609685"/>
                  <a:gd name="connsiteY48" fmla="*/ 73654 h 608764"/>
                  <a:gd name="connsiteX49" fmla="*/ 242284 w 609685"/>
                  <a:gd name="connsiteY49" fmla="*/ 9897 h 608764"/>
                  <a:gd name="connsiteX50" fmla="*/ 252197 w 609685"/>
                  <a:gd name="connsiteY50" fmla="*/ 0 h 608764"/>
                  <a:gd name="connsiteX51" fmla="*/ 262020 w 609685"/>
                  <a:gd name="connsiteY51" fmla="*/ 9897 h 608764"/>
                  <a:gd name="connsiteX52" fmla="*/ 262020 w 609685"/>
                  <a:gd name="connsiteY52" fmla="*/ 73654 h 608764"/>
                  <a:gd name="connsiteX53" fmla="*/ 294974 w 609685"/>
                  <a:gd name="connsiteY53" fmla="*/ 73654 h 608764"/>
                  <a:gd name="connsiteX54" fmla="*/ 294974 w 609685"/>
                  <a:gd name="connsiteY54" fmla="*/ 9897 h 608764"/>
                  <a:gd name="connsiteX55" fmla="*/ 304798 w 609685"/>
                  <a:gd name="connsiteY55" fmla="*/ 0 h 608764"/>
                  <a:gd name="connsiteX56" fmla="*/ 314711 w 609685"/>
                  <a:gd name="connsiteY56" fmla="*/ 9897 h 608764"/>
                  <a:gd name="connsiteX57" fmla="*/ 314711 w 609685"/>
                  <a:gd name="connsiteY57" fmla="*/ 73654 h 608764"/>
                  <a:gd name="connsiteX58" fmla="*/ 347665 w 609685"/>
                  <a:gd name="connsiteY58" fmla="*/ 73654 h 608764"/>
                  <a:gd name="connsiteX59" fmla="*/ 347665 w 609685"/>
                  <a:gd name="connsiteY59" fmla="*/ 9897 h 608764"/>
                  <a:gd name="connsiteX60" fmla="*/ 357488 w 609685"/>
                  <a:gd name="connsiteY60" fmla="*/ 0 h 608764"/>
                  <a:gd name="connsiteX61" fmla="*/ 367401 w 609685"/>
                  <a:gd name="connsiteY61" fmla="*/ 9897 h 608764"/>
                  <a:gd name="connsiteX62" fmla="*/ 367401 w 609685"/>
                  <a:gd name="connsiteY62" fmla="*/ 73654 h 608764"/>
                  <a:gd name="connsiteX63" fmla="*/ 400265 w 609685"/>
                  <a:gd name="connsiteY63" fmla="*/ 73654 h 608764"/>
                  <a:gd name="connsiteX64" fmla="*/ 400265 w 609685"/>
                  <a:gd name="connsiteY64" fmla="*/ 9897 h 608764"/>
                  <a:gd name="connsiteX65" fmla="*/ 410177 w 609685"/>
                  <a:gd name="connsiteY65" fmla="*/ 0 h 608764"/>
                  <a:gd name="connsiteX66" fmla="*/ 420001 w 609685"/>
                  <a:gd name="connsiteY66" fmla="*/ 9897 h 608764"/>
                  <a:gd name="connsiteX67" fmla="*/ 420001 w 609685"/>
                  <a:gd name="connsiteY67" fmla="*/ 73654 h 608764"/>
                  <a:gd name="connsiteX68" fmla="*/ 452955 w 609685"/>
                  <a:gd name="connsiteY68" fmla="*/ 73654 h 608764"/>
                  <a:gd name="connsiteX69" fmla="*/ 452955 w 609685"/>
                  <a:gd name="connsiteY69" fmla="*/ 9897 h 608764"/>
                  <a:gd name="connsiteX70" fmla="*/ 462867 w 609685"/>
                  <a:gd name="connsiteY70" fmla="*/ 0 h 608764"/>
                  <a:gd name="connsiteX71" fmla="*/ 472691 w 609685"/>
                  <a:gd name="connsiteY71" fmla="*/ 9897 h 608764"/>
                  <a:gd name="connsiteX72" fmla="*/ 472691 w 609685"/>
                  <a:gd name="connsiteY72" fmla="*/ 73654 h 608764"/>
                  <a:gd name="connsiteX73" fmla="*/ 494481 w 609685"/>
                  <a:gd name="connsiteY73" fmla="*/ 73654 h 608764"/>
                  <a:gd name="connsiteX74" fmla="*/ 535919 w 609685"/>
                  <a:gd name="connsiteY74" fmla="*/ 115029 h 608764"/>
                  <a:gd name="connsiteX75" fmla="*/ 535919 w 609685"/>
                  <a:gd name="connsiteY75" fmla="*/ 136698 h 608764"/>
                  <a:gd name="connsiteX76" fmla="*/ 599772 w 609685"/>
                  <a:gd name="connsiteY76" fmla="*/ 136698 h 608764"/>
                  <a:gd name="connsiteX77" fmla="*/ 609685 w 609685"/>
                  <a:gd name="connsiteY77" fmla="*/ 146596 h 608764"/>
                  <a:gd name="connsiteX78" fmla="*/ 599772 w 609685"/>
                  <a:gd name="connsiteY78" fmla="*/ 156493 h 608764"/>
                  <a:gd name="connsiteX79" fmla="*/ 535919 w 609685"/>
                  <a:gd name="connsiteY79" fmla="*/ 156493 h 608764"/>
                  <a:gd name="connsiteX80" fmla="*/ 535919 w 609685"/>
                  <a:gd name="connsiteY80" fmla="*/ 189308 h 608764"/>
                  <a:gd name="connsiteX81" fmla="*/ 599772 w 609685"/>
                  <a:gd name="connsiteY81" fmla="*/ 189308 h 608764"/>
                  <a:gd name="connsiteX82" fmla="*/ 609685 w 609685"/>
                  <a:gd name="connsiteY82" fmla="*/ 199205 h 608764"/>
                  <a:gd name="connsiteX83" fmla="*/ 599772 w 609685"/>
                  <a:gd name="connsiteY83" fmla="*/ 209014 h 608764"/>
                  <a:gd name="connsiteX84" fmla="*/ 535919 w 609685"/>
                  <a:gd name="connsiteY84" fmla="*/ 209014 h 608764"/>
                  <a:gd name="connsiteX85" fmla="*/ 535919 w 609685"/>
                  <a:gd name="connsiteY85" fmla="*/ 241919 h 608764"/>
                  <a:gd name="connsiteX86" fmla="*/ 599772 w 609685"/>
                  <a:gd name="connsiteY86" fmla="*/ 241919 h 608764"/>
                  <a:gd name="connsiteX87" fmla="*/ 609685 w 609685"/>
                  <a:gd name="connsiteY87" fmla="*/ 251816 h 608764"/>
                  <a:gd name="connsiteX88" fmla="*/ 599772 w 609685"/>
                  <a:gd name="connsiteY88" fmla="*/ 261625 h 608764"/>
                  <a:gd name="connsiteX89" fmla="*/ 535919 w 609685"/>
                  <a:gd name="connsiteY89" fmla="*/ 261625 h 608764"/>
                  <a:gd name="connsiteX90" fmla="*/ 535919 w 609685"/>
                  <a:gd name="connsiteY90" fmla="*/ 294529 h 608764"/>
                  <a:gd name="connsiteX91" fmla="*/ 599772 w 609685"/>
                  <a:gd name="connsiteY91" fmla="*/ 294529 h 608764"/>
                  <a:gd name="connsiteX92" fmla="*/ 609685 w 609685"/>
                  <a:gd name="connsiteY92" fmla="*/ 304337 h 608764"/>
                  <a:gd name="connsiteX93" fmla="*/ 599772 w 609685"/>
                  <a:gd name="connsiteY93" fmla="*/ 314235 h 608764"/>
                  <a:gd name="connsiteX94" fmla="*/ 535919 w 609685"/>
                  <a:gd name="connsiteY94" fmla="*/ 314235 h 608764"/>
                  <a:gd name="connsiteX95" fmla="*/ 535919 w 609685"/>
                  <a:gd name="connsiteY95" fmla="*/ 347139 h 608764"/>
                  <a:gd name="connsiteX96" fmla="*/ 599772 w 609685"/>
                  <a:gd name="connsiteY96" fmla="*/ 347139 h 608764"/>
                  <a:gd name="connsiteX97" fmla="*/ 609685 w 609685"/>
                  <a:gd name="connsiteY97" fmla="*/ 356947 h 608764"/>
                  <a:gd name="connsiteX98" fmla="*/ 599772 w 609685"/>
                  <a:gd name="connsiteY98" fmla="*/ 366846 h 608764"/>
                  <a:gd name="connsiteX99" fmla="*/ 535919 w 609685"/>
                  <a:gd name="connsiteY99" fmla="*/ 366846 h 608764"/>
                  <a:gd name="connsiteX100" fmla="*/ 535919 w 609685"/>
                  <a:gd name="connsiteY100" fmla="*/ 399661 h 608764"/>
                  <a:gd name="connsiteX101" fmla="*/ 599772 w 609685"/>
                  <a:gd name="connsiteY101" fmla="*/ 399661 h 608764"/>
                  <a:gd name="connsiteX102" fmla="*/ 609685 w 609685"/>
                  <a:gd name="connsiteY102" fmla="*/ 409559 h 608764"/>
                  <a:gd name="connsiteX103" fmla="*/ 599772 w 609685"/>
                  <a:gd name="connsiteY103" fmla="*/ 419367 h 608764"/>
                  <a:gd name="connsiteX104" fmla="*/ 535919 w 609685"/>
                  <a:gd name="connsiteY104" fmla="*/ 419367 h 608764"/>
                  <a:gd name="connsiteX105" fmla="*/ 535919 w 609685"/>
                  <a:gd name="connsiteY105" fmla="*/ 452271 h 608764"/>
                  <a:gd name="connsiteX106" fmla="*/ 599772 w 609685"/>
                  <a:gd name="connsiteY106" fmla="*/ 452271 h 608764"/>
                  <a:gd name="connsiteX107" fmla="*/ 609685 w 609685"/>
                  <a:gd name="connsiteY107" fmla="*/ 462168 h 608764"/>
                  <a:gd name="connsiteX108" fmla="*/ 599772 w 609685"/>
                  <a:gd name="connsiteY108" fmla="*/ 471977 h 608764"/>
                  <a:gd name="connsiteX109" fmla="*/ 535919 w 609685"/>
                  <a:gd name="connsiteY109" fmla="*/ 471977 h 608764"/>
                  <a:gd name="connsiteX110" fmla="*/ 535919 w 609685"/>
                  <a:gd name="connsiteY110" fmla="*/ 493735 h 608764"/>
                  <a:gd name="connsiteX111" fmla="*/ 494481 w 609685"/>
                  <a:gd name="connsiteY111" fmla="*/ 535110 h 608764"/>
                  <a:gd name="connsiteX112" fmla="*/ 472691 w 609685"/>
                  <a:gd name="connsiteY112" fmla="*/ 535110 h 608764"/>
                  <a:gd name="connsiteX113" fmla="*/ 472691 w 609685"/>
                  <a:gd name="connsiteY113" fmla="*/ 598867 h 608764"/>
                  <a:gd name="connsiteX114" fmla="*/ 462867 w 609685"/>
                  <a:gd name="connsiteY114" fmla="*/ 608764 h 608764"/>
                  <a:gd name="connsiteX115" fmla="*/ 452955 w 609685"/>
                  <a:gd name="connsiteY115" fmla="*/ 598867 h 608764"/>
                  <a:gd name="connsiteX116" fmla="*/ 452955 w 609685"/>
                  <a:gd name="connsiteY116" fmla="*/ 535110 h 608764"/>
                  <a:gd name="connsiteX117" fmla="*/ 420091 w 609685"/>
                  <a:gd name="connsiteY117" fmla="*/ 535110 h 608764"/>
                  <a:gd name="connsiteX118" fmla="*/ 420091 w 609685"/>
                  <a:gd name="connsiteY118" fmla="*/ 598867 h 608764"/>
                  <a:gd name="connsiteX119" fmla="*/ 410177 w 609685"/>
                  <a:gd name="connsiteY119" fmla="*/ 608764 h 608764"/>
                  <a:gd name="connsiteX120" fmla="*/ 400265 w 609685"/>
                  <a:gd name="connsiteY120" fmla="*/ 598867 h 608764"/>
                  <a:gd name="connsiteX121" fmla="*/ 400265 w 609685"/>
                  <a:gd name="connsiteY121" fmla="*/ 535110 h 608764"/>
                  <a:gd name="connsiteX122" fmla="*/ 367401 w 609685"/>
                  <a:gd name="connsiteY122" fmla="*/ 535110 h 608764"/>
                  <a:gd name="connsiteX123" fmla="*/ 367401 w 609685"/>
                  <a:gd name="connsiteY123" fmla="*/ 598867 h 608764"/>
                  <a:gd name="connsiteX124" fmla="*/ 357488 w 609685"/>
                  <a:gd name="connsiteY124" fmla="*/ 608764 h 608764"/>
                  <a:gd name="connsiteX125" fmla="*/ 347665 w 609685"/>
                  <a:gd name="connsiteY125" fmla="*/ 598867 h 608764"/>
                  <a:gd name="connsiteX126" fmla="*/ 347665 w 609685"/>
                  <a:gd name="connsiteY126" fmla="*/ 535110 h 608764"/>
                  <a:gd name="connsiteX127" fmla="*/ 314711 w 609685"/>
                  <a:gd name="connsiteY127" fmla="*/ 535110 h 608764"/>
                  <a:gd name="connsiteX128" fmla="*/ 314711 w 609685"/>
                  <a:gd name="connsiteY128" fmla="*/ 598867 h 608764"/>
                  <a:gd name="connsiteX129" fmla="*/ 304798 w 609685"/>
                  <a:gd name="connsiteY129" fmla="*/ 608764 h 608764"/>
                  <a:gd name="connsiteX130" fmla="*/ 294974 w 609685"/>
                  <a:gd name="connsiteY130" fmla="*/ 598867 h 608764"/>
                  <a:gd name="connsiteX131" fmla="*/ 294974 w 609685"/>
                  <a:gd name="connsiteY131" fmla="*/ 535110 h 608764"/>
                  <a:gd name="connsiteX132" fmla="*/ 262020 w 609685"/>
                  <a:gd name="connsiteY132" fmla="*/ 535110 h 608764"/>
                  <a:gd name="connsiteX133" fmla="*/ 262020 w 609685"/>
                  <a:gd name="connsiteY133" fmla="*/ 598867 h 608764"/>
                  <a:gd name="connsiteX134" fmla="*/ 252197 w 609685"/>
                  <a:gd name="connsiteY134" fmla="*/ 608764 h 608764"/>
                  <a:gd name="connsiteX135" fmla="*/ 242284 w 609685"/>
                  <a:gd name="connsiteY135" fmla="*/ 598867 h 608764"/>
                  <a:gd name="connsiteX136" fmla="*/ 242284 w 609685"/>
                  <a:gd name="connsiteY136" fmla="*/ 535110 h 608764"/>
                  <a:gd name="connsiteX137" fmla="*/ 209330 w 609685"/>
                  <a:gd name="connsiteY137" fmla="*/ 535110 h 608764"/>
                  <a:gd name="connsiteX138" fmla="*/ 209330 w 609685"/>
                  <a:gd name="connsiteY138" fmla="*/ 598867 h 608764"/>
                  <a:gd name="connsiteX139" fmla="*/ 199508 w 609685"/>
                  <a:gd name="connsiteY139" fmla="*/ 608764 h 608764"/>
                  <a:gd name="connsiteX140" fmla="*/ 189594 w 609685"/>
                  <a:gd name="connsiteY140" fmla="*/ 598867 h 608764"/>
                  <a:gd name="connsiteX141" fmla="*/ 189594 w 609685"/>
                  <a:gd name="connsiteY141" fmla="*/ 535110 h 608764"/>
                  <a:gd name="connsiteX142" fmla="*/ 156730 w 609685"/>
                  <a:gd name="connsiteY142" fmla="*/ 535110 h 608764"/>
                  <a:gd name="connsiteX143" fmla="*/ 156730 w 609685"/>
                  <a:gd name="connsiteY143" fmla="*/ 598867 h 608764"/>
                  <a:gd name="connsiteX144" fmla="*/ 146818 w 609685"/>
                  <a:gd name="connsiteY144" fmla="*/ 608764 h 608764"/>
                  <a:gd name="connsiteX145" fmla="*/ 136904 w 609685"/>
                  <a:gd name="connsiteY145" fmla="*/ 598867 h 608764"/>
                  <a:gd name="connsiteX146" fmla="*/ 136904 w 609685"/>
                  <a:gd name="connsiteY146" fmla="*/ 535110 h 608764"/>
                  <a:gd name="connsiteX147" fmla="*/ 115204 w 609685"/>
                  <a:gd name="connsiteY147" fmla="*/ 535110 h 608764"/>
                  <a:gd name="connsiteX148" fmla="*/ 73766 w 609685"/>
                  <a:gd name="connsiteY148" fmla="*/ 493735 h 608764"/>
                  <a:gd name="connsiteX149" fmla="*/ 73766 w 609685"/>
                  <a:gd name="connsiteY149" fmla="*/ 471977 h 608764"/>
                  <a:gd name="connsiteX150" fmla="*/ 9913 w 609685"/>
                  <a:gd name="connsiteY150" fmla="*/ 471977 h 608764"/>
                  <a:gd name="connsiteX151" fmla="*/ 0 w 609685"/>
                  <a:gd name="connsiteY151" fmla="*/ 462168 h 608764"/>
                  <a:gd name="connsiteX152" fmla="*/ 9913 w 609685"/>
                  <a:gd name="connsiteY152" fmla="*/ 452271 h 608764"/>
                  <a:gd name="connsiteX153" fmla="*/ 73766 w 609685"/>
                  <a:gd name="connsiteY153" fmla="*/ 452271 h 608764"/>
                  <a:gd name="connsiteX154" fmla="*/ 73766 w 609685"/>
                  <a:gd name="connsiteY154" fmla="*/ 419367 h 608764"/>
                  <a:gd name="connsiteX155" fmla="*/ 9913 w 609685"/>
                  <a:gd name="connsiteY155" fmla="*/ 419367 h 608764"/>
                  <a:gd name="connsiteX156" fmla="*/ 0 w 609685"/>
                  <a:gd name="connsiteY156" fmla="*/ 409559 h 608764"/>
                  <a:gd name="connsiteX157" fmla="*/ 9913 w 609685"/>
                  <a:gd name="connsiteY157" fmla="*/ 399661 h 608764"/>
                  <a:gd name="connsiteX158" fmla="*/ 73766 w 609685"/>
                  <a:gd name="connsiteY158" fmla="*/ 399661 h 608764"/>
                  <a:gd name="connsiteX159" fmla="*/ 73766 w 609685"/>
                  <a:gd name="connsiteY159" fmla="*/ 366846 h 608764"/>
                  <a:gd name="connsiteX160" fmla="*/ 9913 w 609685"/>
                  <a:gd name="connsiteY160" fmla="*/ 366846 h 608764"/>
                  <a:gd name="connsiteX161" fmla="*/ 0 w 609685"/>
                  <a:gd name="connsiteY161" fmla="*/ 356947 h 608764"/>
                  <a:gd name="connsiteX162" fmla="*/ 9913 w 609685"/>
                  <a:gd name="connsiteY162" fmla="*/ 347139 h 608764"/>
                  <a:gd name="connsiteX163" fmla="*/ 73766 w 609685"/>
                  <a:gd name="connsiteY163" fmla="*/ 347139 h 608764"/>
                  <a:gd name="connsiteX164" fmla="*/ 73766 w 609685"/>
                  <a:gd name="connsiteY164" fmla="*/ 314235 h 608764"/>
                  <a:gd name="connsiteX165" fmla="*/ 9913 w 609685"/>
                  <a:gd name="connsiteY165" fmla="*/ 314235 h 608764"/>
                  <a:gd name="connsiteX166" fmla="*/ 0 w 609685"/>
                  <a:gd name="connsiteY166" fmla="*/ 304337 h 608764"/>
                  <a:gd name="connsiteX167" fmla="*/ 9913 w 609685"/>
                  <a:gd name="connsiteY167" fmla="*/ 294529 h 608764"/>
                  <a:gd name="connsiteX168" fmla="*/ 73766 w 609685"/>
                  <a:gd name="connsiteY168" fmla="*/ 294529 h 608764"/>
                  <a:gd name="connsiteX169" fmla="*/ 73766 w 609685"/>
                  <a:gd name="connsiteY169" fmla="*/ 261625 h 608764"/>
                  <a:gd name="connsiteX170" fmla="*/ 9913 w 609685"/>
                  <a:gd name="connsiteY170" fmla="*/ 261625 h 608764"/>
                  <a:gd name="connsiteX171" fmla="*/ 0 w 609685"/>
                  <a:gd name="connsiteY171" fmla="*/ 251816 h 608764"/>
                  <a:gd name="connsiteX172" fmla="*/ 9913 w 609685"/>
                  <a:gd name="connsiteY172" fmla="*/ 241919 h 608764"/>
                  <a:gd name="connsiteX173" fmla="*/ 73766 w 609685"/>
                  <a:gd name="connsiteY173" fmla="*/ 241919 h 608764"/>
                  <a:gd name="connsiteX174" fmla="*/ 73766 w 609685"/>
                  <a:gd name="connsiteY174" fmla="*/ 209014 h 608764"/>
                  <a:gd name="connsiteX175" fmla="*/ 9913 w 609685"/>
                  <a:gd name="connsiteY175" fmla="*/ 209014 h 608764"/>
                  <a:gd name="connsiteX176" fmla="*/ 0 w 609685"/>
                  <a:gd name="connsiteY176" fmla="*/ 199205 h 608764"/>
                  <a:gd name="connsiteX177" fmla="*/ 9913 w 609685"/>
                  <a:gd name="connsiteY177" fmla="*/ 189308 h 608764"/>
                  <a:gd name="connsiteX178" fmla="*/ 73766 w 609685"/>
                  <a:gd name="connsiteY178" fmla="*/ 189308 h 608764"/>
                  <a:gd name="connsiteX179" fmla="*/ 73766 w 609685"/>
                  <a:gd name="connsiteY179" fmla="*/ 156493 h 608764"/>
                  <a:gd name="connsiteX180" fmla="*/ 9913 w 609685"/>
                  <a:gd name="connsiteY180" fmla="*/ 156493 h 608764"/>
                  <a:gd name="connsiteX181" fmla="*/ 0 w 609685"/>
                  <a:gd name="connsiteY181" fmla="*/ 146596 h 608764"/>
                  <a:gd name="connsiteX182" fmla="*/ 9913 w 609685"/>
                  <a:gd name="connsiteY182" fmla="*/ 136698 h 608764"/>
                  <a:gd name="connsiteX183" fmla="*/ 73766 w 609685"/>
                  <a:gd name="connsiteY183" fmla="*/ 136698 h 608764"/>
                  <a:gd name="connsiteX184" fmla="*/ 73766 w 609685"/>
                  <a:gd name="connsiteY184" fmla="*/ 115029 h 608764"/>
                  <a:gd name="connsiteX185" fmla="*/ 115204 w 609685"/>
                  <a:gd name="connsiteY185" fmla="*/ 73654 h 608764"/>
                  <a:gd name="connsiteX186" fmla="*/ 136904 w 609685"/>
                  <a:gd name="connsiteY186" fmla="*/ 73654 h 608764"/>
                  <a:gd name="connsiteX187" fmla="*/ 136904 w 609685"/>
                  <a:gd name="connsiteY187" fmla="*/ 9897 h 608764"/>
                  <a:gd name="connsiteX188" fmla="*/ 146818 w 609685"/>
                  <a:gd name="connsiteY188" fmla="*/ 0 h 608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609685" h="608764">
                    <a:moveTo>
                      <a:pt x="278627" y="217553"/>
                    </a:moveTo>
                    <a:cubicBezTo>
                      <a:pt x="275313" y="229637"/>
                      <a:pt x="271805" y="241819"/>
                      <a:pt x="268103" y="254098"/>
                    </a:cubicBezTo>
                    <a:lnTo>
                      <a:pt x="245590" y="324849"/>
                    </a:lnTo>
                    <a:lnTo>
                      <a:pt x="313125" y="324849"/>
                    </a:lnTo>
                    <a:lnTo>
                      <a:pt x="302016" y="290058"/>
                    </a:lnTo>
                    <a:cubicBezTo>
                      <a:pt x="298313" y="279143"/>
                      <a:pt x="294512" y="267156"/>
                      <a:pt x="290614" y="254098"/>
                    </a:cubicBezTo>
                    <a:lnTo>
                      <a:pt x="279797" y="217553"/>
                    </a:lnTo>
                    <a:close/>
                    <a:moveTo>
                      <a:pt x="392159" y="197381"/>
                    </a:moveTo>
                    <a:lnTo>
                      <a:pt x="416425" y="197381"/>
                    </a:lnTo>
                    <a:lnTo>
                      <a:pt x="416425" y="411385"/>
                    </a:lnTo>
                    <a:lnTo>
                      <a:pt x="392159" y="411385"/>
                    </a:lnTo>
                    <a:close/>
                    <a:moveTo>
                      <a:pt x="266348" y="197381"/>
                    </a:moveTo>
                    <a:lnTo>
                      <a:pt x="292953" y="197381"/>
                    </a:lnTo>
                    <a:lnTo>
                      <a:pt x="366334" y="411385"/>
                    </a:lnTo>
                    <a:lnTo>
                      <a:pt x="340607" y="411385"/>
                    </a:lnTo>
                    <a:lnTo>
                      <a:pt x="319265" y="343852"/>
                    </a:lnTo>
                    <a:lnTo>
                      <a:pt x="239452" y="343852"/>
                    </a:lnTo>
                    <a:lnTo>
                      <a:pt x="217525" y="411385"/>
                    </a:lnTo>
                    <a:lnTo>
                      <a:pt x="193259" y="411385"/>
                    </a:lnTo>
                    <a:close/>
                    <a:moveTo>
                      <a:pt x="135643" y="135468"/>
                    </a:moveTo>
                    <a:lnTo>
                      <a:pt x="135643" y="473298"/>
                    </a:lnTo>
                    <a:lnTo>
                      <a:pt x="474043" y="473298"/>
                    </a:lnTo>
                    <a:lnTo>
                      <a:pt x="474043" y="135468"/>
                    </a:lnTo>
                    <a:close/>
                    <a:moveTo>
                      <a:pt x="125729" y="115763"/>
                    </a:moveTo>
                    <a:lnTo>
                      <a:pt x="483957" y="115763"/>
                    </a:lnTo>
                    <a:cubicBezTo>
                      <a:pt x="489404" y="115763"/>
                      <a:pt x="493781" y="120132"/>
                      <a:pt x="493781" y="125571"/>
                    </a:cubicBezTo>
                    <a:lnTo>
                      <a:pt x="493781" y="483194"/>
                    </a:lnTo>
                    <a:cubicBezTo>
                      <a:pt x="493781" y="488633"/>
                      <a:pt x="489404" y="493002"/>
                      <a:pt x="483957" y="493002"/>
                    </a:cubicBezTo>
                    <a:lnTo>
                      <a:pt x="125729" y="493002"/>
                    </a:lnTo>
                    <a:cubicBezTo>
                      <a:pt x="120282" y="493002"/>
                      <a:pt x="115905" y="488633"/>
                      <a:pt x="115905" y="483194"/>
                    </a:cubicBezTo>
                    <a:lnTo>
                      <a:pt x="115905" y="125571"/>
                    </a:lnTo>
                    <a:cubicBezTo>
                      <a:pt x="115905" y="120132"/>
                      <a:pt x="120282" y="115763"/>
                      <a:pt x="125729" y="115763"/>
                    </a:cubicBezTo>
                    <a:close/>
                    <a:moveTo>
                      <a:pt x="115204" y="93361"/>
                    </a:moveTo>
                    <a:cubicBezTo>
                      <a:pt x="103236" y="93361"/>
                      <a:pt x="93503" y="103081"/>
                      <a:pt x="93503" y="115029"/>
                    </a:cubicBezTo>
                    <a:lnTo>
                      <a:pt x="93503" y="493735"/>
                    </a:lnTo>
                    <a:cubicBezTo>
                      <a:pt x="93503" y="505683"/>
                      <a:pt x="103236" y="515403"/>
                      <a:pt x="115204" y="515403"/>
                    </a:cubicBezTo>
                    <a:lnTo>
                      <a:pt x="494481" y="515403"/>
                    </a:lnTo>
                    <a:cubicBezTo>
                      <a:pt x="506449" y="515403"/>
                      <a:pt x="516182" y="505683"/>
                      <a:pt x="516182" y="493735"/>
                    </a:cubicBezTo>
                    <a:lnTo>
                      <a:pt x="516182" y="115029"/>
                    </a:lnTo>
                    <a:cubicBezTo>
                      <a:pt x="516182" y="103081"/>
                      <a:pt x="506449" y="93361"/>
                      <a:pt x="494481" y="93361"/>
                    </a:cubicBezTo>
                    <a:close/>
                    <a:moveTo>
                      <a:pt x="146818" y="0"/>
                    </a:moveTo>
                    <a:cubicBezTo>
                      <a:pt x="152265" y="0"/>
                      <a:pt x="156730" y="4458"/>
                      <a:pt x="156730" y="9897"/>
                    </a:cubicBezTo>
                    <a:lnTo>
                      <a:pt x="156730" y="73654"/>
                    </a:lnTo>
                    <a:lnTo>
                      <a:pt x="189594" y="73654"/>
                    </a:lnTo>
                    <a:lnTo>
                      <a:pt x="189594" y="9897"/>
                    </a:lnTo>
                    <a:cubicBezTo>
                      <a:pt x="189594" y="4458"/>
                      <a:pt x="194059" y="0"/>
                      <a:pt x="199508" y="0"/>
                    </a:cubicBezTo>
                    <a:cubicBezTo>
                      <a:pt x="204955" y="0"/>
                      <a:pt x="209330" y="4458"/>
                      <a:pt x="209330" y="9897"/>
                    </a:cubicBezTo>
                    <a:lnTo>
                      <a:pt x="209330" y="73654"/>
                    </a:lnTo>
                    <a:lnTo>
                      <a:pt x="242284" y="73654"/>
                    </a:lnTo>
                    <a:lnTo>
                      <a:pt x="242284" y="9897"/>
                    </a:lnTo>
                    <a:cubicBezTo>
                      <a:pt x="242284" y="4458"/>
                      <a:pt x="246661" y="0"/>
                      <a:pt x="252197" y="0"/>
                    </a:cubicBezTo>
                    <a:cubicBezTo>
                      <a:pt x="257645" y="0"/>
                      <a:pt x="262020" y="4458"/>
                      <a:pt x="262020" y="9897"/>
                    </a:cubicBezTo>
                    <a:lnTo>
                      <a:pt x="262020" y="73654"/>
                    </a:lnTo>
                    <a:lnTo>
                      <a:pt x="294974" y="73654"/>
                    </a:lnTo>
                    <a:lnTo>
                      <a:pt x="294974" y="9897"/>
                    </a:lnTo>
                    <a:cubicBezTo>
                      <a:pt x="294974" y="4458"/>
                      <a:pt x="299351" y="0"/>
                      <a:pt x="304798" y="0"/>
                    </a:cubicBezTo>
                    <a:cubicBezTo>
                      <a:pt x="310245" y="0"/>
                      <a:pt x="314711" y="4458"/>
                      <a:pt x="314711" y="9897"/>
                    </a:cubicBezTo>
                    <a:lnTo>
                      <a:pt x="314711" y="73654"/>
                    </a:lnTo>
                    <a:lnTo>
                      <a:pt x="347665" y="73654"/>
                    </a:lnTo>
                    <a:lnTo>
                      <a:pt x="347665" y="9897"/>
                    </a:lnTo>
                    <a:cubicBezTo>
                      <a:pt x="347665" y="4458"/>
                      <a:pt x="352040" y="0"/>
                      <a:pt x="357488" y="0"/>
                    </a:cubicBezTo>
                    <a:cubicBezTo>
                      <a:pt x="362935" y="0"/>
                      <a:pt x="367401" y="4458"/>
                      <a:pt x="367401" y="9897"/>
                    </a:cubicBezTo>
                    <a:lnTo>
                      <a:pt x="367401" y="73654"/>
                    </a:lnTo>
                    <a:lnTo>
                      <a:pt x="400265" y="73654"/>
                    </a:lnTo>
                    <a:lnTo>
                      <a:pt x="400265" y="9897"/>
                    </a:lnTo>
                    <a:cubicBezTo>
                      <a:pt x="400265" y="4458"/>
                      <a:pt x="404730" y="0"/>
                      <a:pt x="410177" y="0"/>
                    </a:cubicBezTo>
                    <a:cubicBezTo>
                      <a:pt x="415626" y="0"/>
                      <a:pt x="420001" y="4458"/>
                      <a:pt x="420001" y="9897"/>
                    </a:cubicBezTo>
                    <a:lnTo>
                      <a:pt x="420001" y="73654"/>
                    </a:lnTo>
                    <a:lnTo>
                      <a:pt x="452955" y="73654"/>
                    </a:lnTo>
                    <a:lnTo>
                      <a:pt x="452955" y="9897"/>
                    </a:lnTo>
                    <a:cubicBezTo>
                      <a:pt x="452955" y="4458"/>
                      <a:pt x="457420" y="0"/>
                      <a:pt x="462867" y="0"/>
                    </a:cubicBezTo>
                    <a:cubicBezTo>
                      <a:pt x="468316" y="0"/>
                      <a:pt x="472691" y="4458"/>
                      <a:pt x="472691" y="9897"/>
                    </a:cubicBezTo>
                    <a:lnTo>
                      <a:pt x="472691" y="73654"/>
                    </a:lnTo>
                    <a:lnTo>
                      <a:pt x="494481" y="73654"/>
                    </a:lnTo>
                    <a:cubicBezTo>
                      <a:pt x="517344" y="73654"/>
                      <a:pt x="535919" y="92201"/>
                      <a:pt x="535919" y="115029"/>
                    </a:cubicBezTo>
                    <a:lnTo>
                      <a:pt x="535919" y="136698"/>
                    </a:lnTo>
                    <a:lnTo>
                      <a:pt x="599772" y="136698"/>
                    </a:lnTo>
                    <a:cubicBezTo>
                      <a:pt x="605220" y="136698"/>
                      <a:pt x="609685" y="141156"/>
                      <a:pt x="609685" y="146596"/>
                    </a:cubicBezTo>
                    <a:cubicBezTo>
                      <a:pt x="609685" y="152035"/>
                      <a:pt x="605220" y="156493"/>
                      <a:pt x="599772" y="156493"/>
                    </a:cubicBezTo>
                    <a:lnTo>
                      <a:pt x="535919" y="156493"/>
                    </a:lnTo>
                    <a:lnTo>
                      <a:pt x="535919" y="189308"/>
                    </a:lnTo>
                    <a:lnTo>
                      <a:pt x="599772" y="189308"/>
                    </a:lnTo>
                    <a:cubicBezTo>
                      <a:pt x="605220" y="189308"/>
                      <a:pt x="609685" y="193766"/>
                      <a:pt x="609685" y="199205"/>
                    </a:cubicBezTo>
                    <a:cubicBezTo>
                      <a:pt x="609685" y="204646"/>
                      <a:pt x="605220" y="209014"/>
                      <a:pt x="599772" y="209014"/>
                    </a:cubicBezTo>
                    <a:lnTo>
                      <a:pt x="535919" y="209014"/>
                    </a:lnTo>
                    <a:lnTo>
                      <a:pt x="535919" y="241919"/>
                    </a:lnTo>
                    <a:lnTo>
                      <a:pt x="599772" y="241919"/>
                    </a:lnTo>
                    <a:cubicBezTo>
                      <a:pt x="605220" y="241919"/>
                      <a:pt x="609685" y="246287"/>
                      <a:pt x="609685" y="251816"/>
                    </a:cubicBezTo>
                    <a:cubicBezTo>
                      <a:pt x="609685" y="257255"/>
                      <a:pt x="605220" y="261625"/>
                      <a:pt x="599772" y="261625"/>
                    </a:cubicBezTo>
                    <a:lnTo>
                      <a:pt x="535919" y="261625"/>
                    </a:lnTo>
                    <a:lnTo>
                      <a:pt x="535919" y="294529"/>
                    </a:lnTo>
                    <a:lnTo>
                      <a:pt x="599772" y="294529"/>
                    </a:lnTo>
                    <a:cubicBezTo>
                      <a:pt x="605220" y="294529"/>
                      <a:pt x="609685" y="298898"/>
                      <a:pt x="609685" y="304337"/>
                    </a:cubicBezTo>
                    <a:cubicBezTo>
                      <a:pt x="609685" y="309776"/>
                      <a:pt x="605220" y="314235"/>
                      <a:pt x="599772" y="314235"/>
                    </a:cubicBezTo>
                    <a:lnTo>
                      <a:pt x="535919" y="314235"/>
                    </a:lnTo>
                    <a:lnTo>
                      <a:pt x="535919" y="347139"/>
                    </a:lnTo>
                    <a:lnTo>
                      <a:pt x="599772" y="347139"/>
                    </a:lnTo>
                    <a:cubicBezTo>
                      <a:pt x="605220" y="347139"/>
                      <a:pt x="609685" y="351508"/>
                      <a:pt x="609685" y="356947"/>
                    </a:cubicBezTo>
                    <a:cubicBezTo>
                      <a:pt x="609685" y="362387"/>
                      <a:pt x="605220" y="366846"/>
                      <a:pt x="599772" y="366846"/>
                    </a:cubicBezTo>
                    <a:lnTo>
                      <a:pt x="535919" y="366846"/>
                    </a:lnTo>
                    <a:lnTo>
                      <a:pt x="535919" y="399661"/>
                    </a:lnTo>
                    <a:lnTo>
                      <a:pt x="599772" y="399661"/>
                    </a:lnTo>
                    <a:cubicBezTo>
                      <a:pt x="605220" y="399661"/>
                      <a:pt x="609685" y="404119"/>
                      <a:pt x="609685" y="409559"/>
                    </a:cubicBezTo>
                    <a:cubicBezTo>
                      <a:pt x="609685" y="414998"/>
                      <a:pt x="605220" y="419367"/>
                      <a:pt x="599772" y="419367"/>
                    </a:cubicBezTo>
                    <a:lnTo>
                      <a:pt x="535919" y="419367"/>
                    </a:lnTo>
                    <a:lnTo>
                      <a:pt x="535919" y="452271"/>
                    </a:lnTo>
                    <a:lnTo>
                      <a:pt x="599772" y="452271"/>
                    </a:lnTo>
                    <a:cubicBezTo>
                      <a:pt x="605220" y="452271"/>
                      <a:pt x="609685" y="456729"/>
                      <a:pt x="609685" y="462168"/>
                    </a:cubicBezTo>
                    <a:cubicBezTo>
                      <a:pt x="609685" y="467609"/>
                      <a:pt x="605220" y="471977"/>
                      <a:pt x="599772" y="471977"/>
                    </a:cubicBezTo>
                    <a:lnTo>
                      <a:pt x="535919" y="471977"/>
                    </a:lnTo>
                    <a:lnTo>
                      <a:pt x="535919" y="493735"/>
                    </a:lnTo>
                    <a:cubicBezTo>
                      <a:pt x="535919" y="516563"/>
                      <a:pt x="517344" y="535110"/>
                      <a:pt x="494481" y="535110"/>
                    </a:cubicBezTo>
                    <a:lnTo>
                      <a:pt x="472691" y="535110"/>
                    </a:lnTo>
                    <a:lnTo>
                      <a:pt x="472691" y="598867"/>
                    </a:lnTo>
                    <a:cubicBezTo>
                      <a:pt x="472691" y="604306"/>
                      <a:pt x="468316" y="608764"/>
                      <a:pt x="462867" y="608764"/>
                    </a:cubicBezTo>
                    <a:cubicBezTo>
                      <a:pt x="457420" y="608764"/>
                      <a:pt x="452955" y="604306"/>
                      <a:pt x="452955" y="598867"/>
                    </a:cubicBezTo>
                    <a:lnTo>
                      <a:pt x="452955" y="535110"/>
                    </a:lnTo>
                    <a:lnTo>
                      <a:pt x="420091" y="535110"/>
                    </a:lnTo>
                    <a:lnTo>
                      <a:pt x="420091" y="598867"/>
                    </a:lnTo>
                    <a:cubicBezTo>
                      <a:pt x="420091" y="604306"/>
                      <a:pt x="415626" y="608764"/>
                      <a:pt x="410177" y="608764"/>
                    </a:cubicBezTo>
                    <a:cubicBezTo>
                      <a:pt x="404730" y="608764"/>
                      <a:pt x="400265" y="604306"/>
                      <a:pt x="400265" y="598867"/>
                    </a:cubicBezTo>
                    <a:lnTo>
                      <a:pt x="400265" y="535110"/>
                    </a:lnTo>
                    <a:lnTo>
                      <a:pt x="367401" y="535110"/>
                    </a:lnTo>
                    <a:lnTo>
                      <a:pt x="367401" y="598867"/>
                    </a:lnTo>
                    <a:cubicBezTo>
                      <a:pt x="367401" y="604306"/>
                      <a:pt x="362935" y="608764"/>
                      <a:pt x="357488" y="608764"/>
                    </a:cubicBezTo>
                    <a:cubicBezTo>
                      <a:pt x="352040" y="608764"/>
                      <a:pt x="347665" y="604306"/>
                      <a:pt x="347665" y="598867"/>
                    </a:cubicBezTo>
                    <a:lnTo>
                      <a:pt x="347665" y="535110"/>
                    </a:lnTo>
                    <a:lnTo>
                      <a:pt x="314711" y="535110"/>
                    </a:lnTo>
                    <a:lnTo>
                      <a:pt x="314711" y="598867"/>
                    </a:lnTo>
                    <a:cubicBezTo>
                      <a:pt x="314711" y="604306"/>
                      <a:pt x="310245" y="608764"/>
                      <a:pt x="304798" y="608764"/>
                    </a:cubicBezTo>
                    <a:cubicBezTo>
                      <a:pt x="299351" y="608764"/>
                      <a:pt x="294974" y="604306"/>
                      <a:pt x="294974" y="598867"/>
                    </a:cubicBezTo>
                    <a:lnTo>
                      <a:pt x="294974" y="535110"/>
                    </a:lnTo>
                    <a:lnTo>
                      <a:pt x="262020" y="535110"/>
                    </a:lnTo>
                    <a:lnTo>
                      <a:pt x="262020" y="598867"/>
                    </a:lnTo>
                    <a:cubicBezTo>
                      <a:pt x="262020" y="604306"/>
                      <a:pt x="257645" y="608764"/>
                      <a:pt x="252197" y="608764"/>
                    </a:cubicBezTo>
                    <a:cubicBezTo>
                      <a:pt x="246750" y="608764"/>
                      <a:pt x="242284" y="604306"/>
                      <a:pt x="242284" y="598867"/>
                    </a:cubicBezTo>
                    <a:lnTo>
                      <a:pt x="242284" y="535110"/>
                    </a:lnTo>
                    <a:lnTo>
                      <a:pt x="209330" y="535110"/>
                    </a:lnTo>
                    <a:lnTo>
                      <a:pt x="209330" y="598867"/>
                    </a:lnTo>
                    <a:cubicBezTo>
                      <a:pt x="209330" y="604306"/>
                      <a:pt x="204955" y="608764"/>
                      <a:pt x="199508" y="608764"/>
                    </a:cubicBezTo>
                    <a:cubicBezTo>
                      <a:pt x="194059" y="608764"/>
                      <a:pt x="189594" y="604306"/>
                      <a:pt x="189594" y="598867"/>
                    </a:cubicBezTo>
                    <a:lnTo>
                      <a:pt x="189594" y="535110"/>
                    </a:lnTo>
                    <a:lnTo>
                      <a:pt x="156730" y="535110"/>
                    </a:lnTo>
                    <a:lnTo>
                      <a:pt x="156730" y="598867"/>
                    </a:lnTo>
                    <a:cubicBezTo>
                      <a:pt x="156730" y="604306"/>
                      <a:pt x="152265" y="608764"/>
                      <a:pt x="146818" y="608764"/>
                    </a:cubicBezTo>
                    <a:cubicBezTo>
                      <a:pt x="141369" y="608764"/>
                      <a:pt x="136904" y="604306"/>
                      <a:pt x="136904" y="598867"/>
                    </a:cubicBezTo>
                    <a:lnTo>
                      <a:pt x="136904" y="535110"/>
                    </a:lnTo>
                    <a:lnTo>
                      <a:pt x="115204" y="535110"/>
                    </a:lnTo>
                    <a:cubicBezTo>
                      <a:pt x="92341" y="535110"/>
                      <a:pt x="73766" y="516563"/>
                      <a:pt x="73766" y="493735"/>
                    </a:cubicBezTo>
                    <a:lnTo>
                      <a:pt x="73766" y="471977"/>
                    </a:lnTo>
                    <a:lnTo>
                      <a:pt x="9913" y="471977"/>
                    </a:lnTo>
                    <a:cubicBezTo>
                      <a:pt x="4465" y="471977"/>
                      <a:pt x="0" y="467609"/>
                      <a:pt x="0" y="462168"/>
                    </a:cubicBezTo>
                    <a:cubicBezTo>
                      <a:pt x="0" y="456729"/>
                      <a:pt x="4465" y="452271"/>
                      <a:pt x="9913" y="452271"/>
                    </a:cubicBezTo>
                    <a:lnTo>
                      <a:pt x="73766" y="452271"/>
                    </a:lnTo>
                    <a:lnTo>
                      <a:pt x="73766" y="419367"/>
                    </a:lnTo>
                    <a:lnTo>
                      <a:pt x="9913" y="419367"/>
                    </a:lnTo>
                    <a:cubicBezTo>
                      <a:pt x="4465" y="419367"/>
                      <a:pt x="0" y="414998"/>
                      <a:pt x="0" y="409559"/>
                    </a:cubicBezTo>
                    <a:cubicBezTo>
                      <a:pt x="0" y="404119"/>
                      <a:pt x="4465" y="399661"/>
                      <a:pt x="9913" y="399661"/>
                    </a:cubicBezTo>
                    <a:lnTo>
                      <a:pt x="73766" y="399661"/>
                    </a:lnTo>
                    <a:lnTo>
                      <a:pt x="73766" y="366846"/>
                    </a:lnTo>
                    <a:lnTo>
                      <a:pt x="9913" y="366846"/>
                    </a:lnTo>
                    <a:cubicBezTo>
                      <a:pt x="4465" y="366846"/>
                      <a:pt x="0" y="362387"/>
                      <a:pt x="0" y="356947"/>
                    </a:cubicBezTo>
                    <a:cubicBezTo>
                      <a:pt x="0" y="351508"/>
                      <a:pt x="4465" y="347139"/>
                      <a:pt x="9913" y="347139"/>
                    </a:cubicBezTo>
                    <a:lnTo>
                      <a:pt x="73766" y="347139"/>
                    </a:lnTo>
                    <a:lnTo>
                      <a:pt x="73766" y="314235"/>
                    </a:lnTo>
                    <a:lnTo>
                      <a:pt x="9913" y="314235"/>
                    </a:lnTo>
                    <a:cubicBezTo>
                      <a:pt x="4465" y="314235"/>
                      <a:pt x="0" y="309776"/>
                      <a:pt x="0" y="304337"/>
                    </a:cubicBezTo>
                    <a:cubicBezTo>
                      <a:pt x="0" y="298898"/>
                      <a:pt x="4465" y="294529"/>
                      <a:pt x="9913" y="294529"/>
                    </a:cubicBezTo>
                    <a:lnTo>
                      <a:pt x="73766" y="294529"/>
                    </a:lnTo>
                    <a:lnTo>
                      <a:pt x="73766" y="261625"/>
                    </a:lnTo>
                    <a:lnTo>
                      <a:pt x="9913" y="261625"/>
                    </a:lnTo>
                    <a:cubicBezTo>
                      <a:pt x="4465" y="261625"/>
                      <a:pt x="0" y="257255"/>
                      <a:pt x="0" y="251816"/>
                    </a:cubicBezTo>
                    <a:cubicBezTo>
                      <a:pt x="0" y="246287"/>
                      <a:pt x="4465" y="241919"/>
                      <a:pt x="9913" y="241919"/>
                    </a:cubicBezTo>
                    <a:lnTo>
                      <a:pt x="73766" y="241919"/>
                    </a:lnTo>
                    <a:lnTo>
                      <a:pt x="73766" y="209014"/>
                    </a:lnTo>
                    <a:lnTo>
                      <a:pt x="9913" y="209014"/>
                    </a:lnTo>
                    <a:cubicBezTo>
                      <a:pt x="4465" y="209014"/>
                      <a:pt x="0" y="204646"/>
                      <a:pt x="0" y="199205"/>
                    </a:cubicBezTo>
                    <a:cubicBezTo>
                      <a:pt x="0" y="193766"/>
                      <a:pt x="4465" y="189308"/>
                      <a:pt x="9913" y="189308"/>
                    </a:cubicBezTo>
                    <a:lnTo>
                      <a:pt x="73766" y="189308"/>
                    </a:lnTo>
                    <a:lnTo>
                      <a:pt x="73766" y="156493"/>
                    </a:lnTo>
                    <a:lnTo>
                      <a:pt x="9913" y="156493"/>
                    </a:lnTo>
                    <a:cubicBezTo>
                      <a:pt x="4465" y="156493"/>
                      <a:pt x="0" y="152035"/>
                      <a:pt x="0" y="146596"/>
                    </a:cubicBezTo>
                    <a:cubicBezTo>
                      <a:pt x="0" y="141156"/>
                      <a:pt x="4465" y="136698"/>
                      <a:pt x="9913" y="136698"/>
                    </a:cubicBezTo>
                    <a:lnTo>
                      <a:pt x="73766" y="136698"/>
                    </a:lnTo>
                    <a:lnTo>
                      <a:pt x="73766" y="115029"/>
                    </a:lnTo>
                    <a:cubicBezTo>
                      <a:pt x="73766" y="92201"/>
                      <a:pt x="92341" y="73654"/>
                      <a:pt x="115204" y="73654"/>
                    </a:cubicBezTo>
                    <a:lnTo>
                      <a:pt x="136904" y="73654"/>
                    </a:lnTo>
                    <a:lnTo>
                      <a:pt x="136904" y="9897"/>
                    </a:lnTo>
                    <a:cubicBezTo>
                      <a:pt x="136904" y="4458"/>
                      <a:pt x="141369" y="0"/>
                      <a:pt x="14681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文本框 26"/>
              <p:cNvSpPr txBox="1"/>
              <p:nvPr/>
            </p:nvSpPr>
            <p:spPr>
              <a:xfrm>
                <a:off x="8815388" y="3949526"/>
                <a:ext cx="1959750" cy="6756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en-US" altLang="zh-CN" dirty="0">
                    <a:solidFill>
                      <a:schemeClr val="tx1"/>
                    </a:solidFill>
                    <a:latin typeface="+mn-ea"/>
                    <a:ea typeface="+mn-ea"/>
                  </a:rPr>
                  <a:t>AI</a:t>
                </a:r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质检系统</a:t>
                </a:r>
                <a:br>
                  <a:rPr lang="en-US" altLang="zh-CN" dirty="0">
                    <a:solidFill>
                      <a:schemeClr val="tx1"/>
                    </a:solidFill>
                    <a:latin typeface="+mn-ea"/>
                    <a:ea typeface="+mn-ea"/>
                  </a:rPr>
                </a:br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需要</a:t>
                </a:r>
                <a:r>
                  <a:rPr lang="en-US" altLang="zh-CN" sz="2000" dirty="0">
                    <a:solidFill>
                      <a:schemeClr val="accent1"/>
                    </a:solidFill>
                  </a:rPr>
                  <a:t>1000</a:t>
                </a:r>
                <a:r>
                  <a:rPr lang="zh-CN" altLang="en-US" dirty="0">
                    <a:solidFill>
                      <a:schemeClr val="accent1"/>
                    </a:solidFill>
                    <a:latin typeface="+mn-ea"/>
                    <a:ea typeface="+mn-ea"/>
                  </a:rPr>
                  <a:t>种</a:t>
                </a:r>
                <a:endParaRPr lang="zh-CN" altLang="en-US" sz="2000" dirty="0">
                  <a:solidFill>
                    <a:schemeClr val="accent1"/>
                  </a:solidFill>
                  <a:latin typeface="+mn-ea"/>
                  <a:ea typeface="+mn-ea"/>
                </a:endParaRPr>
              </a:p>
            </p:txBody>
          </p:sp>
        </p:grpSp>
        <p:sp>
          <p:nvSpPr>
            <p:cNvPr id="11" name="乘号 10"/>
            <p:cNvSpPr/>
            <p:nvPr/>
          </p:nvSpPr>
          <p:spPr>
            <a:xfrm>
              <a:off x="5816082" y="5183904"/>
              <a:ext cx="441764" cy="441764"/>
            </a:xfrm>
            <a:prstGeom prst="mathMultiply">
              <a:avLst>
                <a:gd name="adj1" fmla="val 699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grpSp>
          <p:nvGrpSpPr>
            <p:cNvPr id="12" name="组合 11"/>
            <p:cNvGrpSpPr/>
            <p:nvPr/>
          </p:nvGrpSpPr>
          <p:grpSpPr>
            <a:xfrm>
              <a:off x="4185709" y="4868228"/>
              <a:ext cx="1128138" cy="1128138"/>
              <a:chOff x="4185709" y="5084762"/>
              <a:chExt cx="1128138" cy="1128138"/>
            </a:xfrm>
          </p:grpSpPr>
          <p:sp>
            <p:nvSpPr>
              <p:cNvPr id="23" name="椭圆 22"/>
              <p:cNvSpPr/>
              <p:nvPr/>
            </p:nvSpPr>
            <p:spPr>
              <a:xfrm>
                <a:off x="4185709" y="5084762"/>
                <a:ext cx="1128138" cy="1128138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15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1"/>
                <a:tileRect/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4322239" y="5430241"/>
                <a:ext cx="855078" cy="387706"/>
              </a:xfrm>
              <a:custGeom>
                <a:avLst/>
                <a:gdLst/>
                <a:ahLst/>
                <a:cxnLst/>
                <a:rect l="l" t="t" r="r" b="b"/>
                <a:pathLst>
                  <a:path w="855078" h="387706">
                    <a:moveTo>
                      <a:pt x="160029" y="73705"/>
                    </a:moveTo>
                    <a:cubicBezTo>
                      <a:pt x="150269" y="94907"/>
                      <a:pt x="140341" y="115100"/>
                      <a:pt x="130244" y="134284"/>
                    </a:cubicBezTo>
                    <a:lnTo>
                      <a:pt x="72190" y="227171"/>
                    </a:lnTo>
                    <a:lnTo>
                      <a:pt x="159019" y="227171"/>
                    </a:lnTo>
                    <a:lnTo>
                      <a:pt x="159019" y="150943"/>
                    </a:lnTo>
                    <a:cubicBezTo>
                      <a:pt x="159019" y="141856"/>
                      <a:pt x="159356" y="128899"/>
                      <a:pt x="160029" y="112071"/>
                    </a:cubicBezTo>
                    <a:lnTo>
                      <a:pt x="162048" y="73705"/>
                    </a:lnTo>
                    <a:close/>
                    <a:moveTo>
                      <a:pt x="728872" y="57550"/>
                    </a:moveTo>
                    <a:cubicBezTo>
                      <a:pt x="711034" y="57550"/>
                      <a:pt x="697572" y="66974"/>
                      <a:pt x="688486" y="85820"/>
                    </a:cubicBezTo>
                    <a:cubicBezTo>
                      <a:pt x="677716" y="107696"/>
                      <a:pt x="672331" y="143202"/>
                      <a:pt x="672331" y="192339"/>
                    </a:cubicBezTo>
                    <a:cubicBezTo>
                      <a:pt x="672331" y="241811"/>
                      <a:pt x="677716" y="277822"/>
                      <a:pt x="688486" y="300371"/>
                    </a:cubicBezTo>
                    <a:cubicBezTo>
                      <a:pt x="697909" y="319891"/>
                      <a:pt x="711371" y="329651"/>
                      <a:pt x="728872" y="329651"/>
                    </a:cubicBezTo>
                    <a:cubicBezTo>
                      <a:pt x="746372" y="329651"/>
                      <a:pt x="759666" y="319891"/>
                      <a:pt x="768753" y="300371"/>
                    </a:cubicBezTo>
                    <a:cubicBezTo>
                      <a:pt x="779522" y="277822"/>
                      <a:pt x="784907" y="241811"/>
                      <a:pt x="784907" y="192339"/>
                    </a:cubicBezTo>
                    <a:cubicBezTo>
                      <a:pt x="784907" y="143202"/>
                      <a:pt x="779522" y="107696"/>
                      <a:pt x="768753" y="85820"/>
                    </a:cubicBezTo>
                    <a:cubicBezTo>
                      <a:pt x="759666" y="66974"/>
                      <a:pt x="746372" y="57550"/>
                      <a:pt x="728872" y="57550"/>
                    </a:cubicBezTo>
                    <a:close/>
                    <a:moveTo>
                      <a:pt x="433597" y="57550"/>
                    </a:moveTo>
                    <a:cubicBezTo>
                      <a:pt x="415759" y="57550"/>
                      <a:pt x="402297" y="66974"/>
                      <a:pt x="393211" y="85820"/>
                    </a:cubicBezTo>
                    <a:cubicBezTo>
                      <a:pt x="382441" y="107696"/>
                      <a:pt x="377056" y="143202"/>
                      <a:pt x="377056" y="192339"/>
                    </a:cubicBezTo>
                    <a:cubicBezTo>
                      <a:pt x="377056" y="241811"/>
                      <a:pt x="382441" y="277822"/>
                      <a:pt x="393211" y="300371"/>
                    </a:cubicBezTo>
                    <a:cubicBezTo>
                      <a:pt x="402634" y="319891"/>
                      <a:pt x="416096" y="329651"/>
                      <a:pt x="433597" y="329651"/>
                    </a:cubicBezTo>
                    <a:cubicBezTo>
                      <a:pt x="451097" y="329651"/>
                      <a:pt x="464391" y="319891"/>
                      <a:pt x="473478" y="300371"/>
                    </a:cubicBezTo>
                    <a:cubicBezTo>
                      <a:pt x="484247" y="277822"/>
                      <a:pt x="489632" y="241811"/>
                      <a:pt x="489632" y="192339"/>
                    </a:cubicBezTo>
                    <a:cubicBezTo>
                      <a:pt x="489632" y="143202"/>
                      <a:pt x="484247" y="107696"/>
                      <a:pt x="473478" y="85820"/>
                    </a:cubicBezTo>
                    <a:cubicBezTo>
                      <a:pt x="464391" y="66974"/>
                      <a:pt x="451097" y="57550"/>
                      <a:pt x="433597" y="57550"/>
                    </a:cubicBezTo>
                    <a:close/>
                    <a:moveTo>
                      <a:pt x="139331" y="7068"/>
                    </a:moveTo>
                    <a:lnTo>
                      <a:pt x="228180" y="7068"/>
                    </a:lnTo>
                    <a:lnTo>
                      <a:pt x="228180" y="227171"/>
                    </a:lnTo>
                    <a:lnTo>
                      <a:pt x="272605" y="227171"/>
                    </a:lnTo>
                    <a:lnTo>
                      <a:pt x="272605" y="283712"/>
                    </a:lnTo>
                    <a:lnTo>
                      <a:pt x="228180" y="283712"/>
                    </a:lnTo>
                    <a:lnTo>
                      <a:pt x="228180" y="380638"/>
                    </a:lnTo>
                    <a:lnTo>
                      <a:pt x="159019" y="380638"/>
                    </a:lnTo>
                    <a:lnTo>
                      <a:pt x="159019" y="283712"/>
                    </a:lnTo>
                    <a:lnTo>
                      <a:pt x="0" y="283712"/>
                    </a:lnTo>
                    <a:lnTo>
                      <a:pt x="0" y="233229"/>
                    </a:lnTo>
                    <a:close/>
                    <a:moveTo>
                      <a:pt x="728872" y="0"/>
                    </a:moveTo>
                    <a:cubicBezTo>
                      <a:pt x="767911" y="0"/>
                      <a:pt x="798369" y="15986"/>
                      <a:pt x="820245" y="47959"/>
                    </a:cubicBezTo>
                    <a:cubicBezTo>
                      <a:pt x="843467" y="81277"/>
                      <a:pt x="855078" y="129404"/>
                      <a:pt x="855078" y="192339"/>
                    </a:cubicBezTo>
                    <a:cubicBezTo>
                      <a:pt x="855078" y="255273"/>
                      <a:pt x="843467" y="303905"/>
                      <a:pt x="820245" y="338233"/>
                    </a:cubicBezTo>
                    <a:cubicBezTo>
                      <a:pt x="798033" y="371215"/>
                      <a:pt x="767575" y="387706"/>
                      <a:pt x="728872" y="387706"/>
                    </a:cubicBezTo>
                    <a:cubicBezTo>
                      <a:pt x="689832" y="387706"/>
                      <a:pt x="659206" y="371215"/>
                      <a:pt x="636993" y="338233"/>
                    </a:cubicBezTo>
                    <a:cubicBezTo>
                      <a:pt x="613771" y="303905"/>
                      <a:pt x="602160" y="255273"/>
                      <a:pt x="602160" y="192339"/>
                    </a:cubicBezTo>
                    <a:cubicBezTo>
                      <a:pt x="602160" y="129404"/>
                      <a:pt x="613771" y="81109"/>
                      <a:pt x="636993" y="47454"/>
                    </a:cubicBezTo>
                    <a:cubicBezTo>
                      <a:pt x="658869" y="15818"/>
                      <a:pt x="689495" y="0"/>
                      <a:pt x="728872" y="0"/>
                    </a:cubicBezTo>
                    <a:close/>
                    <a:moveTo>
                      <a:pt x="433597" y="0"/>
                    </a:moveTo>
                    <a:cubicBezTo>
                      <a:pt x="472636" y="0"/>
                      <a:pt x="503094" y="15986"/>
                      <a:pt x="524970" y="47959"/>
                    </a:cubicBezTo>
                    <a:cubicBezTo>
                      <a:pt x="548192" y="81277"/>
                      <a:pt x="559803" y="129404"/>
                      <a:pt x="559803" y="192339"/>
                    </a:cubicBezTo>
                    <a:cubicBezTo>
                      <a:pt x="559803" y="255273"/>
                      <a:pt x="548192" y="303905"/>
                      <a:pt x="524970" y="338233"/>
                    </a:cubicBezTo>
                    <a:cubicBezTo>
                      <a:pt x="502758" y="371215"/>
                      <a:pt x="472300" y="387706"/>
                      <a:pt x="433597" y="387706"/>
                    </a:cubicBezTo>
                    <a:cubicBezTo>
                      <a:pt x="394557" y="387706"/>
                      <a:pt x="363931" y="371215"/>
                      <a:pt x="341718" y="338233"/>
                    </a:cubicBezTo>
                    <a:cubicBezTo>
                      <a:pt x="318496" y="303905"/>
                      <a:pt x="306886" y="255273"/>
                      <a:pt x="306886" y="192339"/>
                    </a:cubicBezTo>
                    <a:cubicBezTo>
                      <a:pt x="306886" y="129404"/>
                      <a:pt x="318496" y="81109"/>
                      <a:pt x="341718" y="47454"/>
                    </a:cubicBezTo>
                    <a:cubicBezTo>
                      <a:pt x="363594" y="15818"/>
                      <a:pt x="394220" y="0"/>
                      <a:pt x="43359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>
                <a:defPPr>
                  <a:defRPr lang="zh-CN"/>
                </a:defPPr>
                <a:lvl1pPr>
                  <a:lnSpc>
                    <a:spcPct val="110000"/>
                  </a:lnSpc>
                  <a:defRPr sz="1500">
                    <a:gradFill flip="none" rotWithShape="1">
                      <a:gsLst>
                        <a:gs pos="100000">
                          <a:schemeClr val="bg1"/>
                        </a:gs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4800000" scaled="0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algn="ctr"/>
                <a:endParaRPr lang="zh-CN" altLang="en-US" sz="4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文本框 24"/>
              <p:cNvSpPr txBox="1"/>
              <p:nvPr/>
            </p:nvSpPr>
            <p:spPr>
              <a:xfrm>
                <a:off x="4249644" y="5837887"/>
                <a:ext cx="1055206" cy="3683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供应商</a:t>
                </a: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6446309" y="4868228"/>
              <a:ext cx="1431164" cy="1139904"/>
              <a:chOff x="6446309" y="5084762"/>
              <a:chExt cx="1431164" cy="1139904"/>
            </a:xfrm>
          </p:grpSpPr>
          <p:sp>
            <p:nvSpPr>
              <p:cNvPr id="20" name="椭圆 19"/>
              <p:cNvSpPr/>
              <p:nvPr/>
            </p:nvSpPr>
            <p:spPr>
              <a:xfrm>
                <a:off x="6541559" y="5084762"/>
                <a:ext cx="1128138" cy="1128138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15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1"/>
                <a:tileRect/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文本框 20"/>
              <p:cNvSpPr txBox="1"/>
              <p:nvPr/>
            </p:nvSpPr>
            <p:spPr>
              <a:xfrm>
                <a:off x="6835570" y="5440429"/>
                <a:ext cx="540115" cy="380638"/>
              </a:xfrm>
              <a:custGeom>
                <a:avLst/>
                <a:gdLst/>
                <a:ahLst/>
                <a:cxnLst/>
                <a:rect l="l" t="t" r="r" b="b"/>
                <a:pathLst>
                  <a:path w="540115" h="380638">
                    <a:moveTo>
                      <a:pt x="323040" y="0"/>
                    </a:moveTo>
                    <a:lnTo>
                      <a:pt x="522951" y="0"/>
                    </a:lnTo>
                    <a:lnTo>
                      <a:pt x="522951" y="62093"/>
                    </a:lnTo>
                    <a:lnTo>
                      <a:pt x="387153" y="62093"/>
                    </a:lnTo>
                    <a:lnTo>
                      <a:pt x="380085" y="141351"/>
                    </a:lnTo>
                    <a:cubicBezTo>
                      <a:pt x="394893" y="134283"/>
                      <a:pt x="409870" y="130749"/>
                      <a:pt x="425014" y="130749"/>
                    </a:cubicBezTo>
                    <a:cubicBezTo>
                      <a:pt x="458333" y="130749"/>
                      <a:pt x="485425" y="140341"/>
                      <a:pt x="506291" y="159524"/>
                    </a:cubicBezTo>
                    <a:cubicBezTo>
                      <a:pt x="528840" y="180727"/>
                      <a:pt x="540115" y="210680"/>
                      <a:pt x="540115" y="249383"/>
                    </a:cubicBezTo>
                    <a:cubicBezTo>
                      <a:pt x="540115" y="289433"/>
                      <a:pt x="526989" y="321742"/>
                      <a:pt x="500738" y="346310"/>
                    </a:cubicBezTo>
                    <a:cubicBezTo>
                      <a:pt x="476170" y="369195"/>
                      <a:pt x="445712" y="380638"/>
                      <a:pt x="409365" y="380638"/>
                    </a:cubicBezTo>
                    <a:cubicBezTo>
                      <a:pt x="381768" y="380638"/>
                      <a:pt x="356863" y="375590"/>
                      <a:pt x="334651" y="365493"/>
                    </a:cubicBezTo>
                    <a:cubicBezTo>
                      <a:pt x="315804" y="357079"/>
                      <a:pt x="298640" y="345132"/>
                      <a:pt x="283159" y="329650"/>
                    </a:cubicBezTo>
                    <a:lnTo>
                      <a:pt x="317487" y="282197"/>
                    </a:lnTo>
                    <a:cubicBezTo>
                      <a:pt x="329603" y="293976"/>
                      <a:pt x="341550" y="302895"/>
                      <a:pt x="353329" y="308953"/>
                    </a:cubicBezTo>
                    <a:cubicBezTo>
                      <a:pt x="368138" y="316357"/>
                      <a:pt x="383619" y="320059"/>
                      <a:pt x="399773" y="320059"/>
                    </a:cubicBezTo>
                    <a:cubicBezTo>
                      <a:pt x="443861" y="320059"/>
                      <a:pt x="465905" y="297173"/>
                      <a:pt x="465905" y="251403"/>
                    </a:cubicBezTo>
                    <a:cubicBezTo>
                      <a:pt x="465905" y="206305"/>
                      <a:pt x="444871" y="183756"/>
                      <a:pt x="402802" y="183756"/>
                    </a:cubicBezTo>
                    <a:cubicBezTo>
                      <a:pt x="385638" y="183756"/>
                      <a:pt x="366960" y="190319"/>
                      <a:pt x="346767" y="203444"/>
                    </a:cubicBezTo>
                    <a:lnTo>
                      <a:pt x="312943" y="181232"/>
                    </a:lnTo>
                    <a:close/>
                    <a:moveTo>
                      <a:pt x="0" y="0"/>
                    </a:moveTo>
                    <a:lnTo>
                      <a:pt x="248373" y="0"/>
                    </a:lnTo>
                    <a:lnTo>
                      <a:pt x="248373" y="44929"/>
                    </a:lnTo>
                    <a:cubicBezTo>
                      <a:pt x="207651" y="94739"/>
                      <a:pt x="180222" y="144380"/>
                      <a:pt x="166087" y="193853"/>
                    </a:cubicBezTo>
                    <a:cubicBezTo>
                      <a:pt x="159019" y="217748"/>
                      <a:pt x="153803" y="244840"/>
                      <a:pt x="150437" y="275129"/>
                    </a:cubicBezTo>
                    <a:lnTo>
                      <a:pt x="146399" y="321573"/>
                    </a:lnTo>
                    <a:cubicBezTo>
                      <a:pt x="145389" y="336381"/>
                      <a:pt x="144548" y="353714"/>
                      <a:pt x="143875" y="373570"/>
                    </a:cubicBezTo>
                    <a:lnTo>
                      <a:pt x="68656" y="373570"/>
                    </a:lnTo>
                    <a:cubicBezTo>
                      <a:pt x="70338" y="339915"/>
                      <a:pt x="73031" y="310131"/>
                      <a:pt x="76733" y="284216"/>
                    </a:cubicBezTo>
                    <a:cubicBezTo>
                      <a:pt x="81108" y="255946"/>
                      <a:pt x="86998" y="230032"/>
                      <a:pt x="94402" y="206473"/>
                    </a:cubicBezTo>
                    <a:cubicBezTo>
                      <a:pt x="108873" y="158347"/>
                      <a:pt x="133442" y="110220"/>
                      <a:pt x="168106" y="62093"/>
                    </a:cubicBezTo>
                    <a:lnTo>
                      <a:pt x="0" y="6209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>
                <a:defPPr>
                  <a:defRPr lang="zh-CN"/>
                </a:defPPr>
                <a:lvl1pPr>
                  <a:lnSpc>
                    <a:spcPct val="110000"/>
                  </a:lnSpc>
                  <a:defRPr sz="1500">
                    <a:gradFill flip="none" rotWithShape="1">
                      <a:gsLst>
                        <a:gs pos="100000">
                          <a:schemeClr val="bg1"/>
                        </a:gs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4800000" scaled="0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algn="ctr"/>
                <a:endParaRPr lang="zh-CN" altLang="en-US" sz="4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文本框 21"/>
              <p:cNvSpPr txBox="1"/>
              <p:nvPr/>
            </p:nvSpPr>
            <p:spPr>
              <a:xfrm>
                <a:off x="6446309" y="5856366"/>
                <a:ext cx="1431164" cy="3683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产线*制程</a:t>
                </a:r>
              </a:p>
            </p:txBody>
          </p:sp>
        </p:grpSp>
        <p:sp>
          <p:nvSpPr>
            <p:cNvPr id="14" name="等号 13"/>
            <p:cNvSpPr/>
            <p:nvPr/>
          </p:nvSpPr>
          <p:spPr>
            <a:xfrm>
              <a:off x="7982630" y="5183904"/>
              <a:ext cx="441764" cy="441764"/>
            </a:xfrm>
            <a:prstGeom prst="mathEqual">
              <a:avLst>
                <a:gd name="adj1" fmla="val 7349"/>
                <a:gd name="adj2" fmla="val 3332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8644676" y="4868228"/>
              <a:ext cx="2097736" cy="1132349"/>
              <a:chOff x="8644676" y="5084762"/>
              <a:chExt cx="2097736" cy="1132349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8802159" y="5084762"/>
                <a:ext cx="1128138" cy="1128138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15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0" scaled="1"/>
                <a:tileRect/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8644676" y="5421720"/>
                <a:ext cx="1443104" cy="387706"/>
              </a:xfrm>
              <a:custGeom>
                <a:avLst/>
                <a:gdLst/>
                <a:ahLst/>
                <a:cxnLst/>
                <a:rect l="l" t="t" r="r" b="b"/>
                <a:pathLst>
                  <a:path w="1443104" h="387706">
                    <a:moveTo>
                      <a:pt x="1316897" y="57550"/>
                    </a:moveTo>
                    <a:cubicBezTo>
                      <a:pt x="1299060" y="57550"/>
                      <a:pt x="1285598" y="66974"/>
                      <a:pt x="1276511" y="85820"/>
                    </a:cubicBezTo>
                    <a:cubicBezTo>
                      <a:pt x="1265742" y="107696"/>
                      <a:pt x="1260357" y="143202"/>
                      <a:pt x="1260357" y="192339"/>
                    </a:cubicBezTo>
                    <a:cubicBezTo>
                      <a:pt x="1260357" y="241811"/>
                      <a:pt x="1265742" y="277822"/>
                      <a:pt x="1276511" y="300371"/>
                    </a:cubicBezTo>
                    <a:cubicBezTo>
                      <a:pt x="1285935" y="319891"/>
                      <a:pt x="1299397" y="329651"/>
                      <a:pt x="1316897" y="329651"/>
                    </a:cubicBezTo>
                    <a:cubicBezTo>
                      <a:pt x="1334398" y="329651"/>
                      <a:pt x="1347692" y="319891"/>
                      <a:pt x="1356778" y="300371"/>
                    </a:cubicBezTo>
                    <a:cubicBezTo>
                      <a:pt x="1367548" y="277822"/>
                      <a:pt x="1372933" y="241811"/>
                      <a:pt x="1372933" y="192339"/>
                    </a:cubicBezTo>
                    <a:cubicBezTo>
                      <a:pt x="1372933" y="143202"/>
                      <a:pt x="1367548" y="107696"/>
                      <a:pt x="1356778" y="85820"/>
                    </a:cubicBezTo>
                    <a:cubicBezTo>
                      <a:pt x="1347692" y="66974"/>
                      <a:pt x="1334398" y="57550"/>
                      <a:pt x="1316897" y="57550"/>
                    </a:cubicBezTo>
                    <a:close/>
                    <a:moveTo>
                      <a:pt x="1021622" y="57550"/>
                    </a:moveTo>
                    <a:cubicBezTo>
                      <a:pt x="1003785" y="57550"/>
                      <a:pt x="990323" y="66974"/>
                      <a:pt x="981236" y="85820"/>
                    </a:cubicBezTo>
                    <a:cubicBezTo>
                      <a:pt x="970467" y="107696"/>
                      <a:pt x="965082" y="143202"/>
                      <a:pt x="965082" y="192339"/>
                    </a:cubicBezTo>
                    <a:cubicBezTo>
                      <a:pt x="965082" y="241811"/>
                      <a:pt x="970467" y="277822"/>
                      <a:pt x="981236" y="300371"/>
                    </a:cubicBezTo>
                    <a:cubicBezTo>
                      <a:pt x="990660" y="319891"/>
                      <a:pt x="1004122" y="329651"/>
                      <a:pt x="1021622" y="329651"/>
                    </a:cubicBezTo>
                    <a:cubicBezTo>
                      <a:pt x="1039123" y="329651"/>
                      <a:pt x="1052417" y="319891"/>
                      <a:pt x="1061504" y="300371"/>
                    </a:cubicBezTo>
                    <a:cubicBezTo>
                      <a:pt x="1072273" y="277822"/>
                      <a:pt x="1077658" y="241811"/>
                      <a:pt x="1077658" y="192339"/>
                    </a:cubicBezTo>
                    <a:cubicBezTo>
                      <a:pt x="1077658" y="143202"/>
                      <a:pt x="1072273" y="107696"/>
                      <a:pt x="1061504" y="85820"/>
                    </a:cubicBezTo>
                    <a:cubicBezTo>
                      <a:pt x="1052417" y="66974"/>
                      <a:pt x="1039123" y="57550"/>
                      <a:pt x="1021622" y="57550"/>
                    </a:cubicBezTo>
                    <a:close/>
                    <a:moveTo>
                      <a:pt x="726347" y="57550"/>
                    </a:moveTo>
                    <a:cubicBezTo>
                      <a:pt x="708510" y="57550"/>
                      <a:pt x="695048" y="66974"/>
                      <a:pt x="685961" y="85820"/>
                    </a:cubicBezTo>
                    <a:cubicBezTo>
                      <a:pt x="675192" y="107696"/>
                      <a:pt x="669807" y="143202"/>
                      <a:pt x="669807" y="192339"/>
                    </a:cubicBezTo>
                    <a:cubicBezTo>
                      <a:pt x="669807" y="241811"/>
                      <a:pt x="675192" y="277822"/>
                      <a:pt x="685961" y="300371"/>
                    </a:cubicBezTo>
                    <a:cubicBezTo>
                      <a:pt x="695385" y="319891"/>
                      <a:pt x="708847" y="329651"/>
                      <a:pt x="726347" y="329651"/>
                    </a:cubicBezTo>
                    <a:cubicBezTo>
                      <a:pt x="743848" y="329651"/>
                      <a:pt x="757142" y="319891"/>
                      <a:pt x="766228" y="300371"/>
                    </a:cubicBezTo>
                    <a:cubicBezTo>
                      <a:pt x="776998" y="277822"/>
                      <a:pt x="782383" y="241811"/>
                      <a:pt x="782383" y="192339"/>
                    </a:cubicBezTo>
                    <a:cubicBezTo>
                      <a:pt x="782383" y="143202"/>
                      <a:pt x="776998" y="107696"/>
                      <a:pt x="766228" y="85820"/>
                    </a:cubicBezTo>
                    <a:cubicBezTo>
                      <a:pt x="757142" y="66974"/>
                      <a:pt x="743848" y="57550"/>
                      <a:pt x="726347" y="57550"/>
                    </a:cubicBezTo>
                    <a:close/>
                    <a:moveTo>
                      <a:pt x="431072" y="57550"/>
                    </a:moveTo>
                    <a:cubicBezTo>
                      <a:pt x="413235" y="57550"/>
                      <a:pt x="399773" y="66974"/>
                      <a:pt x="390686" y="85820"/>
                    </a:cubicBezTo>
                    <a:cubicBezTo>
                      <a:pt x="379917" y="107696"/>
                      <a:pt x="374532" y="143202"/>
                      <a:pt x="374532" y="192339"/>
                    </a:cubicBezTo>
                    <a:cubicBezTo>
                      <a:pt x="374532" y="241811"/>
                      <a:pt x="379917" y="277822"/>
                      <a:pt x="390686" y="300371"/>
                    </a:cubicBezTo>
                    <a:cubicBezTo>
                      <a:pt x="400110" y="319891"/>
                      <a:pt x="413572" y="329651"/>
                      <a:pt x="431072" y="329651"/>
                    </a:cubicBezTo>
                    <a:cubicBezTo>
                      <a:pt x="448573" y="329651"/>
                      <a:pt x="461867" y="319891"/>
                      <a:pt x="470954" y="300371"/>
                    </a:cubicBezTo>
                    <a:cubicBezTo>
                      <a:pt x="481723" y="277822"/>
                      <a:pt x="487108" y="241811"/>
                      <a:pt x="487108" y="192339"/>
                    </a:cubicBezTo>
                    <a:cubicBezTo>
                      <a:pt x="487108" y="143202"/>
                      <a:pt x="481723" y="107696"/>
                      <a:pt x="470954" y="85820"/>
                    </a:cubicBezTo>
                    <a:cubicBezTo>
                      <a:pt x="461867" y="66974"/>
                      <a:pt x="448573" y="57550"/>
                      <a:pt x="431072" y="57550"/>
                    </a:cubicBezTo>
                    <a:close/>
                    <a:moveTo>
                      <a:pt x="1316897" y="0"/>
                    </a:moveTo>
                    <a:cubicBezTo>
                      <a:pt x="1355937" y="0"/>
                      <a:pt x="1386395" y="15986"/>
                      <a:pt x="1408270" y="47959"/>
                    </a:cubicBezTo>
                    <a:cubicBezTo>
                      <a:pt x="1431492" y="81277"/>
                      <a:pt x="1443104" y="129404"/>
                      <a:pt x="1443104" y="192339"/>
                    </a:cubicBezTo>
                    <a:cubicBezTo>
                      <a:pt x="1443104" y="255273"/>
                      <a:pt x="1431492" y="303905"/>
                      <a:pt x="1408270" y="338233"/>
                    </a:cubicBezTo>
                    <a:cubicBezTo>
                      <a:pt x="1386058" y="371215"/>
                      <a:pt x="1355600" y="387706"/>
                      <a:pt x="1316897" y="387706"/>
                    </a:cubicBezTo>
                    <a:cubicBezTo>
                      <a:pt x="1277858" y="387706"/>
                      <a:pt x="1247232" y="371215"/>
                      <a:pt x="1225019" y="338233"/>
                    </a:cubicBezTo>
                    <a:cubicBezTo>
                      <a:pt x="1201797" y="303905"/>
                      <a:pt x="1190186" y="255273"/>
                      <a:pt x="1190186" y="192339"/>
                    </a:cubicBezTo>
                    <a:cubicBezTo>
                      <a:pt x="1190186" y="129404"/>
                      <a:pt x="1201797" y="81109"/>
                      <a:pt x="1225019" y="47454"/>
                    </a:cubicBezTo>
                    <a:cubicBezTo>
                      <a:pt x="1246895" y="15818"/>
                      <a:pt x="1277521" y="0"/>
                      <a:pt x="1316897" y="0"/>
                    </a:cubicBezTo>
                    <a:close/>
                    <a:moveTo>
                      <a:pt x="1021622" y="0"/>
                    </a:moveTo>
                    <a:cubicBezTo>
                      <a:pt x="1060662" y="0"/>
                      <a:pt x="1091120" y="15986"/>
                      <a:pt x="1112996" y="47959"/>
                    </a:cubicBezTo>
                    <a:cubicBezTo>
                      <a:pt x="1136218" y="81277"/>
                      <a:pt x="1147829" y="129404"/>
                      <a:pt x="1147829" y="192339"/>
                    </a:cubicBezTo>
                    <a:cubicBezTo>
                      <a:pt x="1147829" y="255273"/>
                      <a:pt x="1136218" y="303905"/>
                      <a:pt x="1112996" y="338233"/>
                    </a:cubicBezTo>
                    <a:cubicBezTo>
                      <a:pt x="1090784" y="371215"/>
                      <a:pt x="1060326" y="387706"/>
                      <a:pt x="1021622" y="387706"/>
                    </a:cubicBezTo>
                    <a:cubicBezTo>
                      <a:pt x="982582" y="387706"/>
                      <a:pt x="951957" y="371215"/>
                      <a:pt x="929744" y="338233"/>
                    </a:cubicBezTo>
                    <a:cubicBezTo>
                      <a:pt x="906522" y="303905"/>
                      <a:pt x="894911" y="255273"/>
                      <a:pt x="894911" y="192339"/>
                    </a:cubicBezTo>
                    <a:cubicBezTo>
                      <a:pt x="894911" y="129404"/>
                      <a:pt x="906522" y="81109"/>
                      <a:pt x="929744" y="47454"/>
                    </a:cubicBezTo>
                    <a:cubicBezTo>
                      <a:pt x="951620" y="15818"/>
                      <a:pt x="982246" y="0"/>
                      <a:pt x="1021622" y="0"/>
                    </a:cubicBezTo>
                    <a:close/>
                    <a:moveTo>
                      <a:pt x="726347" y="0"/>
                    </a:moveTo>
                    <a:cubicBezTo>
                      <a:pt x="765387" y="0"/>
                      <a:pt x="795845" y="15986"/>
                      <a:pt x="817721" y="47959"/>
                    </a:cubicBezTo>
                    <a:cubicBezTo>
                      <a:pt x="840943" y="81277"/>
                      <a:pt x="852554" y="129404"/>
                      <a:pt x="852554" y="192339"/>
                    </a:cubicBezTo>
                    <a:cubicBezTo>
                      <a:pt x="852554" y="255273"/>
                      <a:pt x="840943" y="303905"/>
                      <a:pt x="817721" y="338233"/>
                    </a:cubicBezTo>
                    <a:cubicBezTo>
                      <a:pt x="795508" y="371215"/>
                      <a:pt x="765050" y="387706"/>
                      <a:pt x="726347" y="387706"/>
                    </a:cubicBezTo>
                    <a:cubicBezTo>
                      <a:pt x="687308" y="387706"/>
                      <a:pt x="656682" y="371215"/>
                      <a:pt x="634469" y="338233"/>
                    </a:cubicBezTo>
                    <a:cubicBezTo>
                      <a:pt x="611247" y="303905"/>
                      <a:pt x="599636" y="255273"/>
                      <a:pt x="599636" y="192339"/>
                    </a:cubicBezTo>
                    <a:cubicBezTo>
                      <a:pt x="599636" y="129404"/>
                      <a:pt x="611247" y="81109"/>
                      <a:pt x="634469" y="47454"/>
                    </a:cubicBezTo>
                    <a:cubicBezTo>
                      <a:pt x="656345" y="15818"/>
                      <a:pt x="686971" y="0"/>
                      <a:pt x="726347" y="0"/>
                    </a:cubicBezTo>
                    <a:close/>
                    <a:moveTo>
                      <a:pt x="431072" y="0"/>
                    </a:moveTo>
                    <a:cubicBezTo>
                      <a:pt x="470112" y="0"/>
                      <a:pt x="500570" y="15986"/>
                      <a:pt x="522446" y="47959"/>
                    </a:cubicBezTo>
                    <a:cubicBezTo>
                      <a:pt x="545668" y="81277"/>
                      <a:pt x="557279" y="129404"/>
                      <a:pt x="557279" y="192339"/>
                    </a:cubicBezTo>
                    <a:cubicBezTo>
                      <a:pt x="557279" y="255273"/>
                      <a:pt x="545668" y="303905"/>
                      <a:pt x="522446" y="338233"/>
                    </a:cubicBezTo>
                    <a:cubicBezTo>
                      <a:pt x="500234" y="371215"/>
                      <a:pt x="469776" y="387706"/>
                      <a:pt x="431072" y="387706"/>
                    </a:cubicBezTo>
                    <a:cubicBezTo>
                      <a:pt x="392033" y="387706"/>
                      <a:pt x="361406" y="371215"/>
                      <a:pt x="339194" y="338233"/>
                    </a:cubicBezTo>
                    <a:cubicBezTo>
                      <a:pt x="315972" y="303905"/>
                      <a:pt x="304361" y="255273"/>
                      <a:pt x="304361" y="192339"/>
                    </a:cubicBezTo>
                    <a:cubicBezTo>
                      <a:pt x="304361" y="129404"/>
                      <a:pt x="315972" y="81109"/>
                      <a:pt x="339194" y="47454"/>
                    </a:cubicBezTo>
                    <a:cubicBezTo>
                      <a:pt x="361070" y="15818"/>
                      <a:pt x="391696" y="0"/>
                      <a:pt x="431072" y="0"/>
                    </a:cubicBezTo>
                    <a:close/>
                    <a:moveTo>
                      <a:pt x="123177" y="0"/>
                    </a:moveTo>
                    <a:cubicBezTo>
                      <a:pt x="159861" y="0"/>
                      <a:pt x="189141" y="8582"/>
                      <a:pt x="211016" y="25746"/>
                    </a:cubicBezTo>
                    <a:cubicBezTo>
                      <a:pt x="233229" y="43247"/>
                      <a:pt x="244335" y="67815"/>
                      <a:pt x="244335" y="99451"/>
                    </a:cubicBezTo>
                    <a:cubicBezTo>
                      <a:pt x="244335" y="139837"/>
                      <a:pt x="223469" y="168275"/>
                      <a:pt x="181736" y="184766"/>
                    </a:cubicBezTo>
                    <a:lnTo>
                      <a:pt x="181736" y="187290"/>
                    </a:lnTo>
                    <a:cubicBezTo>
                      <a:pt x="203949" y="193348"/>
                      <a:pt x="221786" y="203949"/>
                      <a:pt x="235248" y="219094"/>
                    </a:cubicBezTo>
                    <a:cubicBezTo>
                      <a:pt x="249383" y="235585"/>
                      <a:pt x="256451" y="255610"/>
                      <a:pt x="256451" y="279168"/>
                    </a:cubicBezTo>
                    <a:cubicBezTo>
                      <a:pt x="256451" y="312487"/>
                      <a:pt x="243493" y="339074"/>
                      <a:pt x="217579" y="358931"/>
                    </a:cubicBezTo>
                    <a:cubicBezTo>
                      <a:pt x="193011" y="378114"/>
                      <a:pt x="162217" y="387706"/>
                      <a:pt x="125196" y="387706"/>
                    </a:cubicBezTo>
                    <a:cubicBezTo>
                      <a:pt x="97262" y="387706"/>
                      <a:pt x="72358" y="382826"/>
                      <a:pt x="50482" y="373066"/>
                    </a:cubicBezTo>
                    <a:cubicBezTo>
                      <a:pt x="30962" y="364316"/>
                      <a:pt x="14135" y="351863"/>
                      <a:pt x="0" y="335709"/>
                    </a:cubicBezTo>
                    <a:lnTo>
                      <a:pt x="34832" y="288760"/>
                    </a:lnTo>
                    <a:cubicBezTo>
                      <a:pt x="46948" y="300539"/>
                      <a:pt x="59401" y="309626"/>
                      <a:pt x="72189" y="316021"/>
                    </a:cubicBezTo>
                    <a:cubicBezTo>
                      <a:pt x="86998" y="323425"/>
                      <a:pt x="102311" y="327127"/>
                      <a:pt x="118128" y="327127"/>
                    </a:cubicBezTo>
                    <a:cubicBezTo>
                      <a:pt x="160534" y="327127"/>
                      <a:pt x="181736" y="309794"/>
                      <a:pt x="181736" y="275130"/>
                    </a:cubicBezTo>
                    <a:cubicBezTo>
                      <a:pt x="181736" y="255273"/>
                      <a:pt x="174669" y="240802"/>
                      <a:pt x="160534" y="231715"/>
                    </a:cubicBezTo>
                    <a:cubicBezTo>
                      <a:pt x="144379" y="220945"/>
                      <a:pt x="117119" y="215560"/>
                      <a:pt x="78752" y="215560"/>
                    </a:cubicBezTo>
                    <a:lnTo>
                      <a:pt x="78752" y="162049"/>
                    </a:lnTo>
                    <a:cubicBezTo>
                      <a:pt x="111398" y="162049"/>
                      <a:pt x="135124" y="156664"/>
                      <a:pt x="149932" y="145895"/>
                    </a:cubicBezTo>
                    <a:cubicBezTo>
                      <a:pt x="163058" y="136471"/>
                      <a:pt x="169621" y="122841"/>
                      <a:pt x="169621" y="105004"/>
                    </a:cubicBezTo>
                    <a:cubicBezTo>
                      <a:pt x="169621" y="74378"/>
                      <a:pt x="152961" y="58728"/>
                      <a:pt x="119643" y="58055"/>
                    </a:cubicBezTo>
                    <a:cubicBezTo>
                      <a:pt x="96421" y="58392"/>
                      <a:pt x="72863" y="69498"/>
                      <a:pt x="48968" y="91374"/>
                    </a:cubicBezTo>
                    <a:lnTo>
                      <a:pt x="11106" y="45939"/>
                    </a:lnTo>
                    <a:cubicBezTo>
                      <a:pt x="28270" y="31131"/>
                      <a:pt x="45434" y="19857"/>
                      <a:pt x="62598" y="12116"/>
                    </a:cubicBezTo>
                    <a:cubicBezTo>
                      <a:pt x="81781" y="4039"/>
                      <a:pt x="101974" y="0"/>
                      <a:pt x="12317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>
                <a:defPPr>
                  <a:defRPr lang="zh-CN"/>
                </a:defPPr>
                <a:lvl1pPr>
                  <a:lnSpc>
                    <a:spcPct val="110000"/>
                  </a:lnSpc>
                  <a:defRPr sz="1500">
                    <a:gradFill flip="none" rotWithShape="1">
                      <a:gsLst>
                        <a:gs pos="100000">
                          <a:schemeClr val="bg1"/>
                        </a:gs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4800000" scaled="0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algn="ctr"/>
                <a:endParaRPr lang="zh-CN" altLang="en-US" sz="4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8802159" y="5848811"/>
                <a:ext cx="1055206" cy="3683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+mn-ea"/>
                    <a:ea typeface="+mn-ea"/>
                  </a:rPr>
                  <a:t>算法</a:t>
                </a: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10188678" y="5452767"/>
                <a:ext cx="553734" cy="3683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defRPr b="0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pPr algn="l"/>
                <a:r>
                  <a:rPr lang="zh-CN" altLang="en-US" dirty="0">
                    <a:solidFill>
                      <a:schemeClr val="accent2"/>
                    </a:solidFill>
                    <a:latin typeface="+mn-ea"/>
                    <a:ea typeface="+mn-ea"/>
                  </a:rPr>
                  <a:t>种</a:t>
                </a:r>
              </a:p>
            </p:txBody>
          </p:sp>
        </p:grpSp>
        <p:grpSp>
          <p:nvGrpSpPr>
            <p:cNvPr id="53" name="组合 52"/>
            <p:cNvGrpSpPr/>
            <p:nvPr/>
          </p:nvGrpSpPr>
          <p:grpSpPr>
            <a:xfrm rot="5400000">
              <a:off x="1403649" y="3019988"/>
              <a:ext cx="1733800" cy="1733800"/>
              <a:chOff x="5619500" y="1115910"/>
              <a:chExt cx="1733800" cy="1733800"/>
            </a:xfrm>
            <a:effectLst/>
          </p:grpSpPr>
          <p:sp>
            <p:nvSpPr>
              <p:cNvPr id="54" name="椭圆 53"/>
              <p:cNvSpPr/>
              <p:nvPr/>
            </p:nvSpPr>
            <p:spPr>
              <a:xfrm>
                <a:off x="5721860" y="1218270"/>
                <a:ext cx="1529080" cy="1529080"/>
              </a:xfrm>
              <a:prstGeom prst="ellipse">
                <a:avLst/>
              </a:prstGeom>
              <a:noFill/>
              <a:ln w="6350">
                <a:solidFill>
                  <a:schemeClr val="accent1">
                    <a:alpha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椭圆 54"/>
              <p:cNvSpPr/>
              <p:nvPr/>
            </p:nvSpPr>
            <p:spPr>
              <a:xfrm>
                <a:off x="5779350" y="1275760"/>
                <a:ext cx="1414100" cy="1414100"/>
              </a:xfrm>
              <a:prstGeom prst="ellipse">
                <a:avLst/>
              </a:prstGeom>
              <a:noFill/>
              <a:ln w="3175">
                <a:solidFill>
                  <a:schemeClr val="accent1">
                    <a:alpha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6" name="椭圆 55"/>
              <p:cNvSpPr/>
              <p:nvPr/>
            </p:nvSpPr>
            <p:spPr>
              <a:xfrm>
                <a:off x="6119030" y="1615440"/>
                <a:ext cx="734740" cy="734740"/>
              </a:xfrm>
              <a:prstGeom prst="ellipse">
                <a:avLst/>
              </a:prstGeom>
              <a:ln w="3175">
                <a:solidFill>
                  <a:schemeClr val="accent1">
                    <a:alpha val="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弧形 59"/>
              <p:cNvSpPr/>
              <p:nvPr/>
            </p:nvSpPr>
            <p:spPr>
              <a:xfrm>
                <a:off x="5619500" y="1115910"/>
                <a:ext cx="1733800" cy="1733800"/>
              </a:xfrm>
              <a:prstGeom prst="arc">
                <a:avLst>
                  <a:gd name="adj1" fmla="val 19199152"/>
                  <a:gd name="adj2" fmla="val 2410703"/>
                </a:avLst>
              </a:prstGeom>
              <a:noFill/>
              <a:ln w="6350">
                <a:solidFill>
                  <a:schemeClr val="accent1">
                    <a:alpha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弧形 60"/>
              <p:cNvSpPr/>
              <p:nvPr/>
            </p:nvSpPr>
            <p:spPr>
              <a:xfrm flipH="1">
                <a:off x="5619500" y="1115910"/>
                <a:ext cx="1733800" cy="1733800"/>
              </a:xfrm>
              <a:prstGeom prst="arc">
                <a:avLst>
                  <a:gd name="adj1" fmla="val 19199152"/>
                  <a:gd name="adj2" fmla="val 2410703"/>
                </a:avLst>
              </a:prstGeom>
              <a:noFill/>
              <a:ln w="6350">
                <a:solidFill>
                  <a:schemeClr val="accent1">
                    <a:alpha val="5000"/>
                  </a:schemeClr>
                </a:solidFill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9622" y="3756025"/>
              <a:ext cx="1701854" cy="261726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组合 48"/>
          <p:cNvGrpSpPr/>
          <p:nvPr/>
        </p:nvGrpSpPr>
        <p:grpSpPr>
          <a:xfrm>
            <a:off x="165100" y="4000500"/>
            <a:ext cx="11836400" cy="2311400"/>
            <a:chOff x="165100" y="4000500"/>
            <a:chExt cx="11836400" cy="2311400"/>
          </a:xfrm>
        </p:grpSpPr>
        <p:grpSp>
          <p:nvGrpSpPr>
            <p:cNvPr id="42" name="组合 41"/>
            <p:cNvGrpSpPr/>
            <p:nvPr/>
          </p:nvGrpSpPr>
          <p:grpSpPr>
            <a:xfrm>
              <a:off x="6781800" y="4000500"/>
              <a:ext cx="5219700" cy="2311400"/>
              <a:chOff x="6781800" y="4038600"/>
              <a:chExt cx="5410200" cy="2311400"/>
            </a:xfrm>
          </p:grpSpPr>
          <p:cxnSp>
            <p:nvCxnSpPr>
              <p:cNvPr id="19" name="直接连接符 18"/>
              <p:cNvCxnSpPr/>
              <p:nvPr/>
            </p:nvCxnSpPr>
            <p:spPr>
              <a:xfrm>
                <a:off x="6781800" y="5398837"/>
                <a:ext cx="5410200" cy="951163"/>
              </a:xfrm>
              <a:prstGeom prst="line">
                <a:avLst/>
              </a:prstGeom>
              <a:ln w="9525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1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/>
              <p:nvPr/>
            </p:nvCxnSpPr>
            <p:spPr>
              <a:xfrm>
                <a:off x="9486900" y="5486565"/>
                <a:ext cx="2705100" cy="164935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/>
              <p:nvPr/>
            </p:nvCxnSpPr>
            <p:spPr>
              <a:xfrm flipV="1">
                <a:off x="9537575" y="5029200"/>
                <a:ext cx="2491865" cy="10160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/>
              <p:nvPr/>
            </p:nvCxnSpPr>
            <p:spPr>
              <a:xfrm flipV="1">
                <a:off x="7797465" y="4244340"/>
                <a:ext cx="4066875" cy="716282"/>
              </a:xfrm>
              <a:prstGeom prst="line">
                <a:avLst/>
              </a:prstGeom>
              <a:ln w="9525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1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/>
              <p:nvPr/>
            </p:nvCxnSpPr>
            <p:spPr>
              <a:xfrm flipV="1">
                <a:off x="8923020" y="4038600"/>
                <a:ext cx="1363980" cy="43434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组合 42"/>
            <p:cNvGrpSpPr/>
            <p:nvPr/>
          </p:nvGrpSpPr>
          <p:grpSpPr>
            <a:xfrm flipH="1">
              <a:off x="165100" y="4000500"/>
              <a:ext cx="5245100" cy="2311400"/>
              <a:chOff x="6781800" y="4038600"/>
              <a:chExt cx="5410200" cy="2311400"/>
            </a:xfrm>
          </p:grpSpPr>
          <p:cxnSp>
            <p:nvCxnSpPr>
              <p:cNvPr id="44" name="直接连接符 43"/>
              <p:cNvCxnSpPr/>
              <p:nvPr/>
            </p:nvCxnSpPr>
            <p:spPr>
              <a:xfrm>
                <a:off x="6781800" y="5398837"/>
                <a:ext cx="5410200" cy="951163"/>
              </a:xfrm>
              <a:prstGeom prst="line">
                <a:avLst/>
              </a:prstGeom>
              <a:ln w="9525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1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/>
              <p:nvPr/>
            </p:nvCxnSpPr>
            <p:spPr>
              <a:xfrm>
                <a:off x="9486900" y="5486565"/>
                <a:ext cx="2705100" cy="164935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/>
              <p:nvPr/>
            </p:nvCxnSpPr>
            <p:spPr>
              <a:xfrm flipV="1">
                <a:off x="9537575" y="5029200"/>
                <a:ext cx="2491865" cy="10160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/>
              <p:nvPr/>
            </p:nvCxnSpPr>
            <p:spPr>
              <a:xfrm flipV="1">
                <a:off x="7797465" y="4244340"/>
                <a:ext cx="4066875" cy="716282"/>
              </a:xfrm>
              <a:prstGeom prst="line">
                <a:avLst/>
              </a:prstGeom>
              <a:ln w="9525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1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/>
              <p:cNvCxnSpPr/>
              <p:nvPr/>
            </p:nvCxnSpPr>
            <p:spPr>
              <a:xfrm flipV="1">
                <a:off x="8923020" y="4038600"/>
                <a:ext cx="1363980" cy="43434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000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文本框 10"/>
          <p:cNvSpPr txBox="1"/>
          <p:nvPr/>
        </p:nvSpPr>
        <p:spPr>
          <a:xfrm>
            <a:off x="1549400" y="4790867"/>
            <a:ext cx="9093200" cy="73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2400" b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latin typeface="+mj-ea"/>
                <a:ea typeface="+mj-ea"/>
              </a:defRPr>
            </a:lvl1pPr>
          </a:lstStyle>
          <a:p>
            <a:r>
              <a:rPr lang="zh-CN" altLang="en-US" sz="4000" dirty="0">
                <a:solidFill>
                  <a:schemeClr val="accent2"/>
                </a:solidFill>
              </a:rPr>
              <a:t>而这还只是部分智能手机行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2357461" y="4205117"/>
            <a:ext cx="7477079" cy="5651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2400" b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latin typeface="+mj-ea"/>
                <a:ea typeface="+mj-ea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</a:rPr>
              <a:t>这，几乎是一个不可能完成的任务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0" y="1092829"/>
            <a:ext cx="12192000" cy="2554878"/>
            <a:chOff x="0" y="1371962"/>
            <a:chExt cx="12192000" cy="2554878"/>
          </a:xfrm>
        </p:grpSpPr>
        <p:sp>
          <p:nvSpPr>
            <p:cNvPr id="5" name="文本框 4"/>
            <p:cNvSpPr txBox="1"/>
            <p:nvPr/>
          </p:nvSpPr>
          <p:spPr>
            <a:xfrm>
              <a:off x="0" y="1371962"/>
              <a:ext cx="12192000" cy="49720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algn="ctr">
                <a:lnSpc>
                  <a:spcPct val="110000"/>
                </a:lnSpc>
                <a:defRPr sz="2800" b="1">
                  <a:gradFill flip="none" rotWithShape="1">
                    <a:gsLst>
                      <a:gs pos="0">
                        <a:schemeClr val="bg1"/>
                      </a:gs>
                      <a:gs pos="100000">
                        <a:schemeClr val="accent1"/>
                      </a:gs>
                    </a:gsLst>
                    <a:lin ang="5400000" scaled="1"/>
                    <a:tileRect/>
                  </a:gradFill>
                  <a:latin typeface="+mj-ea"/>
                  <a:ea typeface="+mj-ea"/>
                </a:defRPr>
              </a:lvl1pPr>
            </a:lstStyle>
            <a:p>
              <a:r>
                <a:rPr lang="zh-CN" altLang="en-US" sz="2400" b="0" dirty="0">
                  <a:solidFill>
                    <a:schemeClr val="tx1"/>
                  </a:solidFill>
                </a:rPr>
                <a:t>如果，我们把范围放大到为全球排名前</a:t>
              </a:r>
              <a:r>
                <a:rPr lang="en-US" altLang="zh-CN" sz="2400" b="0" dirty="0">
                  <a:solidFill>
                    <a:schemeClr val="tx1"/>
                  </a:solidFill>
                </a:rPr>
                <a:t>5</a:t>
              </a:r>
              <a:r>
                <a:rPr lang="zh-CN" altLang="en-US" sz="2400" b="0" dirty="0">
                  <a:solidFill>
                    <a:schemeClr val="tx1"/>
                  </a:solidFill>
                </a:rPr>
                <a:t>的智能手机品牌，每品牌每年出</a:t>
              </a:r>
              <a:r>
                <a:rPr lang="en-US" altLang="zh-CN" sz="2400" b="0" dirty="0">
                  <a:solidFill>
                    <a:schemeClr val="tx1"/>
                  </a:solidFill>
                </a:rPr>
                <a:t>6</a:t>
              </a:r>
              <a:r>
                <a:rPr lang="zh-CN" altLang="en-US" sz="2400" b="0" dirty="0">
                  <a:solidFill>
                    <a:schemeClr val="tx1"/>
                  </a:solidFill>
                </a:rPr>
                <a:t>款不同型号</a:t>
              </a: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336550" y="2159000"/>
              <a:ext cx="11518900" cy="1767840"/>
              <a:chOff x="336550" y="3048000"/>
              <a:chExt cx="11518900" cy="1767840"/>
            </a:xfrm>
          </p:grpSpPr>
          <p:sp>
            <p:nvSpPr>
              <p:cNvPr id="7" name="矩形: 圆角 6"/>
              <p:cNvSpPr/>
              <p:nvPr/>
            </p:nvSpPr>
            <p:spPr>
              <a:xfrm>
                <a:off x="336550" y="3048000"/>
                <a:ext cx="11518900" cy="1767840"/>
              </a:xfrm>
              <a:prstGeom prst="roundRect">
                <a:avLst>
                  <a:gd name="adj" fmla="val 4958"/>
                </a:avLst>
              </a:prstGeom>
              <a:solidFill>
                <a:schemeClr val="accent1">
                  <a:alpha val="6000"/>
                </a:schemeClr>
              </a:solidFill>
              <a:ln w="3175">
                <a:solidFill>
                  <a:schemeClr val="accent1">
                    <a:shade val="50000"/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477156" y="4055170"/>
                <a:ext cx="5402944" cy="6055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b="0">
                    <a:solidFill>
                      <a:schemeClr val="bg1"/>
                    </a:solidFill>
                    <a:latin typeface="+mj-ea"/>
                    <a:ea typeface="+mj-ea"/>
                  </a:defRPr>
                </a:lvl1pPr>
              </a:lstStyle>
              <a:p>
                <a:r>
                  <a:rPr lang="en-US" altLang="zh-CN" sz="2800" dirty="0">
                    <a:solidFill>
                      <a:schemeClr val="accent1"/>
                    </a:solidFill>
                  </a:rPr>
                  <a:t>30000 x 5 x 6 = </a:t>
                </a:r>
                <a:r>
                  <a:rPr lang="en-US" altLang="zh-CN" sz="3200" dirty="0">
                    <a:solidFill>
                      <a:schemeClr val="accent1"/>
                    </a:solidFill>
                  </a:rPr>
                  <a:t>900,000</a:t>
                </a:r>
                <a:r>
                  <a:rPr lang="en-US" altLang="zh-CN" sz="2800" dirty="0">
                    <a:solidFill>
                      <a:schemeClr val="accent1"/>
                    </a:solidFill>
                  </a:rPr>
                  <a:t> 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种</a:t>
                </a:r>
              </a:p>
            </p:txBody>
          </p:sp>
          <p:sp>
            <p:nvSpPr>
              <p:cNvPr id="9" name="文本框 8"/>
              <p:cNvSpPr txBox="1"/>
              <p:nvPr/>
            </p:nvSpPr>
            <p:spPr>
              <a:xfrm>
                <a:off x="1850679" y="3191650"/>
                <a:ext cx="2655900" cy="5651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2800" b="1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54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b="0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b="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b="0" dirty="0">
                    <a:solidFill>
                      <a:schemeClr val="tx1"/>
                    </a:solidFill>
                  </a:rPr>
                  <a:t>年</a:t>
                </a:r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7431422" y="3191650"/>
                <a:ext cx="2655900" cy="5651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2800" b="1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54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b="0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b="0" dirty="0">
                    <a:solidFill>
                      <a:schemeClr val="tx1"/>
                    </a:solidFill>
                  </a:rPr>
                  <a:t>2-3</a:t>
                </a:r>
                <a:r>
                  <a:rPr lang="zh-CN" altLang="en-US" b="0" dirty="0">
                    <a:solidFill>
                      <a:schemeClr val="tx1"/>
                    </a:solidFill>
                  </a:rPr>
                  <a:t>年</a:t>
                </a:r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1698483" y="3682580"/>
                <a:ext cx="2960291" cy="3956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2800" b="1"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5400000" scaled="1"/>
                      <a:tileRect/>
                    </a:gra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sz="1800" b="0" dirty="0">
                    <a:solidFill>
                      <a:schemeClr val="tx1"/>
                    </a:solidFill>
                    <a:latin typeface="+mn-ea"/>
                    <a:ea typeface="+mn-ea"/>
                  </a:rPr>
                  <a:t>需要生成算法</a:t>
                </a:r>
              </a:p>
            </p:txBody>
          </p:sp>
          <p:sp>
            <p:nvSpPr>
              <p:cNvPr id="12" name="文本框 11"/>
              <p:cNvSpPr txBox="1"/>
              <p:nvPr/>
            </p:nvSpPr>
            <p:spPr>
              <a:xfrm>
                <a:off x="6061349" y="4055170"/>
                <a:ext cx="5724252" cy="6055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sz="2800" b="0">
                    <a:solidFill>
                      <a:schemeClr val="bg1"/>
                    </a:solidFill>
                    <a:latin typeface="+mj-ea"/>
                    <a:ea typeface="+mj-ea"/>
                  </a:defRPr>
                </a:lvl1pPr>
              </a:lstStyle>
              <a:p>
                <a:r>
                  <a:rPr lang="zh-CN" altLang="en-US" sz="2400" dirty="0">
                    <a:solidFill>
                      <a:schemeClr val="accent1"/>
                    </a:solidFill>
                  </a:rPr>
                  <a:t>折半算</a:t>
                </a:r>
                <a:r>
                  <a:rPr lang="en-US" altLang="zh-CN" sz="3200" dirty="0">
                    <a:solidFill>
                      <a:schemeClr val="accent1"/>
                    </a:solidFill>
                  </a:rPr>
                  <a:t>40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万，我们得到</a:t>
                </a:r>
                <a:r>
                  <a:rPr lang="en-US" altLang="zh-CN" sz="3200" dirty="0">
                    <a:solidFill>
                      <a:schemeClr val="accent1"/>
                    </a:solidFill>
                  </a:rPr>
                  <a:t>80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万种算法</a:t>
                </a:r>
              </a:p>
            </p:txBody>
          </p:sp>
          <p:sp>
            <p:nvSpPr>
              <p:cNvPr id="13" name="文本框 12"/>
              <p:cNvSpPr txBox="1"/>
              <p:nvPr/>
            </p:nvSpPr>
            <p:spPr>
              <a:xfrm>
                <a:off x="6042191" y="3682580"/>
                <a:ext cx="5434362" cy="3956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10000"/>
                  </a:lnSpc>
                  <a:defRPr b="0">
                    <a:solidFill>
                      <a:schemeClr val="bg1"/>
                    </a:solidFill>
                    <a:latin typeface="+mn-ea"/>
                  </a:defRPr>
                </a:lvl1pPr>
              </a:lstStyle>
              <a:p>
                <a:r>
                  <a:rPr lang="zh-CN" altLang="en-US">
                    <a:solidFill>
                      <a:schemeClr val="tx1"/>
                    </a:solidFill>
                  </a:rPr>
                  <a:t>假设</a:t>
                </a:r>
                <a:r>
                  <a:rPr lang="en-US" altLang="zh-CN">
                    <a:solidFill>
                      <a:schemeClr val="tx1"/>
                    </a:solidFill>
                  </a:rPr>
                  <a:t>50%</a:t>
                </a:r>
                <a:r>
                  <a:rPr lang="zh-CN" altLang="en-US">
                    <a:solidFill>
                      <a:schemeClr val="tx1"/>
                    </a:solidFill>
                  </a:rPr>
                  <a:t>的材料用旧款，检测任务不变</a:t>
                </a:r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" name="组合 13"/>
              <p:cNvGrpSpPr/>
              <p:nvPr/>
            </p:nvGrpSpPr>
            <p:grpSpPr>
              <a:xfrm>
                <a:off x="5679281" y="3394512"/>
                <a:ext cx="833438" cy="146672"/>
                <a:chOff x="1274636" y="4202192"/>
                <a:chExt cx="1668589" cy="302586"/>
              </a:xfrm>
            </p:grpSpPr>
            <p:sp>
              <p:nvSpPr>
                <p:cNvPr id="15" name="任意多边形: 形状 14"/>
                <p:cNvSpPr/>
                <p:nvPr/>
              </p:nvSpPr>
              <p:spPr>
                <a:xfrm>
                  <a:off x="1414463" y="4202192"/>
                  <a:ext cx="1528762" cy="260332"/>
                </a:xfrm>
                <a:custGeom>
                  <a:avLst/>
                  <a:gdLst>
                    <a:gd name="connsiteX0" fmla="*/ 0 w 1528762"/>
                    <a:gd name="connsiteY0" fmla="*/ 141208 h 260332"/>
                    <a:gd name="connsiteX1" fmla="*/ 414337 w 1528762"/>
                    <a:gd name="connsiteY1" fmla="*/ 3096 h 260332"/>
                    <a:gd name="connsiteX2" fmla="*/ 976312 w 1528762"/>
                    <a:gd name="connsiteY2" fmla="*/ 260271 h 260332"/>
                    <a:gd name="connsiteX3" fmla="*/ 1528762 w 1528762"/>
                    <a:gd name="connsiteY3" fmla="*/ 22146 h 26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28762" h="260332">
                      <a:moveTo>
                        <a:pt x="0" y="141208"/>
                      </a:moveTo>
                      <a:cubicBezTo>
                        <a:pt x="125809" y="62230"/>
                        <a:pt x="251618" y="-16748"/>
                        <a:pt x="414337" y="3096"/>
                      </a:cubicBezTo>
                      <a:cubicBezTo>
                        <a:pt x="577056" y="22940"/>
                        <a:pt x="790575" y="257096"/>
                        <a:pt x="976312" y="260271"/>
                      </a:cubicBezTo>
                      <a:cubicBezTo>
                        <a:pt x="1162050" y="263446"/>
                        <a:pt x="1345406" y="142796"/>
                        <a:pt x="1528762" y="22146"/>
                      </a:cubicBezTo>
                    </a:path>
                  </a:pathLst>
                </a:custGeom>
                <a:noFill/>
                <a:ln w="3175">
                  <a:gradFill flip="none"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alpha val="6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" name="任意多边形: 形状 15"/>
                <p:cNvSpPr/>
                <p:nvPr/>
              </p:nvSpPr>
              <p:spPr>
                <a:xfrm flipV="1">
                  <a:off x="1274636" y="4244447"/>
                  <a:ext cx="1528762" cy="260331"/>
                </a:xfrm>
                <a:custGeom>
                  <a:avLst/>
                  <a:gdLst>
                    <a:gd name="connsiteX0" fmla="*/ 0 w 1528762"/>
                    <a:gd name="connsiteY0" fmla="*/ 141208 h 260332"/>
                    <a:gd name="connsiteX1" fmla="*/ 414337 w 1528762"/>
                    <a:gd name="connsiteY1" fmla="*/ 3096 h 260332"/>
                    <a:gd name="connsiteX2" fmla="*/ 976312 w 1528762"/>
                    <a:gd name="connsiteY2" fmla="*/ 260271 h 260332"/>
                    <a:gd name="connsiteX3" fmla="*/ 1528762 w 1528762"/>
                    <a:gd name="connsiteY3" fmla="*/ 22146 h 260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28762" h="260332">
                      <a:moveTo>
                        <a:pt x="0" y="141208"/>
                      </a:moveTo>
                      <a:cubicBezTo>
                        <a:pt x="125809" y="62230"/>
                        <a:pt x="251618" y="-16748"/>
                        <a:pt x="414337" y="3096"/>
                      </a:cubicBezTo>
                      <a:cubicBezTo>
                        <a:pt x="577056" y="22940"/>
                        <a:pt x="790575" y="257096"/>
                        <a:pt x="976312" y="260271"/>
                      </a:cubicBezTo>
                      <a:cubicBezTo>
                        <a:pt x="1162050" y="263446"/>
                        <a:pt x="1345406" y="142796"/>
                        <a:pt x="1528762" y="22146"/>
                      </a:cubicBezTo>
                    </a:path>
                  </a:pathLst>
                </a:custGeom>
                <a:noFill/>
                <a:ln w="3175">
                  <a:gradFill flip="none" rotWithShape="1">
                    <a:gsLst>
                      <a:gs pos="0">
                        <a:schemeClr val="accent1">
                          <a:alpha val="0"/>
                        </a:schemeClr>
                      </a:gs>
                      <a:gs pos="100000">
                        <a:schemeClr val="accent1">
                          <a:alpha val="60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旭日形&#10;&#10;描述已自动生成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2" name="矩形 21"/>
          <p:cNvSpPr/>
          <p:nvPr/>
        </p:nvSpPr>
        <p:spPr>
          <a:xfrm>
            <a:off x="4655820" y="2632960"/>
            <a:ext cx="2880360" cy="159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PA-图片 13"/>
          <p:cNvSpPr/>
          <p:nvPr>
            <p:custDataLst>
              <p:tags r:id="rId1"/>
            </p:custDataLst>
          </p:nvPr>
        </p:nvSpPr>
        <p:spPr>
          <a:xfrm rot="5400000" flipV="1">
            <a:off x="-673792" y="1946332"/>
            <a:ext cx="4117131" cy="2769546"/>
          </a:xfrm>
          <a:custGeom>
            <a:avLst/>
            <a:gdLst/>
            <a:ahLst/>
            <a:cxnLst/>
            <a:rect l="0" t="0" r="0" b="0"/>
            <a:pathLst>
              <a:path w="7127435" h="4363033">
                <a:moveTo>
                  <a:pt x="0" y="0"/>
                </a:moveTo>
                <a:lnTo>
                  <a:pt x="7127434" y="0"/>
                </a:lnTo>
                <a:lnTo>
                  <a:pt x="7127434" y="4363032"/>
                </a:lnTo>
                <a:lnTo>
                  <a:pt x="0" y="4363032"/>
                </a:lnTo>
                <a:close/>
              </a:path>
            </a:pathLst>
          </a:custGeom>
          <a:blipFill dpi="0" rotWithShape="1">
            <a:blip r:embed="rId5" cstate="screen">
              <a:alphaModFix amt="7000"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2F2F2"/>
              </a:solidFill>
              <a:latin typeface="Arial" panose="020B0604020202020204" pitchFamily="34" charset="0"/>
              <a:ea typeface="微软雅黑 Light" panose="020B0502040204020203" pitchFamily="34" charset="-122"/>
            </a:endParaRPr>
          </a:p>
        </p:txBody>
      </p:sp>
      <p:sp>
        <p:nvSpPr>
          <p:cNvPr id="24" name="PA-图片 13"/>
          <p:cNvSpPr/>
          <p:nvPr>
            <p:custDataLst>
              <p:tags r:id="rId2"/>
            </p:custDataLst>
          </p:nvPr>
        </p:nvSpPr>
        <p:spPr>
          <a:xfrm rot="16200000" flipH="1" flipV="1">
            <a:off x="8748661" y="1946333"/>
            <a:ext cx="4117131" cy="2769546"/>
          </a:xfrm>
          <a:custGeom>
            <a:avLst/>
            <a:gdLst/>
            <a:ahLst/>
            <a:cxnLst/>
            <a:rect l="0" t="0" r="0" b="0"/>
            <a:pathLst>
              <a:path w="7127435" h="4363033">
                <a:moveTo>
                  <a:pt x="0" y="0"/>
                </a:moveTo>
                <a:lnTo>
                  <a:pt x="7127434" y="0"/>
                </a:lnTo>
                <a:lnTo>
                  <a:pt x="7127434" y="4363032"/>
                </a:lnTo>
                <a:lnTo>
                  <a:pt x="0" y="4363032"/>
                </a:lnTo>
                <a:close/>
              </a:path>
            </a:pathLst>
          </a:custGeom>
          <a:blipFill dpi="0" rotWithShape="1">
            <a:blip r:embed="rId5" cstate="screen">
              <a:alphaModFix amt="7000"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2F2F2"/>
              </a:solidFill>
              <a:latin typeface="Arial" panose="020B0604020202020204" pitchFamily="34" charset="0"/>
              <a:ea typeface="微软雅黑 Light" panose="020B0502040204020203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05841" y="1142329"/>
            <a:ext cx="10180320" cy="7385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</a:rPr>
              <a:t>只有当系统可以自动实现算法组合和部署</a:t>
            </a:r>
            <a:endParaRPr lang="zh-CN" altLang="en-US" sz="3200" b="1" spc="127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  <a:cs typeface="阿里巴巴普惠体 B" panose="00020600040101010101" pitchFamily="18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05841" y="1742439"/>
            <a:ext cx="10180320" cy="7385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</a:rPr>
              <a:t>人类只需要少量定制化算法设计</a:t>
            </a:r>
            <a:endParaRPr lang="zh-CN" altLang="en-US" sz="3200" b="1" spc="127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  <a:cs typeface="阿里巴巴普惠体 B" panose="00020600040101010101" pitchFamily="18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005841" y="2633015"/>
            <a:ext cx="10180320" cy="11508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4000" b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latin typeface="+mj-ea"/>
                <a:ea typeface="+mj-ea"/>
              </a:defRPr>
            </a:lvl1pPr>
          </a:lstStyle>
          <a:p>
            <a:r>
              <a:rPr lang="zh-CN" altLang="en-US" sz="6600" dirty="0">
                <a:solidFill>
                  <a:schemeClr val="accent1"/>
                </a:solidFill>
              </a:rPr>
              <a:t>才有可能实现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28322" y="3646631"/>
            <a:ext cx="11135358" cy="12470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lnSpc>
                <a:spcPct val="110000"/>
              </a:lnSpc>
              <a:defRPr sz="6600" b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latin typeface="+mj-ea"/>
                <a:ea typeface="+mj-ea"/>
              </a:defRPr>
            </a:lvl1pPr>
          </a:lstStyle>
          <a:p>
            <a:r>
              <a:rPr lang="en-US" altLang="zh-CN" sz="7200" dirty="0">
                <a:solidFill>
                  <a:schemeClr val="accent2"/>
                </a:solidFill>
              </a:rPr>
              <a:t>AI</a:t>
            </a:r>
            <a:r>
              <a:rPr lang="zh-CN" altLang="en-US" sz="6600" dirty="0">
                <a:solidFill>
                  <a:schemeClr val="accent2"/>
                </a:solidFill>
              </a:rPr>
              <a:t>的</a:t>
            </a:r>
            <a:r>
              <a:rPr lang="zh-CN" altLang="en-US" dirty="0">
                <a:solidFill>
                  <a:schemeClr val="accent2"/>
                </a:solidFill>
              </a:rPr>
              <a:t>跨领域规模产业化</a:t>
            </a:r>
          </a:p>
        </p:txBody>
      </p:sp>
      <p:grpSp>
        <p:nvGrpSpPr>
          <p:cNvPr id="58" name="组合 57"/>
          <p:cNvGrpSpPr/>
          <p:nvPr/>
        </p:nvGrpSpPr>
        <p:grpSpPr>
          <a:xfrm>
            <a:off x="848667" y="4958789"/>
            <a:ext cx="4364665" cy="867143"/>
            <a:chOff x="6643042" y="4831388"/>
            <a:chExt cx="4364665" cy="867143"/>
          </a:xfrm>
        </p:grpSpPr>
        <p:grpSp>
          <p:nvGrpSpPr>
            <p:cNvPr id="43" name="组合 42"/>
            <p:cNvGrpSpPr/>
            <p:nvPr/>
          </p:nvGrpSpPr>
          <p:grpSpPr>
            <a:xfrm>
              <a:off x="6995965" y="4881549"/>
              <a:ext cx="3379917" cy="126744"/>
              <a:chOff x="1459901" y="1837385"/>
              <a:chExt cx="4454525" cy="305563"/>
            </a:xfrm>
          </p:grpSpPr>
          <p:cxnSp>
            <p:nvCxnSpPr>
              <p:cNvPr id="44" name="直接连接符 43"/>
              <p:cNvCxnSpPr/>
              <p:nvPr/>
            </p:nvCxnSpPr>
            <p:spPr>
              <a:xfrm>
                <a:off x="1459901" y="2029493"/>
                <a:ext cx="2432141" cy="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/>
              <p:nvPr/>
            </p:nvCxnSpPr>
            <p:spPr>
              <a:xfrm>
                <a:off x="1459901" y="2142948"/>
                <a:ext cx="766572" cy="0"/>
              </a:xfrm>
              <a:prstGeom prst="line">
                <a:avLst/>
              </a:prstGeom>
              <a:ln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矩形 45"/>
              <p:cNvSpPr/>
              <p:nvPr/>
            </p:nvSpPr>
            <p:spPr>
              <a:xfrm>
                <a:off x="3917234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>
              <a:xfrm>
                <a:off x="4020879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48" name="矩形 47"/>
              <p:cNvSpPr/>
              <p:nvPr/>
            </p:nvSpPr>
            <p:spPr>
              <a:xfrm>
                <a:off x="4124524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4228169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50" name="矩形 49"/>
              <p:cNvSpPr/>
              <p:nvPr/>
            </p:nvSpPr>
            <p:spPr>
              <a:xfrm>
                <a:off x="4331814" y="1996834"/>
                <a:ext cx="106933" cy="73325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51" name="矩形 50"/>
              <p:cNvSpPr/>
              <p:nvPr/>
            </p:nvSpPr>
            <p:spPr>
              <a:xfrm>
                <a:off x="4475717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52" name="矩形 51"/>
              <p:cNvSpPr/>
              <p:nvPr/>
            </p:nvSpPr>
            <p:spPr>
              <a:xfrm>
                <a:off x="4723267" y="2010638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sp>
            <p:nvSpPr>
              <p:cNvPr id="53" name="矩形 52"/>
              <p:cNvSpPr/>
              <p:nvPr/>
            </p:nvSpPr>
            <p:spPr>
              <a:xfrm>
                <a:off x="4579363" y="1996834"/>
                <a:ext cx="106933" cy="73325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  <p:cxnSp>
            <p:nvCxnSpPr>
              <p:cNvPr id="54" name="直接连接符 53"/>
              <p:cNvCxnSpPr/>
              <p:nvPr/>
            </p:nvCxnSpPr>
            <p:spPr>
              <a:xfrm>
                <a:off x="1459901" y="1837385"/>
                <a:ext cx="1183766" cy="0"/>
              </a:xfrm>
              <a:prstGeom prst="line">
                <a:avLst/>
              </a:prstGeom>
              <a:ln w="31750">
                <a:solidFill>
                  <a:schemeClr val="accent2">
                    <a:alpha val="7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直接连接符 54"/>
              <p:cNvCxnSpPr/>
              <p:nvPr/>
            </p:nvCxnSpPr>
            <p:spPr>
              <a:xfrm>
                <a:off x="4893589" y="2029490"/>
                <a:ext cx="1020837" cy="0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矩形 55"/>
              <p:cNvSpPr/>
              <p:nvPr/>
            </p:nvSpPr>
            <p:spPr>
              <a:xfrm>
                <a:off x="4826914" y="2015535"/>
                <a:ext cx="66675" cy="4571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 Light" panose="020B0502040204020203" pitchFamily="34" charset="-122"/>
                  <a:cs typeface="+mn-cs"/>
                </a:endParaRPr>
              </a:p>
            </p:txBody>
          </p:sp>
        </p:grpSp>
        <p:cxnSp>
          <p:nvCxnSpPr>
            <p:cNvPr id="57" name="直接连接符 56"/>
            <p:cNvCxnSpPr/>
            <p:nvPr/>
          </p:nvCxnSpPr>
          <p:spPr>
            <a:xfrm>
              <a:off x="9963758" y="4831388"/>
              <a:ext cx="1043949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连接符 58"/>
            <p:cNvCxnSpPr/>
            <p:nvPr/>
          </p:nvCxnSpPr>
          <p:spPr>
            <a:xfrm>
              <a:off x="6643042" y="5698531"/>
              <a:ext cx="1730235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>
              <a:off x="9196388" y="5415638"/>
              <a:ext cx="1127760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组合 2"/>
          <p:cNvGrpSpPr/>
          <p:nvPr/>
        </p:nvGrpSpPr>
        <p:grpSpPr>
          <a:xfrm>
            <a:off x="7991135" y="4923150"/>
            <a:ext cx="2739745" cy="182260"/>
            <a:chOff x="8124485" y="4866000"/>
            <a:chExt cx="2739745" cy="182260"/>
          </a:xfrm>
        </p:grpSpPr>
        <p:grpSp>
          <p:nvGrpSpPr>
            <p:cNvPr id="37" name="组合 36"/>
            <p:cNvGrpSpPr/>
            <p:nvPr/>
          </p:nvGrpSpPr>
          <p:grpSpPr>
            <a:xfrm flipH="1">
              <a:off x="10074800" y="4866000"/>
              <a:ext cx="789430" cy="149610"/>
              <a:chOff x="2328546" y="7075408"/>
              <a:chExt cx="1003934" cy="190262"/>
            </a:xfrm>
          </p:grpSpPr>
          <p:cxnSp>
            <p:nvCxnSpPr>
              <p:cNvPr id="39" name="直接连接符 38"/>
              <p:cNvCxnSpPr/>
              <p:nvPr/>
            </p:nvCxnSpPr>
            <p:spPr>
              <a:xfrm>
                <a:off x="2328546" y="7075408"/>
                <a:ext cx="122749" cy="81102"/>
              </a:xfrm>
              <a:prstGeom prst="line">
                <a:avLst/>
              </a:prstGeom>
              <a:ln>
                <a:solidFill>
                  <a:schemeClr val="accent2"/>
                </a:solidFill>
                <a:headEnd type="oval" w="sm" len="sm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矩形 14"/>
              <p:cNvSpPr/>
              <p:nvPr/>
            </p:nvSpPr>
            <p:spPr>
              <a:xfrm>
                <a:off x="2450466" y="7156510"/>
                <a:ext cx="882014" cy="109160"/>
              </a:xfrm>
              <a:custGeom>
                <a:avLst/>
                <a:gdLst>
                  <a:gd name="connsiteX0" fmla="*/ 0 w 882014"/>
                  <a:gd name="connsiteY0" fmla="*/ 0 h 217408"/>
                  <a:gd name="connsiteX1" fmla="*/ 882014 w 882014"/>
                  <a:gd name="connsiteY1" fmla="*/ 0 h 217408"/>
                  <a:gd name="connsiteX2" fmla="*/ 882014 w 882014"/>
                  <a:gd name="connsiteY2" fmla="*/ 217408 h 217408"/>
                  <a:gd name="connsiteX3" fmla="*/ 0 w 882014"/>
                  <a:gd name="connsiteY3" fmla="*/ 217408 h 217408"/>
                  <a:gd name="connsiteX4" fmla="*/ 0 w 882014"/>
                  <a:gd name="connsiteY4" fmla="*/ 0 h 217408"/>
                  <a:gd name="connsiteX0-1" fmla="*/ 882014 w 973454"/>
                  <a:gd name="connsiteY0-2" fmla="*/ 0 h 217408"/>
                  <a:gd name="connsiteX1-3" fmla="*/ 882014 w 973454"/>
                  <a:gd name="connsiteY1-4" fmla="*/ 217408 h 217408"/>
                  <a:gd name="connsiteX2-5" fmla="*/ 0 w 973454"/>
                  <a:gd name="connsiteY2-6" fmla="*/ 217408 h 217408"/>
                  <a:gd name="connsiteX3-7" fmla="*/ 0 w 973454"/>
                  <a:gd name="connsiteY3-8" fmla="*/ 0 h 217408"/>
                  <a:gd name="connsiteX4-9" fmla="*/ 973454 w 973454"/>
                  <a:gd name="connsiteY4-10" fmla="*/ 91440 h 217408"/>
                  <a:gd name="connsiteX0-11" fmla="*/ 882014 w 882014"/>
                  <a:gd name="connsiteY0-12" fmla="*/ 0 h 217408"/>
                  <a:gd name="connsiteX1-13" fmla="*/ 882014 w 882014"/>
                  <a:gd name="connsiteY1-14" fmla="*/ 217408 h 217408"/>
                  <a:gd name="connsiteX2-15" fmla="*/ 0 w 882014"/>
                  <a:gd name="connsiteY2-16" fmla="*/ 217408 h 217408"/>
                  <a:gd name="connsiteX3-17" fmla="*/ 0 w 882014"/>
                  <a:gd name="connsiteY3-18" fmla="*/ 0 h 217408"/>
                  <a:gd name="connsiteX0-19" fmla="*/ 882014 w 882014"/>
                  <a:gd name="connsiteY0-20" fmla="*/ 217408 h 217408"/>
                  <a:gd name="connsiteX1-21" fmla="*/ 0 w 882014"/>
                  <a:gd name="connsiteY1-22" fmla="*/ 217408 h 217408"/>
                  <a:gd name="connsiteX2-23" fmla="*/ 0 w 882014"/>
                  <a:gd name="connsiteY2-24" fmla="*/ 0 h 217408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</a:cxnLst>
                <a:rect l="l" t="t" r="r" b="b"/>
                <a:pathLst>
                  <a:path w="882014" h="217408">
                    <a:moveTo>
                      <a:pt x="882014" y="217408"/>
                    </a:moveTo>
                    <a:lnTo>
                      <a:pt x="0" y="217408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</p:grpSp>
        <p:sp>
          <p:nvSpPr>
            <p:cNvPr id="38" name="任意多边形: 形状 37"/>
            <p:cNvSpPr/>
            <p:nvPr/>
          </p:nvSpPr>
          <p:spPr>
            <a:xfrm flipH="1" flipV="1">
              <a:off x="8607086" y="4949532"/>
              <a:ext cx="1953752" cy="98728"/>
            </a:xfrm>
            <a:custGeom>
              <a:avLst/>
              <a:gdLst>
                <a:gd name="connsiteX0" fmla="*/ 0 w 2292096"/>
                <a:gd name="connsiteY0" fmla="*/ 0 h 115824"/>
                <a:gd name="connsiteX1" fmla="*/ 1091184 w 2292096"/>
                <a:gd name="connsiteY1" fmla="*/ 0 h 115824"/>
                <a:gd name="connsiteX2" fmla="*/ 1207008 w 2292096"/>
                <a:gd name="connsiteY2" fmla="*/ 115824 h 115824"/>
                <a:gd name="connsiteX3" fmla="*/ 2292096 w 2292096"/>
                <a:gd name="connsiteY3" fmla="*/ 115824 h 11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2096" h="115824">
                  <a:moveTo>
                    <a:pt x="0" y="0"/>
                  </a:moveTo>
                  <a:lnTo>
                    <a:pt x="1091184" y="0"/>
                  </a:lnTo>
                  <a:lnTo>
                    <a:pt x="1207008" y="115824"/>
                  </a:lnTo>
                  <a:lnTo>
                    <a:pt x="2292096" y="115824"/>
                  </a:lnTo>
                </a:path>
              </a:pathLst>
            </a:custGeom>
            <a:noFill/>
            <a:ln w="6350">
              <a:solidFill>
                <a:schemeClr val="accent2"/>
              </a:solidFill>
              <a:headEnd type="none"/>
              <a:tailEnd type="non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endParaRPr>
            </a:p>
          </p:txBody>
        </p:sp>
        <p:grpSp>
          <p:nvGrpSpPr>
            <p:cNvPr id="27" name="组合 26"/>
            <p:cNvGrpSpPr/>
            <p:nvPr/>
          </p:nvGrpSpPr>
          <p:grpSpPr>
            <a:xfrm flipH="1">
              <a:off x="9014060" y="4974918"/>
              <a:ext cx="542684" cy="45830"/>
              <a:chOff x="3887573" y="3258264"/>
              <a:chExt cx="690142" cy="58283"/>
            </a:xfrm>
          </p:grpSpPr>
          <p:sp>
            <p:nvSpPr>
              <p:cNvPr id="29" name="平行四边形 28"/>
              <p:cNvSpPr/>
              <p:nvPr/>
            </p:nvSpPr>
            <p:spPr>
              <a:xfrm>
                <a:off x="388757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0" name="平行四边形 29"/>
              <p:cNvSpPr/>
              <p:nvPr/>
            </p:nvSpPr>
            <p:spPr>
              <a:xfrm>
                <a:off x="397139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1" name="平行四边形 30"/>
              <p:cNvSpPr/>
              <p:nvPr/>
            </p:nvSpPr>
            <p:spPr>
              <a:xfrm>
                <a:off x="405521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2" name="平行四边形 31"/>
              <p:cNvSpPr/>
              <p:nvPr/>
            </p:nvSpPr>
            <p:spPr>
              <a:xfrm>
                <a:off x="413903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3" name="平行四边形 32"/>
              <p:cNvSpPr/>
              <p:nvPr/>
            </p:nvSpPr>
            <p:spPr>
              <a:xfrm>
                <a:off x="422285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4" name="平行四边形 33"/>
              <p:cNvSpPr/>
              <p:nvPr/>
            </p:nvSpPr>
            <p:spPr>
              <a:xfrm>
                <a:off x="430667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5" name="平行四边形 34"/>
              <p:cNvSpPr/>
              <p:nvPr/>
            </p:nvSpPr>
            <p:spPr>
              <a:xfrm>
                <a:off x="439049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  <p:sp>
            <p:nvSpPr>
              <p:cNvPr id="36" name="平行四边形 35"/>
              <p:cNvSpPr/>
              <p:nvPr/>
            </p:nvSpPr>
            <p:spPr>
              <a:xfrm>
                <a:off x="4474313" y="3258264"/>
                <a:ext cx="103402" cy="58283"/>
              </a:xfrm>
              <a:prstGeom prst="parallelogram">
                <a:avLst>
                  <a:gd name="adj" fmla="val 9866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cs"/>
                </a:endParaRPr>
              </a:p>
            </p:txBody>
          </p:sp>
        </p:grpSp>
        <p:sp>
          <p:nvSpPr>
            <p:cNvPr id="28" name="任意多边形: 形状 27"/>
            <p:cNvSpPr/>
            <p:nvPr/>
          </p:nvSpPr>
          <p:spPr>
            <a:xfrm rot="10800000" flipH="1">
              <a:off x="9599956" y="4964227"/>
              <a:ext cx="354719" cy="52729"/>
            </a:xfrm>
            <a:custGeom>
              <a:avLst/>
              <a:gdLst>
                <a:gd name="connsiteX0" fmla="*/ 0 w 451104"/>
                <a:gd name="connsiteY0" fmla="*/ 67056 h 67056"/>
                <a:gd name="connsiteX1" fmla="*/ 67056 w 451104"/>
                <a:gd name="connsiteY1" fmla="*/ 0 h 67056"/>
                <a:gd name="connsiteX2" fmla="*/ 451104 w 451104"/>
                <a:gd name="connsiteY2" fmla="*/ 0 h 6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104" h="67056">
                  <a:moveTo>
                    <a:pt x="0" y="67056"/>
                  </a:moveTo>
                  <a:lnTo>
                    <a:pt x="67056" y="0"/>
                  </a:lnTo>
                  <a:lnTo>
                    <a:pt x="451104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endParaRPr>
            </a:p>
          </p:txBody>
        </p:sp>
        <p:sp>
          <p:nvSpPr>
            <p:cNvPr id="60" name="任意多边形: 形状 59"/>
            <p:cNvSpPr/>
            <p:nvPr/>
          </p:nvSpPr>
          <p:spPr>
            <a:xfrm flipH="1" flipV="1">
              <a:off x="8124485" y="4949532"/>
              <a:ext cx="924914" cy="0"/>
            </a:xfrm>
            <a:custGeom>
              <a:avLst/>
              <a:gdLst>
                <a:gd name="connsiteX0" fmla="*/ 0 w 2292096"/>
                <a:gd name="connsiteY0" fmla="*/ 0 h 115824"/>
                <a:gd name="connsiteX1" fmla="*/ 1091184 w 2292096"/>
                <a:gd name="connsiteY1" fmla="*/ 0 h 115824"/>
                <a:gd name="connsiteX2" fmla="*/ 1207008 w 2292096"/>
                <a:gd name="connsiteY2" fmla="*/ 115824 h 115824"/>
                <a:gd name="connsiteX3" fmla="*/ 2292096 w 2292096"/>
                <a:gd name="connsiteY3" fmla="*/ 115824 h 115824"/>
                <a:gd name="connsiteX0-1" fmla="*/ 0 w 1200912"/>
                <a:gd name="connsiteY0-2" fmla="*/ 0 h 115824"/>
                <a:gd name="connsiteX1-3" fmla="*/ 115824 w 1200912"/>
                <a:gd name="connsiteY1-4" fmla="*/ 115824 h 115824"/>
                <a:gd name="connsiteX2-5" fmla="*/ 1200912 w 1200912"/>
                <a:gd name="connsiteY2-6" fmla="*/ 115824 h 115824"/>
                <a:gd name="connsiteX0-7" fmla="*/ 0 w 1085088"/>
                <a:gd name="connsiteY0-8" fmla="*/ 0 h 0"/>
                <a:gd name="connsiteX1-9" fmla="*/ 1085088 w 1085088"/>
                <a:gd name="connsiteY1-10" fmla="*/ 0 h 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1085088">
                  <a:moveTo>
                    <a:pt x="0" y="0"/>
                  </a:moveTo>
                  <a:lnTo>
                    <a:pt x="1085088" y="0"/>
                  </a:lnTo>
                </a:path>
              </a:pathLst>
            </a:custGeom>
            <a:noFill/>
            <a:ln w="6350">
              <a:solidFill>
                <a:schemeClr val="accent2"/>
              </a:solidFill>
              <a:headEnd type="none"/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endParaRPr>
            </a:p>
          </p:txBody>
        </p:sp>
      </p:grpSp>
      <p:pic>
        <p:nvPicPr>
          <p:cNvPr id="88" name="图片 87"/>
          <p:cNvPicPr>
            <a:picLocks noChangeAspect="1"/>
          </p:cNvPicPr>
          <p:nvPr/>
        </p:nvPicPr>
        <p:blipFill>
          <a:blip r:embed="rId6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89" name="文本框 88"/>
          <p:cNvSpPr txBox="1"/>
          <p:nvPr/>
        </p:nvSpPr>
        <p:spPr>
          <a:xfrm>
            <a:off x="11608978" y="6452595"/>
            <a:ext cx="33855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6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91" name="object 18"/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19"/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20"/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21"/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5" name="文本框 94"/>
          <p:cNvSpPr txBox="1"/>
          <p:nvPr/>
        </p:nvSpPr>
        <p:spPr>
          <a:xfrm>
            <a:off x="10215841" y="336016"/>
            <a:ext cx="1633259" cy="140768"/>
          </a:xfrm>
          <a:custGeom>
            <a:avLst/>
            <a:gdLst/>
            <a:ahLst/>
            <a:cxnLst/>
            <a:rect l="l" t="t" r="r" b="b"/>
            <a:pathLst>
              <a:path w="1106043" h="95328">
                <a:moveTo>
                  <a:pt x="145131" y="69900"/>
                </a:moveTo>
                <a:cubicBezTo>
                  <a:pt x="145191" y="71400"/>
                  <a:pt x="145252" y="72900"/>
                  <a:pt x="145313" y="74400"/>
                </a:cubicBezTo>
                <a:cubicBezTo>
                  <a:pt x="141611" y="75656"/>
                  <a:pt x="138240" y="76807"/>
                  <a:pt x="135202" y="77853"/>
                </a:cubicBezTo>
                <a:cubicBezTo>
                  <a:pt x="126016" y="80992"/>
                  <a:pt x="116830" y="84131"/>
                  <a:pt x="107645" y="87271"/>
                </a:cubicBezTo>
                <a:cubicBezTo>
                  <a:pt x="107544" y="85596"/>
                  <a:pt x="107443" y="83922"/>
                  <a:pt x="107341" y="82248"/>
                </a:cubicBezTo>
                <a:cubicBezTo>
                  <a:pt x="109542" y="81620"/>
                  <a:pt x="112155" y="80818"/>
                  <a:pt x="115182" y="79841"/>
                </a:cubicBezTo>
                <a:cubicBezTo>
                  <a:pt x="117836" y="79004"/>
                  <a:pt x="120939" y="77993"/>
                  <a:pt x="124489" y="76807"/>
                </a:cubicBezTo>
                <a:cubicBezTo>
                  <a:pt x="131370" y="74504"/>
                  <a:pt x="138250" y="72202"/>
                  <a:pt x="145131" y="69900"/>
                </a:cubicBezTo>
                <a:close/>
                <a:moveTo>
                  <a:pt x="426897" y="56925"/>
                </a:moveTo>
                <a:cubicBezTo>
                  <a:pt x="425377" y="65924"/>
                  <a:pt x="423857" y="74923"/>
                  <a:pt x="422337" y="83922"/>
                </a:cubicBezTo>
                <a:cubicBezTo>
                  <a:pt x="440521" y="83922"/>
                  <a:pt x="458704" y="83922"/>
                  <a:pt x="476887" y="83922"/>
                </a:cubicBezTo>
                <a:cubicBezTo>
                  <a:pt x="478407" y="74923"/>
                  <a:pt x="479927" y="65924"/>
                  <a:pt x="481448" y="56925"/>
                </a:cubicBezTo>
                <a:cubicBezTo>
                  <a:pt x="463264" y="56925"/>
                  <a:pt x="445081" y="56925"/>
                  <a:pt x="426897" y="56925"/>
                </a:cubicBezTo>
                <a:close/>
                <a:moveTo>
                  <a:pt x="422703" y="52007"/>
                </a:moveTo>
                <a:cubicBezTo>
                  <a:pt x="444271" y="52007"/>
                  <a:pt x="465840" y="52007"/>
                  <a:pt x="487409" y="52007"/>
                </a:cubicBezTo>
                <a:cubicBezTo>
                  <a:pt x="485017" y="66168"/>
                  <a:pt x="482625" y="80329"/>
                  <a:pt x="480233" y="94491"/>
                </a:cubicBezTo>
                <a:cubicBezTo>
                  <a:pt x="478522" y="94491"/>
                  <a:pt x="476812" y="94491"/>
                  <a:pt x="475102" y="94491"/>
                </a:cubicBezTo>
                <a:cubicBezTo>
                  <a:pt x="475420" y="92607"/>
                  <a:pt x="475738" y="90724"/>
                  <a:pt x="476057" y="88840"/>
                </a:cubicBezTo>
                <a:cubicBezTo>
                  <a:pt x="457873" y="88840"/>
                  <a:pt x="439690" y="88840"/>
                  <a:pt x="421507" y="88840"/>
                </a:cubicBezTo>
                <a:cubicBezTo>
                  <a:pt x="421171" y="90828"/>
                  <a:pt x="420835" y="92817"/>
                  <a:pt x="420499" y="94805"/>
                </a:cubicBezTo>
                <a:cubicBezTo>
                  <a:pt x="418824" y="94805"/>
                  <a:pt x="417149" y="94805"/>
                  <a:pt x="415473" y="94805"/>
                </a:cubicBezTo>
                <a:cubicBezTo>
                  <a:pt x="417883" y="80539"/>
                  <a:pt x="420293" y="66273"/>
                  <a:pt x="422703" y="52007"/>
                </a:cubicBezTo>
                <a:close/>
                <a:moveTo>
                  <a:pt x="63105" y="49705"/>
                </a:moveTo>
                <a:cubicBezTo>
                  <a:pt x="61808" y="57378"/>
                  <a:pt x="60512" y="65052"/>
                  <a:pt x="59216" y="72726"/>
                </a:cubicBezTo>
                <a:cubicBezTo>
                  <a:pt x="69128" y="72726"/>
                  <a:pt x="79040" y="72726"/>
                  <a:pt x="88952" y="72726"/>
                </a:cubicBezTo>
                <a:cubicBezTo>
                  <a:pt x="90248" y="65052"/>
                  <a:pt x="91544" y="57378"/>
                  <a:pt x="92840" y="49705"/>
                </a:cubicBezTo>
                <a:cubicBezTo>
                  <a:pt x="82928" y="49705"/>
                  <a:pt x="73017" y="49705"/>
                  <a:pt x="63105" y="49705"/>
                </a:cubicBezTo>
                <a:close/>
                <a:moveTo>
                  <a:pt x="59048" y="45205"/>
                </a:moveTo>
                <a:cubicBezTo>
                  <a:pt x="72206" y="45205"/>
                  <a:pt x="85364" y="45205"/>
                  <a:pt x="98521" y="45205"/>
                </a:cubicBezTo>
                <a:cubicBezTo>
                  <a:pt x="96718" y="55878"/>
                  <a:pt x="94915" y="66552"/>
                  <a:pt x="93113" y="77225"/>
                </a:cubicBezTo>
                <a:cubicBezTo>
                  <a:pt x="79955" y="77225"/>
                  <a:pt x="66797" y="77225"/>
                  <a:pt x="53640" y="77225"/>
                </a:cubicBezTo>
                <a:cubicBezTo>
                  <a:pt x="55443" y="66552"/>
                  <a:pt x="57246" y="55878"/>
                  <a:pt x="59048" y="45205"/>
                </a:cubicBezTo>
                <a:close/>
                <a:moveTo>
                  <a:pt x="1072837" y="40810"/>
                </a:moveTo>
                <a:cubicBezTo>
                  <a:pt x="1074512" y="40810"/>
                  <a:pt x="1076187" y="40810"/>
                  <a:pt x="1077862" y="40810"/>
                </a:cubicBezTo>
                <a:cubicBezTo>
                  <a:pt x="1075411" y="55320"/>
                  <a:pt x="1072960" y="69831"/>
                  <a:pt x="1070509" y="84341"/>
                </a:cubicBezTo>
                <a:cubicBezTo>
                  <a:pt x="1070120" y="86643"/>
                  <a:pt x="1071217" y="87794"/>
                  <a:pt x="1073800" y="87794"/>
                </a:cubicBezTo>
                <a:cubicBezTo>
                  <a:pt x="1077709" y="87794"/>
                  <a:pt x="1081618" y="87794"/>
                  <a:pt x="1085527" y="87794"/>
                </a:cubicBezTo>
                <a:cubicBezTo>
                  <a:pt x="1087132" y="87794"/>
                  <a:pt x="1088344" y="86817"/>
                  <a:pt x="1089163" y="84864"/>
                </a:cubicBezTo>
                <a:cubicBezTo>
                  <a:pt x="1089969" y="82980"/>
                  <a:pt x="1091026" y="78585"/>
                  <a:pt x="1092332" y="71679"/>
                </a:cubicBezTo>
                <a:cubicBezTo>
                  <a:pt x="1093679" y="72795"/>
                  <a:pt x="1095126" y="73528"/>
                  <a:pt x="1096673" y="73877"/>
                </a:cubicBezTo>
                <a:cubicBezTo>
                  <a:pt x="1095051" y="81411"/>
                  <a:pt x="1093545" y="86399"/>
                  <a:pt x="1092155" y="88840"/>
                </a:cubicBezTo>
                <a:cubicBezTo>
                  <a:pt x="1090615" y="91352"/>
                  <a:pt x="1088239" y="92607"/>
                  <a:pt x="1085028" y="92607"/>
                </a:cubicBezTo>
                <a:cubicBezTo>
                  <a:pt x="1080875" y="92607"/>
                  <a:pt x="1076721" y="92607"/>
                  <a:pt x="1072568" y="92607"/>
                </a:cubicBezTo>
                <a:cubicBezTo>
                  <a:pt x="1066914" y="92607"/>
                  <a:pt x="1064559" y="89817"/>
                  <a:pt x="1065501" y="84236"/>
                </a:cubicBezTo>
                <a:cubicBezTo>
                  <a:pt x="1067946" y="69761"/>
                  <a:pt x="1070391" y="55285"/>
                  <a:pt x="1072837" y="40810"/>
                </a:cubicBezTo>
                <a:close/>
                <a:moveTo>
                  <a:pt x="592163" y="33276"/>
                </a:moveTo>
                <a:cubicBezTo>
                  <a:pt x="599597" y="33276"/>
                  <a:pt x="607031" y="33276"/>
                  <a:pt x="614464" y="33276"/>
                </a:cubicBezTo>
                <a:cubicBezTo>
                  <a:pt x="611843" y="48798"/>
                  <a:pt x="609221" y="64319"/>
                  <a:pt x="606599" y="79841"/>
                </a:cubicBezTo>
                <a:cubicBezTo>
                  <a:pt x="611789" y="76597"/>
                  <a:pt x="616978" y="73353"/>
                  <a:pt x="622168" y="70110"/>
                </a:cubicBezTo>
                <a:cubicBezTo>
                  <a:pt x="622234" y="71784"/>
                  <a:pt x="622528" y="73144"/>
                  <a:pt x="623049" y="74191"/>
                </a:cubicBezTo>
                <a:cubicBezTo>
                  <a:pt x="618774" y="76981"/>
                  <a:pt x="614498" y="79771"/>
                  <a:pt x="610223" y="82562"/>
                </a:cubicBezTo>
                <a:cubicBezTo>
                  <a:pt x="606844" y="84794"/>
                  <a:pt x="604363" y="86468"/>
                  <a:pt x="602778" y="87585"/>
                </a:cubicBezTo>
                <a:cubicBezTo>
                  <a:pt x="599935" y="89538"/>
                  <a:pt x="598129" y="90933"/>
                  <a:pt x="597359" y="91770"/>
                </a:cubicBezTo>
                <a:cubicBezTo>
                  <a:pt x="596862" y="90584"/>
                  <a:pt x="595945" y="89398"/>
                  <a:pt x="594610" y="88212"/>
                </a:cubicBezTo>
                <a:cubicBezTo>
                  <a:pt x="595239" y="87794"/>
                  <a:pt x="595880" y="87306"/>
                  <a:pt x="596533" y="86747"/>
                </a:cubicBezTo>
                <a:cubicBezTo>
                  <a:pt x="597349" y="86050"/>
                  <a:pt x="598100" y="85317"/>
                  <a:pt x="598788" y="84550"/>
                </a:cubicBezTo>
                <a:cubicBezTo>
                  <a:pt x="600596" y="82527"/>
                  <a:pt x="601683" y="80434"/>
                  <a:pt x="602048" y="78272"/>
                </a:cubicBezTo>
                <a:cubicBezTo>
                  <a:pt x="604304" y="64912"/>
                  <a:pt x="606561" y="51553"/>
                  <a:pt x="608817" y="38194"/>
                </a:cubicBezTo>
                <a:cubicBezTo>
                  <a:pt x="602989" y="38194"/>
                  <a:pt x="597161" y="38194"/>
                  <a:pt x="591332" y="38194"/>
                </a:cubicBezTo>
                <a:cubicBezTo>
                  <a:pt x="591609" y="36555"/>
                  <a:pt x="591886" y="34915"/>
                  <a:pt x="592163" y="33276"/>
                </a:cubicBezTo>
                <a:close/>
                <a:moveTo>
                  <a:pt x="871187" y="20928"/>
                </a:moveTo>
                <a:cubicBezTo>
                  <a:pt x="872832" y="21521"/>
                  <a:pt x="874477" y="22114"/>
                  <a:pt x="876122" y="22707"/>
                </a:cubicBezTo>
                <a:cubicBezTo>
                  <a:pt x="873974" y="25916"/>
                  <a:pt x="871990" y="28776"/>
                  <a:pt x="870170" y="31288"/>
                </a:cubicBezTo>
                <a:cubicBezTo>
                  <a:pt x="867813" y="34497"/>
                  <a:pt x="865719" y="37182"/>
                  <a:pt x="863888" y="39345"/>
                </a:cubicBezTo>
                <a:cubicBezTo>
                  <a:pt x="873137" y="39345"/>
                  <a:pt x="882385" y="39345"/>
                  <a:pt x="891634" y="39345"/>
                </a:cubicBezTo>
                <a:cubicBezTo>
                  <a:pt x="891357" y="40984"/>
                  <a:pt x="891080" y="42624"/>
                  <a:pt x="890803" y="44263"/>
                </a:cubicBezTo>
                <a:cubicBezTo>
                  <a:pt x="864977" y="44263"/>
                  <a:pt x="839150" y="44263"/>
                  <a:pt x="813323" y="44263"/>
                </a:cubicBezTo>
                <a:cubicBezTo>
                  <a:pt x="812805" y="47333"/>
                  <a:pt x="812287" y="50402"/>
                  <a:pt x="811768" y="53472"/>
                </a:cubicBezTo>
                <a:cubicBezTo>
                  <a:pt x="811191" y="56890"/>
                  <a:pt x="810491" y="60204"/>
                  <a:pt x="809670" y="63413"/>
                </a:cubicBezTo>
                <a:cubicBezTo>
                  <a:pt x="808743" y="67249"/>
                  <a:pt x="807641" y="70877"/>
                  <a:pt x="806366" y="74295"/>
                </a:cubicBezTo>
                <a:cubicBezTo>
                  <a:pt x="804857" y="78272"/>
                  <a:pt x="803156" y="81934"/>
                  <a:pt x="801264" y="85282"/>
                </a:cubicBezTo>
                <a:cubicBezTo>
                  <a:pt x="799162" y="89050"/>
                  <a:pt x="796817" y="92398"/>
                  <a:pt x="794228" y="95328"/>
                </a:cubicBezTo>
                <a:cubicBezTo>
                  <a:pt x="793091" y="93793"/>
                  <a:pt x="791912" y="92712"/>
                  <a:pt x="790692" y="92084"/>
                </a:cubicBezTo>
                <a:cubicBezTo>
                  <a:pt x="793118" y="89294"/>
                  <a:pt x="795323" y="86155"/>
                  <a:pt x="797309" y="82666"/>
                </a:cubicBezTo>
                <a:cubicBezTo>
                  <a:pt x="799026" y="79527"/>
                  <a:pt x="800539" y="76144"/>
                  <a:pt x="801850" y="72516"/>
                </a:cubicBezTo>
                <a:cubicBezTo>
                  <a:pt x="803009" y="69377"/>
                  <a:pt x="804028" y="66029"/>
                  <a:pt x="804908" y="62471"/>
                </a:cubicBezTo>
                <a:cubicBezTo>
                  <a:pt x="805589" y="59680"/>
                  <a:pt x="806206" y="56646"/>
                  <a:pt x="806760" y="53367"/>
                </a:cubicBezTo>
                <a:cubicBezTo>
                  <a:pt x="807549" y="48693"/>
                  <a:pt x="808339" y="44019"/>
                  <a:pt x="809129" y="39345"/>
                </a:cubicBezTo>
                <a:cubicBezTo>
                  <a:pt x="825741" y="39345"/>
                  <a:pt x="842354" y="39345"/>
                  <a:pt x="858967" y="39345"/>
                </a:cubicBezTo>
                <a:cubicBezTo>
                  <a:pt x="863551" y="33694"/>
                  <a:pt x="867624" y="27556"/>
                  <a:pt x="871187" y="20928"/>
                </a:cubicBezTo>
                <a:close/>
                <a:moveTo>
                  <a:pt x="831157" y="20510"/>
                </a:moveTo>
                <a:cubicBezTo>
                  <a:pt x="834669" y="26160"/>
                  <a:pt x="836956" y="31218"/>
                  <a:pt x="838017" y="35683"/>
                </a:cubicBezTo>
                <a:cubicBezTo>
                  <a:pt x="836439" y="36345"/>
                  <a:pt x="834861" y="37008"/>
                  <a:pt x="833284" y="37671"/>
                </a:cubicBezTo>
                <a:cubicBezTo>
                  <a:pt x="832188" y="32997"/>
                  <a:pt x="829989" y="27835"/>
                  <a:pt x="826686" y="22184"/>
                </a:cubicBezTo>
                <a:cubicBezTo>
                  <a:pt x="828176" y="21626"/>
                  <a:pt x="829666" y="21068"/>
                  <a:pt x="831157" y="20510"/>
                </a:cubicBezTo>
                <a:close/>
                <a:moveTo>
                  <a:pt x="1017232" y="19777"/>
                </a:moveTo>
                <a:cubicBezTo>
                  <a:pt x="1018558" y="19986"/>
                  <a:pt x="1019884" y="20196"/>
                  <a:pt x="1021209" y="20405"/>
                </a:cubicBezTo>
                <a:cubicBezTo>
                  <a:pt x="1020071" y="25079"/>
                  <a:pt x="1018688" y="29753"/>
                  <a:pt x="1017061" y="34427"/>
                </a:cubicBezTo>
                <a:cubicBezTo>
                  <a:pt x="1015083" y="39938"/>
                  <a:pt x="1013107" y="44403"/>
                  <a:pt x="1011134" y="47821"/>
                </a:cubicBezTo>
                <a:cubicBezTo>
                  <a:pt x="1009821" y="47333"/>
                  <a:pt x="1008507" y="46844"/>
                  <a:pt x="1007193" y="46356"/>
                </a:cubicBezTo>
                <a:cubicBezTo>
                  <a:pt x="1009131" y="43147"/>
                  <a:pt x="1011037" y="38892"/>
                  <a:pt x="1012910" y="33590"/>
                </a:cubicBezTo>
                <a:cubicBezTo>
                  <a:pt x="1014583" y="29055"/>
                  <a:pt x="1016024" y="24451"/>
                  <a:pt x="1017232" y="19777"/>
                </a:cubicBezTo>
                <a:close/>
                <a:moveTo>
                  <a:pt x="327443" y="18417"/>
                </a:moveTo>
                <a:cubicBezTo>
                  <a:pt x="331250" y="28114"/>
                  <a:pt x="333471" y="36450"/>
                  <a:pt x="334108" y="43426"/>
                </a:cubicBezTo>
                <a:cubicBezTo>
                  <a:pt x="332437" y="44019"/>
                  <a:pt x="330766" y="44612"/>
                  <a:pt x="329096" y="45205"/>
                </a:cubicBezTo>
                <a:cubicBezTo>
                  <a:pt x="328460" y="37810"/>
                  <a:pt x="326367" y="29334"/>
                  <a:pt x="322816" y="19777"/>
                </a:cubicBezTo>
                <a:cubicBezTo>
                  <a:pt x="324358" y="19324"/>
                  <a:pt x="325901" y="18870"/>
                  <a:pt x="327443" y="18417"/>
                </a:cubicBezTo>
                <a:close/>
                <a:moveTo>
                  <a:pt x="384403" y="17789"/>
                </a:moveTo>
                <a:cubicBezTo>
                  <a:pt x="386047" y="18382"/>
                  <a:pt x="387692" y="18975"/>
                  <a:pt x="389337" y="19568"/>
                </a:cubicBezTo>
                <a:cubicBezTo>
                  <a:pt x="387872" y="21835"/>
                  <a:pt x="386407" y="24102"/>
                  <a:pt x="384943" y="26370"/>
                </a:cubicBezTo>
                <a:cubicBezTo>
                  <a:pt x="383332" y="28881"/>
                  <a:pt x="381785" y="31218"/>
                  <a:pt x="380303" y="33381"/>
                </a:cubicBezTo>
                <a:cubicBezTo>
                  <a:pt x="376685" y="38682"/>
                  <a:pt x="373646" y="42833"/>
                  <a:pt x="371185" y="45833"/>
                </a:cubicBezTo>
                <a:cubicBezTo>
                  <a:pt x="369842" y="45310"/>
                  <a:pt x="368500" y="44786"/>
                  <a:pt x="367157" y="44263"/>
                </a:cubicBezTo>
                <a:cubicBezTo>
                  <a:pt x="369817" y="40915"/>
                  <a:pt x="372845" y="36624"/>
                  <a:pt x="376241" y="31392"/>
                </a:cubicBezTo>
                <a:cubicBezTo>
                  <a:pt x="379451" y="26439"/>
                  <a:pt x="382172" y="21905"/>
                  <a:pt x="384403" y="17789"/>
                </a:cubicBezTo>
                <a:close/>
                <a:moveTo>
                  <a:pt x="1038703" y="16638"/>
                </a:moveTo>
                <a:cubicBezTo>
                  <a:pt x="1041131" y="23754"/>
                  <a:pt x="1042536" y="30102"/>
                  <a:pt x="1042920" y="35683"/>
                </a:cubicBezTo>
                <a:cubicBezTo>
                  <a:pt x="1041441" y="36380"/>
                  <a:pt x="1039962" y="37078"/>
                  <a:pt x="1038483" y="37775"/>
                </a:cubicBezTo>
                <a:cubicBezTo>
                  <a:pt x="1038135" y="31985"/>
                  <a:pt x="1036869" y="25428"/>
                  <a:pt x="1034686" y="18103"/>
                </a:cubicBezTo>
                <a:cubicBezTo>
                  <a:pt x="1036025" y="17615"/>
                  <a:pt x="1037364" y="17126"/>
                  <a:pt x="1038703" y="16638"/>
                </a:cubicBezTo>
                <a:close/>
                <a:moveTo>
                  <a:pt x="248796" y="16533"/>
                </a:moveTo>
                <a:cubicBezTo>
                  <a:pt x="246809" y="20858"/>
                  <a:pt x="244741" y="25253"/>
                  <a:pt x="242591" y="29718"/>
                </a:cubicBezTo>
                <a:cubicBezTo>
                  <a:pt x="240756" y="33555"/>
                  <a:pt x="238594" y="37880"/>
                  <a:pt x="236106" y="42694"/>
                </a:cubicBezTo>
                <a:cubicBezTo>
                  <a:pt x="233758" y="47298"/>
                  <a:pt x="231409" y="51902"/>
                  <a:pt x="229061" y="56506"/>
                </a:cubicBezTo>
                <a:cubicBezTo>
                  <a:pt x="237856" y="56506"/>
                  <a:pt x="246651" y="56506"/>
                  <a:pt x="255446" y="56506"/>
                </a:cubicBezTo>
                <a:cubicBezTo>
                  <a:pt x="254688" y="51902"/>
                  <a:pt x="253930" y="47298"/>
                  <a:pt x="253172" y="42694"/>
                </a:cubicBezTo>
                <a:cubicBezTo>
                  <a:pt x="252414" y="38508"/>
                  <a:pt x="251713" y="34183"/>
                  <a:pt x="251071" y="29718"/>
                </a:cubicBezTo>
                <a:cubicBezTo>
                  <a:pt x="250463" y="25881"/>
                  <a:pt x="249844" y="21486"/>
                  <a:pt x="249215" y="16533"/>
                </a:cubicBezTo>
                <a:cubicBezTo>
                  <a:pt x="249075" y="16533"/>
                  <a:pt x="248936" y="16533"/>
                  <a:pt x="248796" y="16533"/>
                </a:cubicBezTo>
                <a:close/>
                <a:moveTo>
                  <a:pt x="173996" y="11824"/>
                </a:moveTo>
                <a:cubicBezTo>
                  <a:pt x="173080" y="16010"/>
                  <a:pt x="172275" y="19533"/>
                  <a:pt x="171583" y="22393"/>
                </a:cubicBezTo>
                <a:cubicBezTo>
                  <a:pt x="170773" y="25742"/>
                  <a:pt x="169963" y="29090"/>
                  <a:pt x="169153" y="32439"/>
                </a:cubicBezTo>
                <a:cubicBezTo>
                  <a:pt x="170948" y="47019"/>
                  <a:pt x="174796" y="59366"/>
                  <a:pt x="180696" y="69482"/>
                </a:cubicBezTo>
                <a:cubicBezTo>
                  <a:pt x="188287" y="61320"/>
                  <a:pt x="194351" y="51867"/>
                  <a:pt x="198888" y="41124"/>
                </a:cubicBezTo>
                <a:cubicBezTo>
                  <a:pt x="192780" y="41124"/>
                  <a:pt x="186672" y="41124"/>
                  <a:pt x="180565" y="41124"/>
                </a:cubicBezTo>
                <a:cubicBezTo>
                  <a:pt x="182492" y="37566"/>
                  <a:pt x="184729" y="32997"/>
                  <a:pt x="187278" y="27416"/>
                </a:cubicBezTo>
                <a:cubicBezTo>
                  <a:pt x="189673" y="22323"/>
                  <a:pt x="192017" y="17126"/>
                  <a:pt x="194309" y="11824"/>
                </a:cubicBezTo>
                <a:cubicBezTo>
                  <a:pt x="187538" y="11824"/>
                  <a:pt x="180767" y="11824"/>
                  <a:pt x="173996" y="11824"/>
                </a:cubicBezTo>
                <a:close/>
                <a:moveTo>
                  <a:pt x="287491" y="10883"/>
                </a:moveTo>
                <a:cubicBezTo>
                  <a:pt x="289585" y="10883"/>
                  <a:pt x="291679" y="10883"/>
                  <a:pt x="293773" y="10883"/>
                </a:cubicBezTo>
                <a:cubicBezTo>
                  <a:pt x="289478" y="36310"/>
                  <a:pt x="285183" y="61738"/>
                  <a:pt x="280888" y="87166"/>
                </a:cubicBezTo>
                <a:cubicBezTo>
                  <a:pt x="278794" y="87166"/>
                  <a:pt x="276700" y="87166"/>
                  <a:pt x="274606" y="87166"/>
                </a:cubicBezTo>
                <a:cubicBezTo>
                  <a:pt x="278901" y="61738"/>
                  <a:pt x="283196" y="36310"/>
                  <a:pt x="287491" y="10883"/>
                </a:cubicBezTo>
                <a:close/>
                <a:moveTo>
                  <a:pt x="246819" y="10883"/>
                </a:moveTo>
                <a:cubicBezTo>
                  <a:pt x="248983" y="10883"/>
                  <a:pt x="251147" y="10883"/>
                  <a:pt x="253311" y="10883"/>
                </a:cubicBezTo>
                <a:cubicBezTo>
                  <a:pt x="257915" y="36310"/>
                  <a:pt x="262520" y="61738"/>
                  <a:pt x="267125" y="87166"/>
                </a:cubicBezTo>
                <a:cubicBezTo>
                  <a:pt x="264891" y="87166"/>
                  <a:pt x="262657" y="87166"/>
                  <a:pt x="260424" y="87166"/>
                </a:cubicBezTo>
                <a:cubicBezTo>
                  <a:pt x="259040" y="78620"/>
                  <a:pt x="257657" y="70075"/>
                  <a:pt x="256273" y="61529"/>
                </a:cubicBezTo>
                <a:cubicBezTo>
                  <a:pt x="246361" y="61529"/>
                  <a:pt x="236449" y="61529"/>
                  <a:pt x="226538" y="61529"/>
                </a:cubicBezTo>
                <a:cubicBezTo>
                  <a:pt x="222197" y="70075"/>
                  <a:pt x="217857" y="78620"/>
                  <a:pt x="213517" y="87166"/>
                </a:cubicBezTo>
                <a:cubicBezTo>
                  <a:pt x="211423" y="87166"/>
                  <a:pt x="209329" y="87166"/>
                  <a:pt x="207235" y="87166"/>
                </a:cubicBezTo>
                <a:cubicBezTo>
                  <a:pt x="220429" y="61738"/>
                  <a:pt x="233624" y="36310"/>
                  <a:pt x="246819" y="10883"/>
                </a:cubicBezTo>
                <a:close/>
                <a:moveTo>
                  <a:pt x="316944" y="7430"/>
                </a:moveTo>
                <a:cubicBezTo>
                  <a:pt x="344167" y="7430"/>
                  <a:pt x="371389" y="7430"/>
                  <a:pt x="398612" y="7430"/>
                </a:cubicBezTo>
                <a:cubicBezTo>
                  <a:pt x="398335" y="9069"/>
                  <a:pt x="398058" y="10708"/>
                  <a:pt x="397781" y="12348"/>
                </a:cubicBezTo>
                <a:cubicBezTo>
                  <a:pt x="384973" y="12348"/>
                  <a:pt x="372164" y="12348"/>
                  <a:pt x="359355" y="12348"/>
                </a:cubicBezTo>
                <a:cubicBezTo>
                  <a:pt x="357140" y="25463"/>
                  <a:pt x="354925" y="38578"/>
                  <a:pt x="352709" y="51693"/>
                </a:cubicBezTo>
                <a:cubicBezTo>
                  <a:pt x="367438" y="51693"/>
                  <a:pt x="382166" y="51693"/>
                  <a:pt x="396894" y="51693"/>
                </a:cubicBezTo>
                <a:cubicBezTo>
                  <a:pt x="396611" y="53367"/>
                  <a:pt x="396328" y="55041"/>
                  <a:pt x="396046" y="56715"/>
                </a:cubicBezTo>
                <a:cubicBezTo>
                  <a:pt x="381317" y="56715"/>
                  <a:pt x="366589" y="56715"/>
                  <a:pt x="351861" y="56715"/>
                </a:cubicBezTo>
                <a:cubicBezTo>
                  <a:pt x="349716" y="69412"/>
                  <a:pt x="347572" y="82108"/>
                  <a:pt x="345427" y="94805"/>
                </a:cubicBezTo>
                <a:cubicBezTo>
                  <a:pt x="343752" y="94805"/>
                  <a:pt x="342077" y="94805"/>
                  <a:pt x="340401" y="94805"/>
                </a:cubicBezTo>
                <a:cubicBezTo>
                  <a:pt x="342546" y="82108"/>
                  <a:pt x="344691" y="69412"/>
                  <a:pt x="346835" y="56715"/>
                </a:cubicBezTo>
                <a:cubicBezTo>
                  <a:pt x="332317" y="56715"/>
                  <a:pt x="317798" y="56715"/>
                  <a:pt x="303279" y="56715"/>
                </a:cubicBezTo>
                <a:cubicBezTo>
                  <a:pt x="303562" y="55041"/>
                  <a:pt x="303845" y="53367"/>
                  <a:pt x="304127" y="51693"/>
                </a:cubicBezTo>
                <a:cubicBezTo>
                  <a:pt x="318646" y="51693"/>
                  <a:pt x="333165" y="51693"/>
                  <a:pt x="347684" y="51693"/>
                </a:cubicBezTo>
                <a:cubicBezTo>
                  <a:pt x="349899" y="38578"/>
                  <a:pt x="352114" y="25463"/>
                  <a:pt x="354330" y="12348"/>
                </a:cubicBezTo>
                <a:cubicBezTo>
                  <a:pt x="341591" y="12348"/>
                  <a:pt x="328852" y="12348"/>
                  <a:pt x="316113" y="12348"/>
                </a:cubicBezTo>
                <a:cubicBezTo>
                  <a:pt x="316390" y="10708"/>
                  <a:pt x="316667" y="9069"/>
                  <a:pt x="316944" y="7430"/>
                </a:cubicBezTo>
                <a:close/>
                <a:moveTo>
                  <a:pt x="917879" y="7325"/>
                </a:moveTo>
                <a:cubicBezTo>
                  <a:pt x="944578" y="7325"/>
                  <a:pt x="971277" y="7325"/>
                  <a:pt x="997976" y="7325"/>
                </a:cubicBezTo>
                <a:cubicBezTo>
                  <a:pt x="997699" y="8964"/>
                  <a:pt x="997422" y="10604"/>
                  <a:pt x="997145" y="12243"/>
                </a:cubicBezTo>
                <a:cubicBezTo>
                  <a:pt x="983988" y="12243"/>
                  <a:pt x="970830" y="12243"/>
                  <a:pt x="957673" y="12243"/>
                </a:cubicBezTo>
                <a:cubicBezTo>
                  <a:pt x="957167" y="14824"/>
                  <a:pt x="956703" y="16952"/>
                  <a:pt x="956280" y="18626"/>
                </a:cubicBezTo>
                <a:cubicBezTo>
                  <a:pt x="955810" y="20998"/>
                  <a:pt x="955334" y="23195"/>
                  <a:pt x="954853" y="25219"/>
                </a:cubicBezTo>
                <a:cubicBezTo>
                  <a:pt x="953585" y="30241"/>
                  <a:pt x="952261" y="34776"/>
                  <a:pt x="950880" y="38822"/>
                </a:cubicBezTo>
                <a:cubicBezTo>
                  <a:pt x="966829" y="38822"/>
                  <a:pt x="982779" y="38822"/>
                  <a:pt x="998729" y="38822"/>
                </a:cubicBezTo>
                <a:cubicBezTo>
                  <a:pt x="998452" y="40461"/>
                  <a:pt x="998175" y="42101"/>
                  <a:pt x="997898" y="43740"/>
                </a:cubicBezTo>
                <a:cubicBezTo>
                  <a:pt x="984636" y="43740"/>
                  <a:pt x="971373" y="43740"/>
                  <a:pt x="958111" y="43740"/>
                </a:cubicBezTo>
                <a:cubicBezTo>
                  <a:pt x="955896" y="56855"/>
                  <a:pt x="953680" y="69970"/>
                  <a:pt x="951465" y="83085"/>
                </a:cubicBezTo>
                <a:cubicBezTo>
                  <a:pt x="950958" y="86085"/>
                  <a:pt x="953113" y="87585"/>
                  <a:pt x="957929" y="87585"/>
                </a:cubicBezTo>
                <a:cubicBezTo>
                  <a:pt x="965049" y="87585"/>
                  <a:pt x="972169" y="87585"/>
                  <a:pt x="979289" y="87585"/>
                </a:cubicBezTo>
                <a:cubicBezTo>
                  <a:pt x="982151" y="87585"/>
                  <a:pt x="984177" y="86538"/>
                  <a:pt x="985368" y="84445"/>
                </a:cubicBezTo>
                <a:cubicBezTo>
                  <a:pt x="986478" y="82422"/>
                  <a:pt x="987803" y="77679"/>
                  <a:pt x="989343" y="70214"/>
                </a:cubicBezTo>
                <a:cubicBezTo>
                  <a:pt x="990643" y="71191"/>
                  <a:pt x="992166" y="71888"/>
                  <a:pt x="993910" y="72307"/>
                </a:cubicBezTo>
                <a:cubicBezTo>
                  <a:pt x="992101" y="80539"/>
                  <a:pt x="990286" y="85910"/>
                  <a:pt x="988466" y="88422"/>
                </a:cubicBezTo>
                <a:cubicBezTo>
                  <a:pt x="986541" y="91142"/>
                  <a:pt x="983309" y="92503"/>
                  <a:pt x="978772" y="92503"/>
                </a:cubicBezTo>
                <a:cubicBezTo>
                  <a:pt x="971478" y="92503"/>
                  <a:pt x="964184" y="92503"/>
                  <a:pt x="956889" y="92503"/>
                </a:cubicBezTo>
                <a:cubicBezTo>
                  <a:pt x="952143" y="92503"/>
                  <a:pt x="949079" y="91840"/>
                  <a:pt x="947697" y="90515"/>
                </a:cubicBezTo>
                <a:cubicBezTo>
                  <a:pt x="946234" y="89259"/>
                  <a:pt x="945821" y="86747"/>
                  <a:pt x="946457" y="82980"/>
                </a:cubicBezTo>
                <a:cubicBezTo>
                  <a:pt x="948666" y="69900"/>
                  <a:pt x="950876" y="56820"/>
                  <a:pt x="953085" y="43740"/>
                </a:cubicBezTo>
                <a:cubicBezTo>
                  <a:pt x="951794" y="43740"/>
                  <a:pt x="950503" y="43740"/>
                  <a:pt x="949211" y="43740"/>
                </a:cubicBezTo>
                <a:cubicBezTo>
                  <a:pt x="947163" y="49251"/>
                  <a:pt x="944803" y="54344"/>
                  <a:pt x="942128" y="59018"/>
                </a:cubicBezTo>
                <a:cubicBezTo>
                  <a:pt x="939162" y="64180"/>
                  <a:pt x="935749" y="68889"/>
                  <a:pt x="931890" y="73144"/>
                </a:cubicBezTo>
                <a:cubicBezTo>
                  <a:pt x="927692" y="77748"/>
                  <a:pt x="922989" y="81829"/>
                  <a:pt x="917781" y="85387"/>
                </a:cubicBezTo>
                <a:cubicBezTo>
                  <a:pt x="912037" y="89224"/>
                  <a:pt x="905701" y="92433"/>
                  <a:pt x="898774" y="95014"/>
                </a:cubicBezTo>
                <a:cubicBezTo>
                  <a:pt x="898138" y="93410"/>
                  <a:pt x="897216" y="92049"/>
                  <a:pt x="896008" y="90933"/>
                </a:cubicBezTo>
                <a:cubicBezTo>
                  <a:pt x="902609" y="88631"/>
                  <a:pt x="908619" y="85701"/>
                  <a:pt x="914036" y="82143"/>
                </a:cubicBezTo>
                <a:cubicBezTo>
                  <a:pt x="919045" y="78934"/>
                  <a:pt x="923550" y="75202"/>
                  <a:pt x="927549" y="70947"/>
                </a:cubicBezTo>
                <a:cubicBezTo>
                  <a:pt x="931211" y="67040"/>
                  <a:pt x="934495" y="62680"/>
                  <a:pt x="937402" y="57867"/>
                </a:cubicBezTo>
                <a:cubicBezTo>
                  <a:pt x="939935" y="53611"/>
                  <a:pt x="942232" y="48902"/>
                  <a:pt x="944290" y="43740"/>
                </a:cubicBezTo>
                <a:cubicBezTo>
                  <a:pt x="931237" y="43740"/>
                  <a:pt x="918184" y="43740"/>
                  <a:pt x="905131" y="43740"/>
                </a:cubicBezTo>
                <a:cubicBezTo>
                  <a:pt x="905408" y="42101"/>
                  <a:pt x="905685" y="40461"/>
                  <a:pt x="905962" y="38822"/>
                </a:cubicBezTo>
                <a:cubicBezTo>
                  <a:pt x="919294" y="38822"/>
                  <a:pt x="932626" y="38822"/>
                  <a:pt x="945959" y="38822"/>
                </a:cubicBezTo>
                <a:cubicBezTo>
                  <a:pt x="947422" y="34706"/>
                  <a:pt x="948746" y="30172"/>
                  <a:pt x="949932" y="25219"/>
                </a:cubicBezTo>
                <a:cubicBezTo>
                  <a:pt x="950442" y="23021"/>
                  <a:pt x="950953" y="20824"/>
                  <a:pt x="951464" y="18626"/>
                </a:cubicBezTo>
                <a:cubicBezTo>
                  <a:pt x="951893" y="16498"/>
                  <a:pt x="952322" y="14371"/>
                  <a:pt x="952752" y="12243"/>
                </a:cubicBezTo>
                <a:cubicBezTo>
                  <a:pt x="940850" y="12243"/>
                  <a:pt x="928949" y="12243"/>
                  <a:pt x="917048" y="12243"/>
                </a:cubicBezTo>
                <a:cubicBezTo>
                  <a:pt x="917325" y="10604"/>
                  <a:pt x="917602" y="8964"/>
                  <a:pt x="917879" y="7325"/>
                </a:cubicBezTo>
                <a:close/>
                <a:moveTo>
                  <a:pt x="157010" y="7011"/>
                </a:moveTo>
                <a:cubicBezTo>
                  <a:pt x="171878" y="7011"/>
                  <a:pt x="186746" y="7011"/>
                  <a:pt x="201613" y="7011"/>
                </a:cubicBezTo>
                <a:cubicBezTo>
                  <a:pt x="200503" y="9453"/>
                  <a:pt x="199392" y="11894"/>
                  <a:pt x="198282" y="14336"/>
                </a:cubicBezTo>
                <a:cubicBezTo>
                  <a:pt x="196973" y="17126"/>
                  <a:pt x="195810" y="19673"/>
                  <a:pt x="194793" y="21975"/>
                </a:cubicBezTo>
                <a:cubicBezTo>
                  <a:pt x="192058" y="27835"/>
                  <a:pt x="189744" y="32648"/>
                  <a:pt x="187852" y="36415"/>
                </a:cubicBezTo>
                <a:cubicBezTo>
                  <a:pt x="192424" y="36415"/>
                  <a:pt x="196996" y="36415"/>
                  <a:pt x="201568" y="36415"/>
                </a:cubicBezTo>
                <a:cubicBezTo>
                  <a:pt x="201928" y="36345"/>
                  <a:pt x="202289" y="36276"/>
                  <a:pt x="202650" y="36206"/>
                </a:cubicBezTo>
                <a:cubicBezTo>
                  <a:pt x="203580" y="36694"/>
                  <a:pt x="204509" y="37182"/>
                  <a:pt x="205439" y="37671"/>
                </a:cubicBezTo>
                <a:cubicBezTo>
                  <a:pt x="202620" y="44856"/>
                  <a:pt x="199296" y="51518"/>
                  <a:pt x="195467" y="57657"/>
                </a:cubicBezTo>
                <a:cubicBezTo>
                  <a:pt x="191778" y="63378"/>
                  <a:pt x="187637" y="68679"/>
                  <a:pt x="183043" y="73563"/>
                </a:cubicBezTo>
                <a:cubicBezTo>
                  <a:pt x="188098" y="81236"/>
                  <a:pt x="194188" y="86922"/>
                  <a:pt x="201312" y="90619"/>
                </a:cubicBezTo>
                <a:cubicBezTo>
                  <a:pt x="199972" y="91526"/>
                  <a:pt x="198549" y="92921"/>
                  <a:pt x="197045" y="94805"/>
                </a:cubicBezTo>
                <a:cubicBezTo>
                  <a:pt x="190224" y="90968"/>
                  <a:pt x="184263" y="85143"/>
                  <a:pt x="179161" y="77330"/>
                </a:cubicBezTo>
                <a:cubicBezTo>
                  <a:pt x="170896" y="84934"/>
                  <a:pt x="161873" y="90828"/>
                  <a:pt x="152092" y="95014"/>
                </a:cubicBezTo>
                <a:cubicBezTo>
                  <a:pt x="151316" y="93410"/>
                  <a:pt x="150318" y="92084"/>
                  <a:pt x="149099" y="91038"/>
                </a:cubicBezTo>
                <a:cubicBezTo>
                  <a:pt x="159497" y="86922"/>
                  <a:pt x="168688" y="81062"/>
                  <a:pt x="176673" y="73458"/>
                </a:cubicBezTo>
                <a:cubicBezTo>
                  <a:pt x="171957" y="65017"/>
                  <a:pt x="168436" y="55076"/>
                  <a:pt x="166110" y="43635"/>
                </a:cubicBezTo>
                <a:cubicBezTo>
                  <a:pt x="162968" y="54797"/>
                  <a:pt x="159475" y="64319"/>
                  <a:pt x="155631" y="72202"/>
                </a:cubicBezTo>
                <a:cubicBezTo>
                  <a:pt x="151284" y="80992"/>
                  <a:pt x="146202" y="88561"/>
                  <a:pt x="140383" y="94909"/>
                </a:cubicBezTo>
                <a:cubicBezTo>
                  <a:pt x="140209" y="94700"/>
                  <a:pt x="139936" y="94456"/>
                  <a:pt x="139564" y="94177"/>
                </a:cubicBezTo>
                <a:cubicBezTo>
                  <a:pt x="138856" y="93619"/>
                  <a:pt x="138147" y="93061"/>
                  <a:pt x="137439" y="92503"/>
                </a:cubicBezTo>
                <a:cubicBezTo>
                  <a:pt x="136939" y="92154"/>
                  <a:pt x="136632" y="91910"/>
                  <a:pt x="136516" y="91770"/>
                </a:cubicBezTo>
                <a:cubicBezTo>
                  <a:pt x="140724" y="87515"/>
                  <a:pt x="144499" y="82527"/>
                  <a:pt x="147838" y="76807"/>
                </a:cubicBezTo>
                <a:cubicBezTo>
                  <a:pt x="150979" y="71435"/>
                  <a:pt x="153872" y="65261"/>
                  <a:pt x="156516" y="58285"/>
                </a:cubicBezTo>
                <a:cubicBezTo>
                  <a:pt x="158833" y="52007"/>
                  <a:pt x="161070" y="44752"/>
                  <a:pt x="163229" y="36520"/>
                </a:cubicBezTo>
                <a:cubicBezTo>
                  <a:pt x="164202" y="32822"/>
                  <a:pt x="165159" y="28811"/>
                  <a:pt x="166099" y="24486"/>
                </a:cubicBezTo>
                <a:cubicBezTo>
                  <a:pt x="167026" y="20649"/>
                  <a:pt x="167949" y="16429"/>
                  <a:pt x="168866" y="11824"/>
                </a:cubicBezTo>
                <a:cubicBezTo>
                  <a:pt x="164643" y="11824"/>
                  <a:pt x="160420" y="11824"/>
                  <a:pt x="156197" y="11824"/>
                </a:cubicBezTo>
                <a:cubicBezTo>
                  <a:pt x="156468" y="10220"/>
                  <a:pt x="156739" y="8615"/>
                  <a:pt x="157010" y="7011"/>
                </a:cubicBezTo>
                <a:close/>
                <a:moveTo>
                  <a:pt x="62015" y="4709"/>
                </a:moveTo>
                <a:cubicBezTo>
                  <a:pt x="77197" y="4709"/>
                  <a:pt x="92379" y="4709"/>
                  <a:pt x="107560" y="4709"/>
                </a:cubicBezTo>
                <a:cubicBezTo>
                  <a:pt x="107507" y="5023"/>
                  <a:pt x="107454" y="5337"/>
                  <a:pt x="107401" y="5651"/>
                </a:cubicBezTo>
                <a:cubicBezTo>
                  <a:pt x="107283" y="6348"/>
                  <a:pt x="107160" y="6871"/>
                  <a:pt x="107031" y="7220"/>
                </a:cubicBezTo>
                <a:cubicBezTo>
                  <a:pt x="104812" y="17057"/>
                  <a:pt x="103069" y="24067"/>
                  <a:pt x="101803" y="28253"/>
                </a:cubicBezTo>
                <a:cubicBezTo>
                  <a:pt x="100456" y="32509"/>
                  <a:pt x="99124" y="35229"/>
                  <a:pt x="97807" y="36415"/>
                </a:cubicBezTo>
                <a:cubicBezTo>
                  <a:pt x="96176" y="37810"/>
                  <a:pt x="94208" y="38508"/>
                  <a:pt x="91905" y="38508"/>
                </a:cubicBezTo>
                <a:cubicBezTo>
                  <a:pt x="89566" y="38717"/>
                  <a:pt x="85808" y="38647"/>
                  <a:pt x="80632" y="38299"/>
                </a:cubicBezTo>
                <a:cubicBezTo>
                  <a:pt x="80752" y="36764"/>
                  <a:pt x="80551" y="35264"/>
                  <a:pt x="80031" y="33799"/>
                </a:cubicBezTo>
                <a:cubicBezTo>
                  <a:pt x="82090" y="34008"/>
                  <a:pt x="84300" y="34148"/>
                  <a:pt x="86661" y="34218"/>
                </a:cubicBezTo>
                <a:cubicBezTo>
                  <a:pt x="87417" y="34287"/>
                  <a:pt x="88214" y="34322"/>
                  <a:pt x="89052" y="34322"/>
                </a:cubicBezTo>
                <a:cubicBezTo>
                  <a:pt x="89610" y="34322"/>
                  <a:pt x="90168" y="34322"/>
                  <a:pt x="90727" y="34322"/>
                </a:cubicBezTo>
                <a:cubicBezTo>
                  <a:pt x="92472" y="34322"/>
                  <a:pt x="93642" y="34008"/>
                  <a:pt x="94236" y="33381"/>
                </a:cubicBezTo>
                <a:cubicBezTo>
                  <a:pt x="95215" y="32543"/>
                  <a:pt x="96250" y="30346"/>
                  <a:pt x="97339" y="26788"/>
                </a:cubicBezTo>
                <a:cubicBezTo>
                  <a:pt x="98522" y="23091"/>
                  <a:pt x="99995" y="17266"/>
                  <a:pt x="101757" y="9313"/>
                </a:cubicBezTo>
                <a:cubicBezTo>
                  <a:pt x="95405" y="9313"/>
                  <a:pt x="89053" y="9313"/>
                  <a:pt x="82701" y="9313"/>
                </a:cubicBezTo>
                <a:cubicBezTo>
                  <a:pt x="78479" y="25219"/>
                  <a:pt x="69648" y="36590"/>
                  <a:pt x="56208" y="43426"/>
                </a:cubicBezTo>
                <a:cubicBezTo>
                  <a:pt x="55419" y="42310"/>
                  <a:pt x="54316" y="41194"/>
                  <a:pt x="52899" y="40078"/>
                </a:cubicBezTo>
                <a:lnTo>
                  <a:pt x="54584" y="37985"/>
                </a:lnTo>
                <a:lnTo>
                  <a:pt x="55347" y="37985"/>
                </a:lnTo>
                <a:lnTo>
                  <a:pt x="55549" y="36787"/>
                </a:lnTo>
                <a:lnTo>
                  <a:pt x="77675" y="9313"/>
                </a:lnTo>
                <a:cubicBezTo>
                  <a:pt x="72196" y="9313"/>
                  <a:pt x="66716" y="9313"/>
                  <a:pt x="61237" y="9313"/>
                </a:cubicBezTo>
                <a:cubicBezTo>
                  <a:pt x="61496" y="7778"/>
                  <a:pt x="61756" y="6244"/>
                  <a:pt x="62015" y="4709"/>
                </a:cubicBezTo>
                <a:close/>
                <a:moveTo>
                  <a:pt x="1088605" y="3244"/>
                </a:moveTo>
                <a:cubicBezTo>
                  <a:pt x="1093968" y="8685"/>
                  <a:pt x="1098017" y="13848"/>
                  <a:pt x="1100752" y="18731"/>
                </a:cubicBezTo>
                <a:cubicBezTo>
                  <a:pt x="1099366" y="19707"/>
                  <a:pt x="1097979" y="20684"/>
                  <a:pt x="1096593" y="21661"/>
                </a:cubicBezTo>
                <a:cubicBezTo>
                  <a:pt x="1093719" y="16359"/>
                  <a:pt x="1089769" y="11022"/>
                  <a:pt x="1084743" y="5651"/>
                </a:cubicBezTo>
                <a:cubicBezTo>
                  <a:pt x="1086031" y="4848"/>
                  <a:pt x="1087318" y="4046"/>
                  <a:pt x="1088605" y="3244"/>
                </a:cubicBezTo>
                <a:close/>
                <a:moveTo>
                  <a:pt x="611024" y="2197"/>
                </a:moveTo>
                <a:cubicBezTo>
                  <a:pt x="616525" y="8057"/>
                  <a:pt x="620889" y="13220"/>
                  <a:pt x="624113" y="17684"/>
                </a:cubicBezTo>
                <a:cubicBezTo>
                  <a:pt x="622772" y="19010"/>
                  <a:pt x="621432" y="20335"/>
                  <a:pt x="620091" y="21661"/>
                </a:cubicBezTo>
                <a:cubicBezTo>
                  <a:pt x="618827" y="19638"/>
                  <a:pt x="616896" y="17022"/>
                  <a:pt x="614297" y="13813"/>
                </a:cubicBezTo>
                <a:cubicBezTo>
                  <a:pt x="611988" y="10952"/>
                  <a:pt x="609632" y="8162"/>
                  <a:pt x="607230" y="5441"/>
                </a:cubicBezTo>
                <a:cubicBezTo>
                  <a:pt x="608495" y="4360"/>
                  <a:pt x="609759" y="3279"/>
                  <a:pt x="611024" y="2197"/>
                </a:cubicBezTo>
                <a:close/>
                <a:moveTo>
                  <a:pt x="1069101" y="942"/>
                </a:moveTo>
                <a:cubicBezTo>
                  <a:pt x="1070741" y="942"/>
                  <a:pt x="1072381" y="942"/>
                  <a:pt x="1074021" y="942"/>
                </a:cubicBezTo>
                <a:cubicBezTo>
                  <a:pt x="1073657" y="2895"/>
                  <a:pt x="1073292" y="4848"/>
                  <a:pt x="1072927" y="6802"/>
                </a:cubicBezTo>
                <a:cubicBezTo>
                  <a:pt x="1072538" y="9104"/>
                  <a:pt x="1072161" y="11127"/>
                  <a:pt x="1071797" y="12871"/>
                </a:cubicBezTo>
                <a:cubicBezTo>
                  <a:pt x="1070880" y="17475"/>
                  <a:pt x="1070010" y="21591"/>
                  <a:pt x="1069188" y="25219"/>
                </a:cubicBezTo>
                <a:cubicBezTo>
                  <a:pt x="1081473" y="25219"/>
                  <a:pt x="1093758" y="25219"/>
                  <a:pt x="1106043" y="25219"/>
                </a:cubicBezTo>
                <a:cubicBezTo>
                  <a:pt x="1105766" y="26858"/>
                  <a:pt x="1105489" y="28497"/>
                  <a:pt x="1105213" y="30137"/>
                </a:cubicBezTo>
                <a:cubicBezTo>
                  <a:pt x="1092823" y="30137"/>
                  <a:pt x="1080433" y="30137"/>
                  <a:pt x="1068043" y="30137"/>
                </a:cubicBezTo>
                <a:cubicBezTo>
                  <a:pt x="1066423" y="36834"/>
                  <a:pt x="1064624" y="42938"/>
                  <a:pt x="1062647" y="48449"/>
                </a:cubicBezTo>
                <a:cubicBezTo>
                  <a:pt x="1060387" y="54797"/>
                  <a:pt x="1057845" y="60552"/>
                  <a:pt x="1055018" y="65715"/>
                </a:cubicBezTo>
                <a:cubicBezTo>
                  <a:pt x="1051888" y="71435"/>
                  <a:pt x="1048353" y="76458"/>
                  <a:pt x="1044411" y="80783"/>
                </a:cubicBezTo>
                <a:cubicBezTo>
                  <a:pt x="1040189" y="85527"/>
                  <a:pt x="1035463" y="89538"/>
                  <a:pt x="1030233" y="92817"/>
                </a:cubicBezTo>
                <a:cubicBezTo>
                  <a:pt x="1029154" y="91352"/>
                  <a:pt x="1028074" y="90305"/>
                  <a:pt x="1026994" y="89677"/>
                </a:cubicBezTo>
                <a:cubicBezTo>
                  <a:pt x="1031980" y="86608"/>
                  <a:pt x="1036525" y="82841"/>
                  <a:pt x="1040629" y="78376"/>
                </a:cubicBezTo>
                <a:cubicBezTo>
                  <a:pt x="1044326" y="74260"/>
                  <a:pt x="1047681" y="69482"/>
                  <a:pt x="1050694" y="64040"/>
                </a:cubicBezTo>
                <a:cubicBezTo>
                  <a:pt x="1053404" y="59157"/>
                  <a:pt x="1055829" y="53681"/>
                  <a:pt x="1057971" y="47612"/>
                </a:cubicBezTo>
                <a:cubicBezTo>
                  <a:pt x="1059902" y="42380"/>
                  <a:pt x="1061654" y="36555"/>
                  <a:pt x="1063227" y="30137"/>
                </a:cubicBezTo>
                <a:cubicBezTo>
                  <a:pt x="1057154" y="30137"/>
                  <a:pt x="1051081" y="30137"/>
                  <a:pt x="1045009" y="30137"/>
                </a:cubicBezTo>
                <a:cubicBezTo>
                  <a:pt x="1045285" y="28497"/>
                  <a:pt x="1045562" y="26858"/>
                  <a:pt x="1045839" y="25219"/>
                </a:cubicBezTo>
                <a:cubicBezTo>
                  <a:pt x="1052017" y="25219"/>
                  <a:pt x="1058194" y="25219"/>
                  <a:pt x="1064372" y="25219"/>
                </a:cubicBezTo>
                <a:cubicBezTo>
                  <a:pt x="1065217" y="21451"/>
                  <a:pt x="1066087" y="17336"/>
                  <a:pt x="1066981" y="12871"/>
                </a:cubicBezTo>
                <a:cubicBezTo>
                  <a:pt x="1067640" y="9383"/>
                  <a:pt x="1068346" y="5406"/>
                  <a:pt x="1069101" y="942"/>
                </a:cubicBezTo>
                <a:close/>
                <a:moveTo>
                  <a:pt x="655159" y="628"/>
                </a:moveTo>
                <a:cubicBezTo>
                  <a:pt x="656869" y="628"/>
                  <a:pt x="658580" y="628"/>
                  <a:pt x="660290" y="628"/>
                </a:cubicBezTo>
                <a:cubicBezTo>
                  <a:pt x="658339" y="12173"/>
                  <a:pt x="656389" y="23719"/>
                  <a:pt x="654439" y="35264"/>
                </a:cubicBezTo>
                <a:cubicBezTo>
                  <a:pt x="662117" y="35264"/>
                  <a:pt x="669795" y="35264"/>
                  <a:pt x="677474" y="35264"/>
                </a:cubicBezTo>
                <a:cubicBezTo>
                  <a:pt x="677197" y="36903"/>
                  <a:pt x="676920" y="38543"/>
                  <a:pt x="676643" y="40182"/>
                </a:cubicBezTo>
                <a:cubicBezTo>
                  <a:pt x="668965" y="40182"/>
                  <a:pt x="661287" y="40182"/>
                  <a:pt x="653608" y="40182"/>
                </a:cubicBezTo>
                <a:cubicBezTo>
                  <a:pt x="651004" y="55599"/>
                  <a:pt x="648400" y="71016"/>
                  <a:pt x="645796" y="86434"/>
                </a:cubicBezTo>
                <a:cubicBezTo>
                  <a:pt x="656231" y="86434"/>
                  <a:pt x="666667" y="86434"/>
                  <a:pt x="677102" y="86434"/>
                </a:cubicBezTo>
                <a:cubicBezTo>
                  <a:pt x="676825" y="88073"/>
                  <a:pt x="676548" y="89712"/>
                  <a:pt x="676271" y="91352"/>
                </a:cubicBezTo>
                <a:cubicBezTo>
                  <a:pt x="655505" y="91352"/>
                  <a:pt x="634739" y="91352"/>
                  <a:pt x="613973" y="91352"/>
                </a:cubicBezTo>
                <a:cubicBezTo>
                  <a:pt x="614250" y="89712"/>
                  <a:pt x="614527" y="88073"/>
                  <a:pt x="614804" y="86434"/>
                </a:cubicBezTo>
                <a:cubicBezTo>
                  <a:pt x="623425" y="86434"/>
                  <a:pt x="632045" y="86434"/>
                  <a:pt x="640665" y="86434"/>
                </a:cubicBezTo>
                <a:cubicBezTo>
                  <a:pt x="645497" y="57832"/>
                  <a:pt x="650328" y="29230"/>
                  <a:pt x="655159" y="628"/>
                </a:cubicBezTo>
                <a:close/>
                <a:moveTo>
                  <a:pt x="456650" y="419"/>
                </a:moveTo>
                <a:cubicBezTo>
                  <a:pt x="458161" y="1186"/>
                  <a:pt x="459671" y="1953"/>
                  <a:pt x="461182" y="2721"/>
                </a:cubicBezTo>
                <a:cubicBezTo>
                  <a:pt x="455282" y="9139"/>
                  <a:pt x="449458" y="15103"/>
                  <a:pt x="443711" y="20614"/>
                </a:cubicBezTo>
                <a:cubicBezTo>
                  <a:pt x="437567" y="26404"/>
                  <a:pt x="431716" y="31497"/>
                  <a:pt x="426157" y="35892"/>
                </a:cubicBezTo>
                <a:cubicBezTo>
                  <a:pt x="446367" y="34846"/>
                  <a:pt x="466577" y="33799"/>
                  <a:pt x="486787" y="32753"/>
                </a:cubicBezTo>
                <a:cubicBezTo>
                  <a:pt x="482275" y="26404"/>
                  <a:pt x="477541" y="20754"/>
                  <a:pt x="472584" y="15801"/>
                </a:cubicBezTo>
                <a:cubicBezTo>
                  <a:pt x="474057" y="14929"/>
                  <a:pt x="475531" y="14057"/>
                  <a:pt x="477004" y="13185"/>
                </a:cubicBezTo>
                <a:cubicBezTo>
                  <a:pt x="481671" y="17789"/>
                  <a:pt x="486151" y="22882"/>
                  <a:pt x="490443" y="28462"/>
                </a:cubicBezTo>
                <a:cubicBezTo>
                  <a:pt x="494898" y="34322"/>
                  <a:pt x="498063" y="39345"/>
                  <a:pt x="499939" y="43531"/>
                </a:cubicBezTo>
                <a:cubicBezTo>
                  <a:pt x="498331" y="44577"/>
                  <a:pt x="496724" y="45624"/>
                  <a:pt x="495116" y="46670"/>
                </a:cubicBezTo>
                <a:cubicBezTo>
                  <a:pt x="493541" y="43182"/>
                  <a:pt x="491716" y="39938"/>
                  <a:pt x="489640" y="36938"/>
                </a:cubicBezTo>
                <a:cubicBezTo>
                  <a:pt x="477126" y="37671"/>
                  <a:pt x="464613" y="38403"/>
                  <a:pt x="452099" y="39136"/>
                </a:cubicBezTo>
                <a:cubicBezTo>
                  <a:pt x="442582" y="39694"/>
                  <a:pt x="435595" y="40147"/>
                  <a:pt x="431138" y="40496"/>
                </a:cubicBezTo>
                <a:cubicBezTo>
                  <a:pt x="426554" y="40775"/>
                  <a:pt x="423261" y="41054"/>
                  <a:pt x="421260" y="41333"/>
                </a:cubicBezTo>
                <a:cubicBezTo>
                  <a:pt x="419619" y="41543"/>
                  <a:pt x="418315" y="41822"/>
                  <a:pt x="417349" y="42170"/>
                </a:cubicBezTo>
                <a:cubicBezTo>
                  <a:pt x="417306" y="40357"/>
                  <a:pt x="417066" y="38682"/>
                  <a:pt x="416627" y="37148"/>
                </a:cubicBezTo>
                <a:cubicBezTo>
                  <a:pt x="418291" y="36799"/>
                  <a:pt x="421478" y="34671"/>
                  <a:pt x="426186" y="30765"/>
                </a:cubicBezTo>
                <a:cubicBezTo>
                  <a:pt x="429239" y="28393"/>
                  <a:pt x="433482" y="24556"/>
                  <a:pt x="438915" y="19254"/>
                </a:cubicBezTo>
                <a:cubicBezTo>
                  <a:pt x="442085" y="16185"/>
                  <a:pt x="445070" y="13185"/>
                  <a:pt x="447869" y="10255"/>
                </a:cubicBezTo>
                <a:cubicBezTo>
                  <a:pt x="451110" y="6767"/>
                  <a:pt x="454037" y="3488"/>
                  <a:pt x="456650" y="419"/>
                </a:cubicBezTo>
                <a:close/>
                <a:moveTo>
                  <a:pt x="142244" y="209"/>
                </a:moveTo>
                <a:cubicBezTo>
                  <a:pt x="143720" y="977"/>
                  <a:pt x="145196" y="1744"/>
                  <a:pt x="146672" y="2511"/>
                </a:cubicBezTo>
                <a:cubicBezTo>
                  <a:pt x="142819" y="8790"/>
                  <a:pt x="138886" y="14720"/>
                  <a:pt x="134872" y="20300"/>
                </a:cubicBezTo>
                <a:cubicBezTo>
                  <a:pt x="130496" y="26370"/>
                  <a:pt x="126291" y="31637"/>
                  <a:pt x="122256" y="36101"/>
                </a:cubicBezTo>
                <a:cubicBezTo>
                  <a:pt x="127917" y="35438"/>
                  <a:pt x="133578" y="34776"/>
                  <a:pt x="139240" y="34113"/>
                </a:cubicBezTo>
                <a:cubicBezTo>
                  <a:pt x="140721" y="32369"/>
                  <a:pt x="142301" y="30451"/>
                  <a:pt x="143981" y="28358"/>
                </a:cubicBezTo>
                <a:cubicBezTo>
                  <a:pt x="145241" y="26684"/>
                  <a:pt x="146694" y="24695"/>
                  <a:pt x="148339" y="22393"/>
                </a:cubicBezTo>
                <a:cubicBezTo>
                  <a:pt x="149663" y="23230"/>
                  <a:pt x="150988" y="24067"/>
                  <a:pt x="152312" y="24905"/>
                </a:cubicBezTo>
                <a:cubicBezTo>
                  <a:pt x="142315" y="37810"/>
                  <a:pt x="132349" y="49077"/>
                  <a:pt x="122417" y="58704"/>
                </a:cubicBezTo>
                <a:cubicBezTo>
                  <a:pt x="130687" y="56436"/>
                  <a:pt x="138958" y="54169"/>
                  <a:pt x="147229" y="51902"/>
                </a:cubicBezTo>
                <a:cubicBezTo>
                  <a:pt x="146957" y="53506"/>
                  <a:pt x="146890" y="54937"/>
                  <a:pt x="147027" y="56192"/>
                </a:cubicBezTo>
                <a:cubicBezTo>
                  <a:pt x="132581" y="60308"/>
                  <a:pt x="123216" y="63064"/>
                  <a:pt x="118932" y="64459"/>
                </a:cubicBezTo>
                <a:cubicBezTo>
                  <a:pt x="117261" y="65052"/>
                  <a:pt x="115590" y="65645"/>
                  <a:pt x="113920" y="66238"/>
                </a:cubicBezTo>
                <a:cubicBezTo>
                  <a:pt x="113011" y="66656"/>
                  <a:pt x="112243" y="67075"/>
                  <a:pt x="111614" y="67494"/>
                </a:cubicBezTo>
                <a:cubicBezTo>
                  <a:pt x="111505" y="66691"/>
                  <a:pt x="111396" y="65889"/>
                  <a:pt x="111287" y="65087"/>
                </a:cubicBezTo>
                <a:cubicBezTo>
                  <a:pt x="111115" y="64040"/>
                  <a:pt x="110942" y="63203"/>
                  <a:pt x="110769" y="62575"/>
                </a:cubicBezTo>
                <a:cubicBezTo>
                  <a:pt x="112364" y="62227"/>
                  <a:pt x="115382" y="59855"/>
                  <a:pt x="119824" y="55460"/>
                </a:cubicBezTo>
                <a:cubicBezTo>
                  <a:pt x="123250" y="52530"/>
                  <a:pt x="128445" y="46984"/>
                  <a:pt x="135408" y="38822"/>
                </a:cubicBezTo>
                <a:cubicBezTo>
                  <a:pt x="128041" y="39868"/>
                  <a:pt x="122880" y="40671"/>
                  <a:pt x="119924" y="41229"/>
                </a:cubicBezTo>
                <a:cubicBezTo>
                  <a:pt x="118562" y="41438"/>
                  <a:pt x="117515" y="41647"/>
                  <a:pt x="116782" y="41856"/>
                </a:cubicBezTo>
                <a:cubicBezTo>
                  <a:pt x="116200" y="41996"/>
                  <a:pt x="115682" y="42170"/>
                  <a:pt x="115227" y="42380"/>
                </a:cubicBezTo>
                <a:cubicBezTo>
                  <a:pt x="115207" y="40845"/>
                  <a:pt x="114932" y="39171"/>
                  <a:pt x="114401" y="37357"/>
                </a:cubicBezTo>
                <a:cubicBezTo>
                  <a:pt x="115553" y="37148"/>
                  <a:pt x="117948" y="34950"/>
                  <a:pt x="121587" y="30765"/>
                </a:cubicBezTo>
                <a:cubicBezTo>
                  <a:pt x="122555" y="29579"/>
                  <a:pt x="123710" y="28114"/>
                  <a:pt x="125052" y="26370"/>
                </a:cubicBezTo>
                <a:cubicBezTo>
                  <a:pt x="126848" y="23998"/>
                  <a:pt x="128622" y="21556"/>
                  <a:pt x="130372" y="19045"/>
                </a:cubicBezTo>
                <a:cubicBezTo>
                  <a:pt x="132578" y="15905"/>
                  <a:pt x="134620" y="12906"/>
                  <a:pt x="136499" y="10046"/>
                </a:cubicBezTo>
                <a:cubicBezTo>
                  <a:pt x="138694" y="6558"/>
                  <a:pt x="140609" y="3279"/>
                  <a:pt x="142244" y="209"/>
                </a:cubicBezTo>
                <a:close/>
                <a:moveTo>
                  <a:pt x="852298" y="105"/>
                </a:moveTo>
                <a:cubicBezTo>
                  <a:pt x="855255" y="4500"/>
                  <a:pt x="857328" y="8755"/>
                  <a:pt x="858518" y="12871"/>
                </a:cubicBezTo>
                <a:cubicBezTo>
                  <a:pt x="857773" y="13150"/>
                  <a:pt x="857028" y="13429"/>
                  <a:pt x="856282" y="13708"/>
                </a:cubicBezTo>
                <a:cubicBezTo>
                  <a:pt x="868498" y="13708"/>
                  <a:pt x="880713" y="13708"/>
                  <a:pt x="892928" y="13708"/>
                </a:cubicBezTo>
                <a:cubicBezTo>
                  <a:pt x="892657" y="15312"/>
                  <a:pt x="892386" y="16917"/>
                  <a:pt x="892115" y="18522"/>
                </a:cubicBezTo>
                <a:cubicBezTo>
                  <a:pt x="864962" y="18522"/>
                  <a:pt x="837809" y="18522"/>
                  <a:pt x="810657" y="18522"/>
                </a:cubicBezTo>
                <a:cubicBezTo>
                  <a:pt x="810928" y="16917"/>
                  <a:pt x="811199" y="15312"/>
                  <a:pt x="811470" y="13708"/>
                </a:cubicBezTo>
                <a:cubicBezTo>
                  <a:pt x="825255" y="13708"/>
                  <a:pt x="839041" y="13708"/>
                  <a:pt x="852827" y="13708"/>
                </a:cubicBezTo>
                <a:cubicBezTo>
                  <a:pt x="852009" y="10290"/>
                  <a:pt x="850208" y="6278"/>
                  <a:pt x="847426" y="1674"/>
                </a:cubicBezTo>
                <a:cubicBezTo>
                  <a:pt x="849050" y="1151"/>
                  <a:pt x="850674" y="628"/>
                  <a:pt x="852298" y="105"/>
                </a:cubicBezTo>
                <a:close/>
                <a:moveTo>
                  <a:pt x="1030834" y="0"/>
                </a:moveTo>
                <a:cubicBezTo>
                  <a:pt x="1032439" y="0"/>
                  <a:pt x="1034045" y="0"/>
                  <a:pt x="1035650" y="0"/>
                </a:cubicBezTo>
                <a:cubicBezTo>
                  <a:pt x="1030318" y="31567"/>
                  <a:pt x="1024986" y="63133"/>
                  <a:pt x="1019654" y="94700"/>
                </a:cubicBezTo>
                <a:cubicBezTo>
                  <a:pt x="1018048" y="94700"/>
                  <a:pt x="1016443" y="94700"/>
                  <a:pt x="1014837" y="94700"/>
                </a:cubicBezTo>
                <a:cubicBezTo>
                  <a:pt x="1020170" y="63133"/>
                  <a:pt x="1025502" y="31567"/>
                  <a:pt x="1030834" y="0"/>
                </a:cubicBezTo>
                <a:close/>
                <a:moveTo>
                  <a:pt x="746985" y="0"/>
                </a:moveTo>
                <a:cubicBezTo>
                  <a:pt x="748695" y="0"/>
                  <a:pt x="750405" y="0"/>
                  <a:pt x="752115" y="0"/>
                </a:cubicBezTo>
                <a:cubicBezTo>
                  <a:pt x="750925" y="7046"/>
                  <a:pt x="749735" y="14092"/>
                  <a:pt x="748545" y="21138"/>
                </a:cubicBezTo>
                <a:cubicBezTo>
                  <a:pt x="761528" y="21138"/>
                  <a:pt x="774511" y="21138"/>
                  <a:pt x="787494" y="21138"/>
                </a:cubicBezTo>
                <a:cubicBezTo>
                  <a:pt x="787223" y="22742"/>
                  <a:pt x="786952" y="24347"/>
                  <a:pt x="786681" y="25951"/>
                </a:cubicBezTo>
                <a:cubicBezTo>
                  <a:pt x="773698" y="25951"/>
                  <a:pt x="760715" y="25951"/>
                  <a:pt x="747732" y="25951"/>
                </a:cubicBezTo>
                <a:cubicBezTo>
                  <a:pt x="746288" y="34497"/>
                  <a:pt x="744845" y="43042"/>
                  <a:pt x="743401" y="51588"/>
                </a:cubicBezTo>
                <a:cubicBezTo>
                  <a:pt x="755163" y="51588"/>
                  <a:pt x="766925" y="51588"/>
                  <a:pt x="778686" y="51588"/>
                </a:cubicBezTo>
                <a:cubicBezTo>
                  <a:pt x="778409" y="53227"/>
                  <a:pt x="778132" y="54867"/>
                  <a:pt x="777855" y="56506"/>
                </a:cubicBezTo>
                <a:cubicBezTo>
                  <a:pt x="766094" y="56506"/>
                  <a:pt x="754332" y="56506"/>
                  <a:pt x="742571" y="56506"/>
                </a:cubicBezTo>
                <a:cubicBezTo>
                  <a:pt x="740891" y="66447"/>
                  <a:pt x="739212" y="76388"/>
                  <a:pt x="737533" y="86329"/>
                </a:cubicBezTo>
                <a:cubicBezTo>
                  <a:pt x="752087" y="86329"/>
                  <a:pt x="766640" y="86329"/>
                  <a:pt x="781194" y="86329"/>
                </a:cubicBezTo>
                <a:cubicBezTo>
                  <a:pt x="780917" y="87968"/>
                  <a:pt x="780640" y="89608"/>
                  <a:pt x="780363" y="91247"/>
                </a:cubicBezTo>
                <a:cubicBezTo>
                  <a:pt x="749546" y="91247"/>
                  <a:pt x="718728" y="91247"/>
                  <a:pt x="687911" y="91247"/>
                </a:cubicBezTo>
                <a:cubicBezTo>
                  <a:pt x="688188" y="89608"/>
                  <a:pt x="688465" y="87968"/>
                  <a:pt x="688742" y="86329"/>
                </a:cubicBezTo>
                <a:cubicBezTo>
                  <a:pt x="703295" y="86329"/>
                  <a:pt x="717849" y="86329"/>
                  <a:pt x="732403" y="86329"/>
                </a:cubicBezTo>
                <a:cubicBezTo>
                  <a:pt x="734082" y="76388"/>
                  <a:pt x="735761" y="66447"/>
                  <a:pt x="737440" y="56506"/>
                </a:cubicBezTo>
                <a:cubicBezTo>
                  <a:pt x="726516" y="56506"/>
                  <a:pt x="715592" y="56506"/>
                  <a:pt x="704668" y="56506"/>
                </a:cubicBezTo>
                <a:cubicBezTo>
                  <a:pt x="704945" y="54867"/>
                  <a:pt x="705222" y="53227"/>
                  <a:pt x="705499" y="51588"/>
                </a:cubicBezTo>
                <a:cubicBezTo>
                  <a:pt x="716423" y="51588"/>
                  <a:pt x="727347" y="51588"/>
                  <a:pt x="738271" y="51588"/>
                </a:cubicBezTo>
                <a:cubicBezTo>
                  <a:pt x="739714" y="43042"/>
                  <a:pt x="741158" y="34497"/>
                  <a:pt x="742601" y="25951"/>
                </a:cubicBezTo>
                <a:cubicBezTo>
                  <a:pt x="733771" y="25951"/>
                  <a:pt x="724941" y="25951"/>
                  <a:pt x="716112" y="25951"/>
                </a:cubicBezTo>
                <a:cubicBezTo>
                  <a:pt x="711303" y="33346"/>
                  <a:pt x="706363" y="39450"/>
                  <a:pt x="701292" y="44263"/>
                </a:cubicBezTo>
                <a:cubicBezTo>
                  <a:pt x="700386" y="43426"/>
                  <a:pt x="699050" y="42449"/>
                  <a:pt x="697284" y="41333"/>
                </a:cubicBezTo>
                <a:cubicBezTo>
                  <a:pt x="702320" y="36729"/>
                  <a:pt x="707178" y="30904"/>
                  <a:pt x="711858" y="23858"/>
                </a:cubicBezTo>
                <a:cubicBezTo>
                  <a:pt x="716177" y="17301"/>
                  <a:pt x="720090" y="10046"/>
                  <a:pt x="723597" y="2093"/>
                </a:cubicBezTo>
                <a:cubicBezTo>
                  <a:pt x="725248" y="2442"/>
                  <a:pt x="726899" y="2790"/>
                  <a:pt x="728550" y="3139"/>
                </a:cubicBezTo>
                <a:cubicBezTo>
                  <a:pt x="725885" y="8999"/>
                  <a:pt x="722743" y="14999"/>
                  <a:pt x="719123" y="21138"/>
                </a:cubicBezTo>
                <a:cubicBezTo>
                  <a:pt x="727220" y="21138"/>
                  <a:pt x="735317" y="21138"/>
                  <a:pt x="743414" y="21138"/>
                </a:cubicBezTo>
                <a:cubicBezTo>
                  <a:pt x="744605" y="14092"/>
                  <a:pt x="745795" y="7046"/>
                  <a:pt x="746985" y="0"/>
                </a:cubicBezTo>
                <a:close/>
                <a:moveTo>
                  <a:pt x="37263" y="0"/>
                </a:moveTo>
                <a:cubicBezTo>
                  <a:pt x="38868" y="0"/>
                  <a:pt x="40474" y="0"/>
                  <a:pt x="42079" y="0"/>
                </a:cubicBezTo>
                <a:cubicBezTo>
                  <a:pt x="41301" y="4604"/>
                  <a:pt x="40524" y="9208"/>
                  <a:pt x="39746" y="13813"/>
                </a:cubicBezTo>
                <a:cubicBezTo>
                  <a:pt x="45539" y="13813"/>
                  <a:pt x="51333" y="13813"/>
                  <a:pt x="57126" y="13813"/>
                </a:cubicBezTo>
                <a:cubicBezTo>
                  <a:pt x="56867" y="15347"/>
                  <a:pt x="56608" y="16882"/>
                  <a:pt x="56349" y="18417"/>
                </a:cubicBezTo>
                <a:cubicBezTo>
                  <a:pt x="50555" y="18417"/>
                  <a:pt x="44762" y="18417"/>
                  <a:pt x="38968" y="18417"/>
                </a:cubicBezTo>
                <a:cubicBezTo>
                  <a:pt x="38132" y="23370"/>
                  <a:pt x="37295" y="28323"/>
                  <a:pt x="36458" y="33276"/>
                </a:cubicBezTo>
                <a:cubicBezTo>
                  <a:pt x="43020" y="33276"/>
                  <a:pt x="49581" y="33276"/>
                  <a:pt x="56142" y="33276"/>
                </a:cubicBezTo>
                <a:lnTo>
                  <a:pt x="55549" y="36787"/>
                </a:lnTo>
                <a:lnTo>
                  <a:pt x="54584" y="37985"/>
                </a:lnTo>
                <a:lnTo>
                  <a:pt x="36605" y="37985"/>
                </a:lnTo>
                <a:cubicBezTo>
                  <a:pt x="35651" y="43635"/>
                  <a:pt x="34696" y="49286"/>
                  <a:pt x="33742" y="54937"/>
                </a:cubicBezTo>
                <a:cubicBezTo>
                  <a:pt x="39710" y="54937"/>
                  <a:pt x="45678" y="54937"/>
                  <a:pt x="51646" y="54937"/>
                </a:cubicBezTo>
                <a:cubicBezTo>
                  <a:pt x="51381" y="56506"/>
                  <a:pt x="51116" y="58076"/>
                  <a:pt x="50851" y="59645"/>
                </a:cubicBezTo>
                <a:cubicBezTo>
                  <a:pt x="44882" y="59645"/>
                  <a:pt x="38914" y="59645"/>
                  <a:pt x="32946" y="59645"/>
                </a:cubicBezTo>
                <a:cubicBezTo>
                  <a:pt x="31627" y="67459"/>
                  <a:pt x="30307" y="75272"/>
                  <a:pt x="28987" y="83085"/>
                </a:cubicBezTo>
                <a:cubicBezTo>
                  <a:pt x="34461" y="85806"/>
                  <a:pt x="43200" y="87166"/>
                  <a:pt x="55206" y="87166"/>
                </a:cubicBezTo>
                <a:cubicBezTo>
                  <a:pt x="66689" y="87166"/>
                  <a:pt x="78171" y="87166"/>
                  <a:pt x="89654" y="87166"/>
                </a:cubicBezTo>
                <a:cubicBezTo>
                  <a:pt x="92382" y="87131"/>
                  <a:pt x="95110" y="87096"/>
                  <a:pt x="97838" y="87061"/>
                </a:cubicBezTo>
                <a:cubicBezTo>
                  <a:pt x="96462" y="88596"/>
                  <a:pt x="95411" y="90270"/>
                  <a:pt x="94686" y="92084"/>
                </a:cubicBezTo>
                <a:cubicBezTo>
                  <a:pt x="81319" y="92084"/>
                  <a:pt x="67952" y="92084"/>
                  <a:pt x="54585" y="92084"/>
                </a:cubicBezTo>
                <a:cubicBezTo>
                  <a:pt x="42021" y="92084"/>
                  <a:pt x="32827" y="90724"/>
                  <a:pt x="27005" y="88003"/>
                </a:cubicBezTo>
                <a:cubicBezTo>
                  <a:pt x="20741" y="85003"/>
                  <a:pt x="16488" y="79597"/>
                  <a:pt x="14248" y="71784"/>
                </a:cubicBezTo>
                <a:cubicBezTo>
                  <a:pt x="11342" y="81550"/>
                  <a:pt x="7766" y="89294"/>
                  <a:pt x="3519" y="95014"/>
                </a:cubicBezTo>
                <a:cubicBezTo>
                  <a:pt x="3118" y="94700"/>
                  <a:pt x="2717" y="94386"/>
                  <a:pt x="2317" y="94072"/>
                </a:cubicBezTo>
                <a:cubicBezTo>
                  <a:pt x="2247" y="94072"/>
                  <a:pt x="2154" y="94003"/>
                  <a:pt x="2038" y="93863"/>
                </a:cubicBezTo>
                <a:cubicBezTo>
                  <a:pt x="1358" y="93340"/>
                  <a:pt x="679" y="92817"/>
                  <a:pt x="0" y="92293"/>
                </a:cubicBezTo>
                <a:cubicBezTo>
                  <a:pt x="3663" y="87550"/>
                  <a:pt x="6795" y="80992"/>
                  <a:pt x="9395" y="72621"/>
                </a:cubicBezTo>
                <a:cubicBezTo>
                  <a:pt x="10485" y="69063"/>
                  <a:pt x="11558" y="64982"/>
                  <a:pt x="12615" y="60378"/>
                </a:cubicBezTo>
                <a:cubicBezTo>
                  <a:pt x="13449" y="56681"/>
                  <a:pt x="14389" y="52146"/>
                  <a:pt x="15436" y="46775"/>
                </a:cubicBezTo>
                <a:cubicBezTo>
                  <a:pt x="17024" y="46879"/>
                  <a:pt x="18612" y="46984"/>
                  <a:pt x="20200" y="47089"/>
                </a:cubicBezTo>
                <a:cubicBezTo>
                  <a:pt x="19107" y="52111"/>
                  <a:pt x="18014" y="57134"/>
                  <a:pt x="16921" y="62157"/>
                </a:cubicBezTo>
                <a:cubicBezTo>
                  <a:pt x="18032" y="70458"/>
                  <a:pt x="20648" y="76458"/>
                  <a:pt x="24770" y="80155"/>
                </a:cubicBezTo>
                <a:cubicBezTo>
                  <a:pt x="27145" y="66098"/>
                  <a:pt x="29519" y="52042"/>
                  <a:pt x="31894" y="37985"/>
                </a:cubicBezTo>
                <a:cubicBezTo>
                  <a:pt x="25053" y="37985"/>
                  <a:pt x="18212" y="37985"/>
                  <a:pt x="11372" y="37985"/>
                </a:cubicBezTo>
                <a:cubicBezTo>
                  <a:pt x="11637" y="36415"/>
                  <a:pt x="11902" y="34846"/>
                  <a:pt x="12167" y="33276"/>
                </a:cubicBezTo>
                <a:cubicBezTo>
                  <a:pt x="18659" y="33276"/>
                  <a:pt x="25150" y="33276"/>
                  <a:pt x="31642" y="33276"/>
                </a:cubicBezTo>
                <a:cubicBezTo>
                  <a:pt x="32479" y="28323"/>
                  <a:pt x="33315" y="23370"/>
                  <a:pt x="34152" y="18417"/>
                </a:cubicBezTo>
                <a:cubicBezTo>
                  <a:pt x="28323" y="18417"/>
                  <a:pt x="22495" y="18417"/>
                  <a:pt x="16666" y="18417"/>
                </a:cubicBezTo>
                <a:cubicBezTo>
                  <a:pt x="16926" y="16882"/>
                  <a:pt x="17185" y="15347"/>
                  <a:pt x="17444" y="13813"/>
                </a:cubicBezTo>
                <a:cubicBezTo>
                  <a:pt x="23273" y="13813"/>
                  <a:pt x="29101" y="13813"/>
                  <a:pt x="34930" y="13813"/>
                </a:cubicBezTo>
                <a:cubicBezTo>
                  <a:pt x="35707" y="9208"/>
                  <a:pt x="36485" y="4604"/>
                  <a:pt x="37263" y="0"/>
                </a:cubicBez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indent="0" algn="dist">
              <a:buNone/>
            </a:pPr>
            <a:endParaRPr lang="zh-CN" altLang="en-US" sz="800" b="1" spc="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4169832" y="4724665"/>
            <a:ext cx="3852337" cy="288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rtlCol="0" anchor="ctr" anchorCtr="0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后</a:t>
            </a:r>
            <a:r>
              <a:rPr lang="en-US" altLang="zh-CN" sz="1600" dirty="0">
                <a:solidFill>
                  <a:schemeClr val="bg1"/>
                </a:solidFill>
                <a:latin typeface="+mn-ea"/>
              </a:rPr>
              <a:t>AI</a:t>
            </a: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时代，高技术门槛，低应用门槛</a:t>
            </a:r>
          </a:p>
        </p:txBody>
      </p:sp>
      <p:sp>
        <p:nvSpPr>
          <p:cNvPr id="34" name="矩形: 圆角 33"/>
          <p:cNvSpPr/>
          <p:nvPr/>
        </p:nvSpPr>
        <p:spPr>
          <a:xfrm>
            <a:off x="3555269" y="2652480"/>
            <a:ext cx="6341459" cy="1116001"/>
          </a:xfrm>
          <a:prstGeom prst="roundRect">
            <a:avLst>
              <a:gd name="adj" fmla="val 10408"/>
            </a:avLst>
          </a:prstGeom>
          <a:solidFill>
            <a:schemeClr val="accent1">
              <a:alpha val="8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5" name="矩形: 圆角 34"/>
          <p:cNvSpPr/>
          <p:nvPr/>
        </p:nvSpPr>
        <p:spPr>
          <a:xfrm>
            <a:off x="342899" y="2652480"/>
            <a:ext cx="2340000" cy="1116000"/>
          </a:xfrm>
          <a:prstGeom prst="roundRect">
            <a:avLst>
              <a:gd name="adj" fmla="val 8132"/>
            </a:avLst>
          </a:prstGeom>
          <a:solidFill>
            <a:schemeClr val="accent1">
              <a:alpha val="8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6" name="矩形: 圆角 35"/>
          <p:cNvSpPr/>
          <p:nvPr/>
        </p:nvSpPr>
        <p:spPr>
          <a:xfrm>
            <a:off x="630126" y="28452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数据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采集</a:t>
            </a:r>
          </a:p>
        </p:txBody>
      </p:sp>
      <p:sp>
        <p:nvSpPr>
          <p:cNvPr id="37" name="矩形: 圆角 36"/>
          <p:cNvSpPr/>
          <p:nvPr/>
        </p:nvSpPr>
        <p:spPr>
          <a:xfrm>
            <a:off x="1651714" y="2845294"/>
            <a:ext cx="730372" cy="730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数据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清洗</a:t>
            </a:r>
          </a:p>
        </p:txBody>
      </p:sp>
      <p:sp>
        <p:nvSpPr>
          <p:cNvPr id="39" name="矩形: 圆角 38"/>
          <p:cNvSpPr/>
          <p:nvPr/>
        </p:nvSpPr>
        <p:spPr>
          <a:xfrm>
            <a:off x="3882658" y="2739390"/>
            <a:ext cx="705960" cy="7059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自动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标注</a:t>
            </a:r>
          </a:p>
        </p:txBody>
      </p:sp>
      <p:sp>
        <p:nvSpPr>
          <p:cNvPr id="40" name="矩形: 圆角 39"/>
          <p:cNvSpPr/>
          <p:nvPr/>
        </p:nvSpPr>
        <p:spPr>
          <a:xfrm>
            <a:off x="5129856" y="2739390"/>
            <a:ext cx="705960" cy="7059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人工</a:t>
            </a:r>
            <a:br>
              <a:rPr lang="en-US" altLang="zh-CN" sz="1400" dirty="0">
                <a:solidFill>
                  <a:schemeClr val="accent1"/>
                </a:solidFill>
                <a:latin typeface="+mj-ea"/>
                <a:ea typeface="+mj-ea"/>
              </a:rPr>
            </a:br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修正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cxnSp>
        <p:nvCxnSpPr>
          <p:cNvPr id="43" name="直接箭头连接符 42"/>
          <p:cNvCxnSpPr/>
          <p:nvPr/>
        </p:nvCxnSpPr>
        <p:spPr>
          <a:xfrm flipV="1">
            <a:off x="342900" y="1801814"/>
            <a:ext cx="2340000" cy="1"/>
          </a:xfrm>
          <a:prstGeom prst="straightConnector1">
            <a:avLst/>
          </a:prstGeom>
          <a:ln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1199679" y="1675813"/>
            <a:ext cx="626442" cy="25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none" bIns="36000" rtlCol="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1</a:t>
            </a:r>
            <a:r>
              <a:rPr lang="zh-CN" altLang="en-US" sz="1400" dirty="0">
                <a:solidFill>
                  <a:schemeClr val="bg1"/>
                </a:solidFill>
              </a:rPr>
              <a:t>天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599829" y="2324828"/>
            <a:ext cx="1826141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  <a:latin typeface="+mj-ea"/>
                <a:ea typeface="+mj-ea"/>
              </a:rPr>
              <a:t>基础计算机操作员</a:t>
            </a:r>
          </a:p>
        </p:txBody>
      </p:sp>
      <p:sp>
        <p:nvSpPr>
          <p:cNvPr id="50" name="矩形: 圆角 49"/>
          <p:cNvSpPr/>
          <p:nvPr/>
        </p:nvSpPr>
        <p:spPr>
          <a:xfrm>
            <a:off x="10769100" y="2670479"/>
            <a:ext cx="1080000" cy="1080000"/>
          </a:xfrm>
          <a:prstGeom prst="roundRect">
            <a:avLst>
              <a:gd name="adj" fmla="val 50000"/>
            </a:avLst>
          </a:prstGeom>
          <a:solidFill>
            <a:srgbClr val="006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  <a:t>在线</a:t>
            </a:r>
            <a:br>
              <a:rPr lang="en-US" altLang="zh-CN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</a:b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j-ea"/>
                <a:ea typeface="+mj-ea"/>
              </a:rPr>
              <a:t>推理系统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8585200" y="3895814"/>
            <a:ext cx="1210588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600" b="1">
                <a:solidFill>
                  <a:srgbClr val="0070C0"/>
                </a:solidFill>
                <a:latin typeface="+mj-ea"/>
                <a:ea typeface="+mj-ea"/>
              </a:defRPr>
            </a:lvl1pPr>
          </a:lstStyle>
          <a:p>
            <a:pPr algn="ctr"/>
            <a:r>
              <a:rPr lang="zh-CN" altLang="en-US" dirty="0">
                <a:solidFill>
                  <a:schemeClr val="accent1"/>
                </a:solidFill>
              </a:rPr>
              <a:t>收集负样本</a:t>
            </a:r>
          </a:p>
        </p:txBody>
      </p:sp>
      <p:sp>
        <p:nvSpPr>
          <p:cNvPr id="52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思谋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I</a:t>
            </a:r>
            <a:r>
              <a:rPr lang="zh-CN" altLang="en-US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落地</a:t>
            </a:r>
            <a:r>
              <a:rPr lang="en-US" altLang="zh-CN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        </a:t>
            </a:r>
            <a:r>
              <a:rPr lang="zh-CN" altLang="en-US" dirty="0"/>
              <a:t>降门槛、提效率</a:t>
            </a:r>
          </a:p>
        </p:txBody>
      </p:sp>
      <p:sp>
        <p:nvSpPr>
          <p:cNvPr id="53" name="文本框 52"/>
          <p:cNvSpPr txBox="1"/>
          <p:nvPr/>
        </p:nvSpPr>
        <p:spPr>
          <a:xfrm>
            <a:off x="0" y="1096482"/>
            <a:ext cx="1219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r>
              <a:rPr lang="zh-CN" altLang="en-US" sz="20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全链路工具化平台，打通</a:t>
            </a:r>
            <a:r>
              <a:rPr lang="zh-CN" altLang="en-US" sz="2000" dirty="0">
                <a:latin typeface="思源黑体 CN Normal" panose="020B0400000000000000" pitchFamily="34" charset="-122"/>
                <a:ea typeface="思源黑体 CN Normal" panose="020B0400000000000000" pitchFamily="34" charset="-122"/>
                <a:sym typeface="+mn-ea"/>
              </a:rPr>
              <a:t>数据收集、模型训练、模型部署、模型迭代全流程，无需专业算法工程师参与</a:t>
            </a:r>
            <a:endParaRPr lang="zh-CN" altLang="en-US" sz="20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4" name="iconfont-1018-792295"/>
          <p:cNvSpPr/>
          <p:nvPr/>
        </p:nvSpPr>
        <p:spPr>
          <a:xfrm>
            <a:off x="1363387" y="2104046"/>
            <a:ext cx="299024" cy="219316"/>
          </a:xfrm>
          <a:custGeom>
            <a:avLst/>
            <a:gdLst>
              <a:gd name="T0" fmla="*/ 5172 w 12800"/>
              <a:gd name="T1" fmla="*/ 1147 h 9388"/>
              <a:gd name="T2" fmla="*/ 3626 w 12800"/>
              <a:gd name="T3" fmla="*/ 426 h 9388"/>
              <a:gd name="T4" fmla="*/ 2134 w 12800"/>
              <a:gd name="T5" fmla="*/ 1920 h 9388"/>
              <a:gd name="T6" fmla="*/ 3626 w 12800"/>
              <a:gd name="T7" fmla="*/ 3414 h 9388"/>
              <a:gd name="T8" fmla="*/ 3626 w 12800"/>
              <a:gd name="T9" fmla="*/ 3840 h 9388"/>
              <a:gd name="T10" fmla="*/ 426 w 12800"/>
              <a:gd name="T11" fmla="*/ 7040 h 9388"/>
              <a:gd name="T12" fmla="*/ 0 w 12800"/>
              <a:gd name="T13" fmla="*/ 7040 h 9388"/>
              <a:gd name="T14" fmla="*/ 2639 w 12800"/>
              <a:gd name="T15" fmla="*/ 3547 h 9388"/>
              <a:gd name="T16" fmla="*/ 2267 w 12800"/>
              <a:gd name="T17" fmla="*/ 559 h 9388"/>
              <a:gd name="T18" fmla="*/ 5226 w 12800"/>
              <a:gd name="T19" fmla="*/ 854 h 9388"/>
              <a:gd name="T20" fmla="*/ 9693 w 12800"/>
              <a:gd name="T21" fmla="*/ 6680 h 9388"/>
              <a:gd name="T22" fmla="*/ 10452 w 12800"/>
              <a:gd name="T23" fmla="*/ 9388 h 9388"/>
              <a:gd name="T24" fmla="*/ 9053 w 12800"/>
              <a:gd name="T25" fmla="*/ 6601 h 9388"/>
              <a:gd name="T26" fmla="*/ 3747 w 12800"/>
              <a:gd name="T27" fmla="*/ 6600 h 9388"/>
              <a:gd name="T28" fmla="*/ 2346 w 12800"/>
              <a:gd name="T29" fmla="*/ 9388 h 9388"/>
              <a:gd name="T30" fmla="*/ 3105 w 12800"/>
              <a:gd name="T31" fmla="*/ 6680 h 9388"/>
              <a:gd name="T32" fmla="*/ 4266 w 12800"/>
              <a:gd name="T33" fmla="*/ 3414 h 9388"/>
              <a:gd name="T34" fmla="*/ 6400 w 12800"/>
              <a:gd name="T35" fmla="*/ 1280 h 9388"/>
              <a:gd name="T36" fmla="*/ 8534 w 12800"/>
              <a:gd name="T37" fmla="*/ 3414 h 9388"/>
              <a:gd name="T38" fmla="*/ 5199 w 12800"/>
              <a:gd name="T39" fmla="*/ 4613 h 9388"/>
              <a:gd name="T40" fmla="*/ 7601 w 12800"/>
              <a:gd name="T41" fmla="*/ 4613 h 9388"/>
              <a:gd name="T42" fmla="*/ 7599 w 12800"/>
              <a:gd name="T43" fmla="*/ 2213 h 9388"/>
              <a:gd name="T44" fmla="*/ 5199 w 12800"/>
              <a:gd name="T45" fmla="*/ 2213 h 9388"/>
              <a:gd name="T46" fmla="*/ 5199 w 12800"/>
              <a:gd name="T47" fmla="*/ 4613 h 9388"/>
              <a:gd name="T48" fmla="*/ 12054 w 12800"/>
              <a:gd name="T49" fmla="*/ 4854 h 9388"/>
              <a:gd name="T50" fmla="*/ 12586 w 12800"/>
              <a:gd name="T51" fmla="*/ 7254 h 9388"/>
              <a:gd name="T52" fmla="*/ 11439 w 12800"/>
              <a:gd name="T53" fmla="*/ 4773 h 9388"/>
              <a:gd name="T54" fmla="*/ 8960 w 12800"/>
              <a:gd name="T55" fmla="*/ 3626 h 9388"/>
              <a:gd name="T56" fmla="*/ 10227 w 12800"/>
              <a:gd name="T57" fmla="*/ 2972 h 9388"/>
              <a:gd name="T58" fmla="*/ 10226 w 12800"/>
              <a:gd name="T59" fmla="*/ 867 h 9388"/>
              <a:gd name="T60" fmla="*/ 7921 w 12800"/>
              <a:gd name="T61" fmla="*/ 1093 h 9388"/>
              <a:gd name="T62" fmla="*/ 7572 w 12800"/>
              <a:gd name="T63" fmla="*/ 881 h 9388"/>
              <a:gd name="T64" fmla="*/ 10533 w 12800"/>
              <a:gd name="T65" fmla="*/ 559 h 9388"/>
              <a:gd name="T66" fmla="*/ 10161 w 12800"/>
              <a:gd name="T67" fmla="*/ 3547 h 9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800" h="9388">
                <a:moveTo>
                  <a:pt x="5226" y="854"/>
                </a:moveTo>
                <a:cubicBezTo>
                  <a:pt x="5298" y="942"/>
                  <a:pt x="5280" y="1041"/>
                  <a:pt x="5172" y="1147"/>
                </a:cubicBezTo>
                <a:cubicBezTo>
                  <a:pt x="5048" y="1201"/>
                  <a:pt x="4941" y="1183"/>
                  <a:pt x="4852" y="1093"/>
                </a:cubicBezTo>
                <a:cubicBezTo>
                  <a:pt x="4568" y="649"/>
                  <a:pt x="4160" y="426"/>
                  <a:pt x="3626" y="426"/>
                </a:cubicBezTo>
                <a:cubicBezTo>
                  <a:pt x="3218" y="426"/>
                  <a:pt x="2866" y="573"/>
                  <a:pt x="2573" y="867"/>
                </a:cubicBezTo>
                <a:cubicBezTo>
                  <a:pt x="2280" y="1160"/>
                  <a:pt x="2134" y="1512"/>
                  <a:pt x="2134" y="1920"/>
                </a:cubicBezTo>
                <a:cubicBezTo>
                  <a:pt x="2134" y="2328"/>
                  <a:pt x="2281" y="2680"/>
                  <a:pt x="2574" y="2973"/>
                </a:cubicBezTo>
                <a:cubicBezTo>
                  <a:pt x="2867" y="3267"/>
                  <a:pt x="3218" y="3414"/>
                  <a:pt x="3626" y="3414"/>
                </a:cubicBezTo>
                <a:cubicBezTo>
                  <a:pt x="3768" y="3414"/>
                  <a:pt x="3840" y="3484"/>
                  <a:pt x="3840" y="3626"/>
                </a:cubicBezTo>
                <a:cubicBezTo>
                  <a:pt x="3840" y="3768"/>
                  <a:pt x="3768" y="3840"/>
                  <a:pt x="3626" y="3840"/>
                </a:cubicBezTo>
                <a:cubicBezTo>
                  <a:pt x="2738" y="3840"/>
                  <a:pt x="1983" y="4151"/>
                  <a:pt x="1359" y="4773"/>
                </a:cubicBezTo>
                <a:cubicBezTo>
                  <a:pt x="737" y="5395"/>
                  <a:pt x="426" y="6152"/>
                  <a:pt x="426" y="7040"/>
                </a:cubicBezTo>
                <a:cubicBezTo>
                  <a:pt x="426" y="7182"/>
                  <a:pt x="355" y="7254"/>
                  <a:pt x="212" y="7254"/>
                </a:cubicBezTo>
                <a:cubicBezTo>
                  <a:pt x="70" y="7254"/>
                  <a:pt x="0" y="7182"/>
                  <a:pt x="0" y="7040"/>
                </a:cubicBezTo>
                <a:cubicBezTo>
                  <a:pt x="0" y="6222"/>
                  <a:pt x="248" y="5494"/>
                  <a:pt x="746" y="4854"/>
                </a:cubicBezTo>
                <a:cubicBezTo>
                  <a:pt x="1244" y="4214"/>
                  <a:pt x="1875" y="3779"/>
                  <a:pt x="2639" y="3547"/>
                </a:cubicBezTo>
                <a:cubicBezTo>
                  <a:pt x="2017" y="3191"/>
                  <a:pt x="1706" y="2648"/>
                  <a:pt x="1706" y="1920"/>
                </a:cubicBezTo>
                <a:cubicBezTo>
                  <a:pt x="1706" y="1386"/>
                  <a:pt x="1893" y="933"/>
                  <a:pt x="2267" y="559"/>
                </a:cubicBezTo>
                <a:cubicBezTo>
                  <a:pt x="2639" y="187"/>
                  <a:pt x="3094" y="0"/>
                  <a:pt x="3626" y="0"/>
                </a:cubicBezTo>
                <a:cubicBezTo>
                  <a:pt x="4302" y="0"/>
                  <a:pt x="4836" y="284"/>
                  <a:pt x="5226" y="854"/>
                </a:cubicBezTo>
                <a:close/>
                <a:moveTo>
                  <a:pt x="7466" y="5253"/>
                </a:moveTo>
                <a:cubicBezTo>
                  <a:pt x="8355" y="5485"/>
                  <a:pt x="9097" y="5960"/>
                  <a:pt x="9693" y="6680"/>
                </a:cubicBezTo>
                <a:cubicBezTo>
                  <a:pt x="10289" y="7400"/>
                  <a:pt x="10614" y="8232"/>
                  <a:pt x="10666" y="9174"/>
                </a:cubicBezTo>
                <a:cubicBezTo>
                  <a:pt x="10666" y="9316"/>
                  <a:pt x="10595" y="9388"/>
                  <a:pt x="10452" y="9388"/>
                </a:cubicBezTo>
                <a:cubicBezTo>
                  <a:pt x="10312" y="9386"/>
                  <a:pt x="10240" y="9316"/>
                  <a:pt x="10240" y="9174"/>
                </a:cubicBezTo>
                <a:cubicBezTo>
                  <a:pt x="10186" y="8160"/>
                  <a:pt x="9791" y="7302"/>
                  <a:pt x="9053" y="6601"/>
                </a:cubicBezTo>
                <a:cubicBezTo>
                  <a:pt x="8316" y="5898"/>
                  <a:pt x="7432" y="5546"/>
                  <a:pt x="6400" y="5546"/>
                </a:cubicBezTo>
                <a:cubicBezTo>
                  <a:pt x="5368" y="5546"/>
                  <a:pt x="4484" y="5898"/>
                  <a:pt x="3747" y="6600"/>
                </a:cubicBezTo>
                <a:cubicBezTo>
                  <a:pt x="3009" y="7302"/>
                  <a:pt x="2614" y="8160"/>
                  <a:pt x="2560" y="9174"/>
                </a:cubicBezTo>
                <a:cubicBezTo>
                  <a:pt x="2560" y="9316"/>
                  <a:pt x="2488" y="9388"/>
                  <a:pt x="2346" y="9388"/>
                </a:cubicBezTo>
                <a:cubicBezTo>
                  <a:pt x="2204" y="9388"/>
                  <a:pt x="2132" y="9316"/>
                  <a:pt x="2132" y="9174"/>
                </a:cubicBezTo>
                <a:cubicBezTo>
                  <a:pt x="2186" y="8232"/>
                  <a:pt x="2510" y="7401"/>
                  <a:pt x="3105" y="6680"/>
                </a:cubicBezTo>
                <a:cubicBezTo>
                  <a:pt x="3700" y="5960"/>
                  <a:pt x="4443" y="5485"/>
                  <a:pt x="5332" y="5253"/>
                </a:cubicBezTo>
                <a:cubicBezTo>
                  <a:pt x="4622" y="4845"/>
                  <a:pt x="4266" y="4232"/>
                  <a:pt x="4266" y="3414"/>
                </a:cubicBezTo>
                <a:cubicBezTo>
                  <a:pt x="4266" y="2828"/>
                  <a:pt x="4475" y="2324"/>
                  <a:pt x="4893" y="1907"/>
                </a:cubicBezTo>
                <a:cubicBezTo>
                  <a:pt x="5311" y="1489"/>
                  <a:pt x="5814" y="1280"/>
                  <a:pt x="6400" y="1280"/>
                </a:cubicBezTo>
                <a:cubicBezTo>
                  <a:pt x="6986" y="1280"/>
                  <a:pt x="7489" y="1489"/>
                  <a:pt x="7907" y="1907"/>
                </a:cubicBezTo>
                <a:cubicBezTo>
                  <a:pt x="8324" y="2324"/>
                  <a:pt x="8534" y="2828"/>
                  <a:pt x="8534" y="3414"/>
                </a:cubicBezTo>
                <a:cubicBezTo>
                  <a:pt x="8534" y="4232"/>
                  <a:pt x="8178" y="4845"/>
                  <a:pt x="7466" y="5253"/>
                </a:cubicBezTo>
                <a:close/>
                <a:moveTo>
                  <a:pt x="5199" y="4613"/>
                </a:moveTo>
                <a:cubicBezTo>
                  <a:pt x="5537" y="4951"/>
                  <a:pt x="5938" y="5120"/>
                  <a:pt x="6400" y="5120"/>
                </a:cubicBezTo>
                <a:cubicBezTo>
                  <a:pt x="6862" y="5120"/>
                  <a:pt x="7263" y="4951"/>
                  <a:pt x="7601" y="4613"/>
                </a:cubicBezTo>
                <a:cubicBezTo>
                  <a:pt x="7937" y="4275"/>
                  <a:pt x="8106" y="3876"/>
                  <a:pt x="8106" y="3414"/>
                </a:cubicBezTo>
                <a:cubicBezTo>
                  <a:pt x="8106" y="2952"/>
                  <a:pt x="7937" y="2551"/>
                  <a:pt x="7599" y="2213"/>
                </a:cubicBezTo>
                <a:cubicBezTo>
                  <a:pt x="7263" y="1875"/>
                  <a:pt x="6862" y="1706"/>
                  <a:pt x="6400" y="1706"/>
                </a:cubicBezTo>
                <a:cubicBezTo>
                  <a:pt x="5938" y="1706"/>
                  <a:pt x="5537" y="1875"/>
                  <a:pt x="5199" y="2213"/>
                </a:cubicBezTo>
                <a:cubicBezTo>
                  <a:pt x="4863" y="2551"/>
                  <a:pt x="4694" y="2952"/>
                  <a:pt x="4694" y="3414"/>
                </a:cubicBezTo>
                <a:cubicBezTo>
                  <a:pt x="4694" y="3876"/>
                  <a:pt x="4863" y="4275"/>
                  <a:pt x="5199" y="4613"/>
                </a:cubicBezTo>
                <a:close/>
                <a:moveTo>
                  <a:pt x="10161" y="3547"/>
                </a:moveTo>
                <a:cubicBezTo>
                  <a:pt x="10925" y="3779"/>
                  <a:pt x="11556" y="4214"/>
                  <a:pt x="12054" y="4854"/>
                </a:cubicBezTo>
                <a:cubicBezTo>
                  <a:pt x="12552" y="5494"/>
                  <a:pt x="12800" y="6222"/>
                  <a:pt x="12800" y="7040"/>
                </a:cubicBezTo>
                <a:cubicBezTo>
                  <a:pt x="12800" y="7182"/>
                  <a:pt x="12728" y="7254"/>
                  <a:pt x="12586" y="7254"/>
                </a:cubicBezTo>
                <a:cubicBezTo>
                  <a:pt x="12444" y="7254"/>
                  <a:pt x="12372" y="7182"/>
                  <a:pt x="12372" y="7040"/>
                </a:cubicBezTo>
                <a:cubicBezTo>
                  <a:pt x="12372" y="6152"/>
                  <a:pt x="12061" y="5395"/>
                  <a:pt x="11439" y="4773"/>
                </a:cubicBezTo>
                <a:cubicBezTo>
                  <a:pt x="10817" y="4151"/>
                  <a:pt x="10062" y="3840"/>
                  <a:pt x="9174" y="3840"/>
                </a:cubicBezTo>
                <a:cubicBezTo>
                  <a:pt x="9032" y="3840"/>
                  <a:pt x="8960" y="3768"/>
                  <a:pt x="8960" y="3626"/>
                </a:cubicBezTo>
                <a:cubicBezTo>
                  <a:pt x="8960" y="3484"/>
                  <a:pt x="9032" y="3412"/>
                  <a:pt x="9174" y="3412"/>
                </a:cubicBezTo>
                <a:cubicBezTo>
                  <a:pt x="9582" y="3412"/>
                  <a:pt x="9934" y="3265"/>
                  <a:pt x="10227" y="2972"/>
                </a:cubicBezTo>
                <a:cubicBezTo>
                  <a:pt x="10520" y="2680"/>
                  <a:pt x="10666" y="2328"/>
                  <a:pt x="10666" y="1920"/>
                </a:cubicBezTo>
                <a:cubicBezTo>
                  <a:pt x="10666" y="1512"/>
                  <a:pt x="10519" y="1160"/>
                  <a:pt x="10226" y="867"/>
                </a:cubicBezTo>
                <a:cubicBezTo>
                  <a:pt x="9933" y="573"/>
                  <a:pt x="9582" y="426"/>
                  <a:pt x="9174" y="426"/>
                </a:cubicBezTo>
                <a:cubicBezTo>
                  <a:pt x="8640" y="426"/>
                  <a:pt x="8223" y="649"/>
                  <a:pt x="7921" y="1093"/>
                </a:cubicBezTo>
                <a:cubicBezTo>
                  <a:pt x="7867" y="1217"/>
                  <a:pt x="7768" y="1244"/>
                  <a:pt x="7626" y="1174"/>
                </a:cubicBezTo>
                <a:cubicBezTo>
                  <a:pt x="7502" y="1068"/>
                  <a:pt x="7484" y="969"/>
                  <a:pt x="7572" y="881"/>
                </a:cubicBezTo>
                <a:cubicBezTo>
                  <a:pt x="7928" y="293"/>
                  <a:pt x="8462" y="0"/>
                  <a:pt x="9174" y="0"/>
                </a:cubicBezTo>
                <a:cubicBezTo>
                  <a:pt x="9708" y="0"/>
                  <a:pt x="10161" y="187"/>
                  <a:pt x="10533" y="559"/>
                </a:cubicBezTo>
                <a:cubicBezTo>
                  <a:pt x="10907" y="933"/>
                  <a:pt x="11094" y="1386"/>
                  <a:pt x="11094" y="1920"/>
                </a:cubicBezTo>
                <a:cubicBezTo>
                  <a:pt x="11094" y="2648"/>
                  <a:pt x="10783" y="3191"/>
                  <a:pt x="10161" y="354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箭头: 右 54"/>
          <p:cNvSpPr/>
          <p:nvPr/>
        </p:nvSpPr>
        <p:spPr>
          <a:xfrm>
            <a:off x="2783328" y="3063810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箭头: 右 56"/>
          <p:cNvSpPr/>
          <p:nvPr/>
        </p:nvSpPr>
        <p:spPr>
          <a:xfrm>
            <a:off x="9997158" y="3063810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8" name="直接连接符 57"/>
          <p:cNvCxnSpPr/>
          <p:nvPr/>
        </p:nvCxnSpPr>
        <p:spPr>
          <a:xfrm>
            <a:off x="342900" y="1695751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/>
        </p:nvCxnSpPr>
        <p:spPr>
          <a:xfrm>
            <a:off x="2682899" y="1695751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6618785" y="3800407"/>
            <a:ext cx="4765494" cy="529572"/>
            <a:chOff x="6618785" y="3800407"/>
            <a:chExt cx="4765494" cy="529572"/>
          </a:xfrm>
        </p:grpSpPr>
        <p:sp>
          <p:nvSpPr>
            <p:cNvPr id="85" name="任意多边形: 形状 84"/>
            <p:cNvSpPr/>
            <p:nvPr/>
          </p:nvSpPr>
          <p:spPr>
            <a:xfrm flipH="1" flipV="1">
              <a:off x="7216140" y="3800407"/>
              <a:ext cx="4168139" cy="529572"/>
            </a:xfrm>
            <a:custGeom>
              <a:avLst/>
              <a:gdLst>
                <a:gd name="connsiteX0" fmla="*/ 101879 w 4168139"/>
                <a:gd name="connsiteY0" fmla="*/ 529572 h 529572"/>
                <a:gd name="connsiteX1" fmla="*/ 0 w 4168139"/>
                <a:gd name="connsiteY1" fmla="*/ 529572 h 529572"/>
                <a:gd name="connsiteX2" fmla="*/ 0 w 4168139"/>
                <a:gd name="connsiteY2" fmla="*/ 279202 h 529572"/>
                <a:gd name="connsiteX3" fmla="*/ 279202 w 4168139"/>
                <a:gd name="connsiteY3" fmla="*/ 0 h 529572"/>
                <a:gd name="connsiteX4" fmla="*/ 4168139 w 4168139"/>
                <a:gd name="connsiteY4" fmla="*/ 0 h 529572"/>
                <a:gd name="connsiteX5" fmla="*/ 4168139 w 4168139"/>
                <a:gd name="connsiteY5" fmla="*/ 101879 h 529572"/>
                <a:gd name="connsiteX6" fmla="*/ 279202 w 4168139"/>
                <a:gd name="connsiteY6" fmla="*/ 101879 h 529572"/>
                <a:gd name="connsiteX7" fmla="*/ 101878 w 4168139"/>
                <a:gd name="connsiteY7" fmla="*/ 279203 h 529572"/>
                <a:gd name="connsiteX8" fmla="*/ 101879 w 4168139"/>
                <a:gd name="connsiteY8" fmla="*/ 529572 h 5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68139" h="529572">
                  <a:moveTo>
                    <a:pt x="101879" y="529572"/>
                  </a:moveTo>
                  <a:lnTo>
                    <a:pt x="0" y="529572"/>
                  </a:lnTo>
                  <a:lnTo>
                    <a:pt x="0" y="279202"/>
                  </a:lnTo>
                  <a:cubicBezTo>
                    <a:pt x="0" y="125003"/>
                    <a:pt x="125003" y="0"/>
                    <a:pt x="279202" y="0"/>
                  </a:cubicBezTo>
                  <a:lnTo>
                    <a:pt x="4168139" y="0"/>
                  </a:lnTo>
                  <a:lnTo>
                    <a:pt x="4168139" y="101879"/>
                  </a:lnTo>
                  <a:lnTo>
                    <a:pt x="279202" y="101879"/>
                  </a:lnTo>
                  <a:cubicBezTo>
                    <a:pt x="181269" y="101879"/>
                    <a:pt x="101878" y="181270"/>
                    <a:pt x="101878" y="279203"/>
                  </a:cubicBezTo>
                  <a:cubicBezTo>
                    <a:pt x="101878" y="362659"/>
                    <a:pt x="101879" y="446116"/>
                    <a:pt x="101879" y="529572"/>
                  </a:cubicBezTo>
                  <a:close/>
                </a:path>
              </a:pathLst>
            </a:custGeom>
            <a:noFill/>
            <a:ln w="6350">
              <a:gradFill flip="none" rotWithShape="1">
                <a:gsLst>
                  <a:gs pos="2000">
                    <a:schemeClr val="accent1">
                      <a:alpha val="0"/>
                    </a:schemeClr>
                  </a:gs>
                  <a:gs pos="62000">
                    <a:schemeClr val="accent1"/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" name="任意多边形: 形状 68"/>
            <p:cNvSpPr/>
            <p:nvPr/>
          </p:nvSpPr>
          <p:spPr>
            <a:xfrm rot="5400000" flipH="1" flipV="1">
              <a:off x="6660178" y="3764848"/>
              <a:ext cx="523738" cy="606524"/>
            </a:xfrm>
            <a:custGeom>
              <a:avLst/>
              <a:gdLst>
                <a:gd name="connsiteX0" fmla="*/ 523738 w 523738"/>
                <a:gd name="connsiteY0" fmla="*/ 130989 h 606524"/>
                <a:gd name="connsiteX1" fmla="*/ 375023 w 523738"/>
                <a:gd name="connsiteY1" fmla="*/ 261978 h 606524"/>
                <a:gd name="connsiteX2" fmla="*/ 375023 w 523738"/>
                <a:gd name="connsiteY2" fmla="*/ 178831 h 606524"/>
                <a:gd name="connsiteX3" fmla="*/ 279202 w 523738"/>
                <a:gd name="connsiteY3" fmla="*/ 178831 h 606524"/>
                <a:gd name="connsiteX4" fmla="*/ 101878 w 523738"/>
                <a:gd name="connsiteY4" fmla="*/ 356155 h 606524"/>
                <a:gd name="connsiteX5" fmla="*/ 101879 w 523738"/>
                <a:gd name="connsiteY5" fmla="*/ 606524 h 606524"/>
                <a:gd name="connsiteX6" fmla="*/ 0 w 523738"/>
                <a:gd name="connsiteY6" fmla="*/ 606524 h 606524"/>
                <a:gd name="connsiteX7" fmla="*/ 0 w 523738"/>
                <a:gd name="connsiteY7" fmla="*/ 356154 h 606524"/>
                <a:gd name="connsiteX8" fmla="*/ 279202 w 523738"/>
                <a:gd name="connsiteY8" fmla="*/ 76952 h 606524"/>
                <a:gd name="connsiteX9" fmla="*/ 375023 w 523738"/>
                <a:gd name="connsiteY9" fmla="*/ 76952 h 606524"/>
                <a:gd name="connsiteX10" fmla="*/ 375023 w 523738"/>
                <a:gd name="connsiteY10" fmla="*/ 0 h 606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738" h="606524">
                  <a:moveTo>
                    <a:pt x="523738" y="130989"/>
                  </a:moveTo>
                  <a:lnTo>
                    <a:pt x="375023" y="261978"/>
                  </a:lnTo>
                  <a:lnTo>
                    <a:pt x="375023" y="178831"/>
                  </a:lnTo>
                  <a:lnTo>
                    <a:pt x="279202" y="178831"/>
                  </a:lnTo>
                  <a:cubicBezTo>
                    <a:pt x="181269" y="178831"/>
                    <a:pt x="101878" y="258222"/>
                    <a:pt x="101878" y="356155"/>
                  </a:cubicBezTo>
                  <a:cubicBezTo>
                    <a:pt x="101878" y="439611"/>
                    <a:pt x="101879" y="523068"/>
                    <a:pt x="101879" y="606524"/>
                  </a:cubicBezTo>
                  <a:lnTo>
                    <a:pt x="0" y="606524"/>
                  </a:lnTo>
                  <a:lnTo>
                    <a:pt x="0" y="356154"/>
                  </a:lnTo>
                  <a:cubicBezTo>
                    <a:pt x="0" y="201955"/>
                    <a:pt x="125003" y="76952"/>
                    <a:pt x="279202" y="76952"/>
                  </a:cubicBezTo>
                  <a:lnTo>
                    <a:pt x="375023" y="76952"/>
                  </a:lnTo>
                  <a:lnTo>
                    <a:pt x="375023" y="0"/>
                  </a:lnTo>
                  <a:close/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0" name="矩形 69"/>
            <p:cNvSpPr/>
            <p:nvPr/>
          </p:nvSpPr>
          <p:spPr>
            <a:xfrm>
              <a:off x="7083168" y="4233562"/>
              <a:ext cx="221456" cy="93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1" name="矩形: 圆角 70"/>
          <p:cNvSpPr/>
          <p:nvPr/>
        </p:nvSpPr>
        <p:spPr>
          <a:xfrm>
            <a:off x="6377054" y="2739390"/>
            <a:ext cx="705960" cy="7059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>
                <a:solidFill>
                  <a:schemeClr val="accent1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训练</a:t>
            </a:r>
          </a:p>
        </p:txBody>
      </p:sp>
      <p:sp>
        <p:nvSpPr>
          <p:cNvPr id="72" name="矩形: 圆角 71"/>
          <p:cNvSpPr/>
          <p:nvPr/>
        </p:nvSpPr>
        <p:spPr>
          <a:xfrm>
            <a:off x="7624252" y="2739390"/>
            <a:ext cx="705960" cy="7059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测试</a:t>
            </a:r>
          </a:p>
        </p:txBody>
      </p:sp>
      <p:sp>
        <p:nvSpPr>
          <p:cNvPr id="73" name="矩形: 圆角 72"/>
          <p:cNvSpPr/>
          <p:nvPr/>
        </p:nvSpPr>
        <p:spPr>
          <a:xfrm>
            <a:off x="8871451" y="2739390"/>
            <a:ext cx="705960" cy="7059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5000">
                <a:schemeClr val="accent1">
                  <a:alpha val="0"/>
                </a:schemeClr>
              </a:gs>
              <a:gs pos="100000">
                <a:schemeClr val="accent1">
                  <a:alpha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>
                <a:solidFill>
                  <a:schemeClr val="accent1"/>
                </a:solidFill>
                <a:latin typeface="+mj-ea"/>
                <a:ea typeface="+mj-ea"/>
              </a:rPr>
              <a:t>模型</a:t>
            </a:r>
            <a:endParaRPr lang="en-US" altLang="zh-CN" sz="14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algn="ctr"/>
            <a:r>
              <a:rPr lang="zh-CN" altLang="en-US" sz="1400" dirty="0">
                <a:solidFill>
                  <a:schemeClr val="accent1"/>
                </a:solidFill>
                <a:latin typeface="+mj-ea"/>
                <a:ea typeface="+mj-ea"/>
              </a:rPr>
              <a:t>发布</a:t>
            </a:r>
          </a:p>
        </p:txBody>
      </p:sp>
      <p:cxnSp>
        <p:nvCxnSpPr>
          <p:cNvPr id="74" name="直接箭头连接符 73"/>
          <p:cNvCxnSpPr/>
          <p:nvPr/>
        </p:nvCxnSpPr>
        <p:spPr>
          <a:xfrm flipV="1">
            <a:off x="3555269" y="1801814"/>
            <a:ext cx="6343200" cy="1"/>
          </a:xfrm>
          <a:prstGeom prst="straightConnector1">
            <a:avLst/>
          </a:prstGeom>
          <a:ln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3555269" y="1695751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/>
          <p:nvPr/>
        </p:nvCxnSpPr>
        <p:spPr>
          <a:xfrm>
            <a:off x="9896728" y="1695751"/>
            <a:ext cx="0" cy="520700"/>
          </a:xfrm>
          <a:prstGeom prst="line">
            <a:avLst/>
          </a:prstGeom>
          <a:ln>
            <a:gradFill flip="none" rotWithShape="1">
              <a:gsLst>
                <a:gs pos="3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文本框 76"/>
          <p:cNvSpPr txBox="1"/>
          <p:nvPr/>
        </p:nvSpPr>
        <p:spPr>
          <a:xfrm>
            <a:off x="6383013" y="1675813"/>
            <a:ext cx="687712" cy="25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none" bIns="36000" rtlCol="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0.5</a:t>
            </a:r>
            <a:r>
              <a:rPr lang="zh-CN" altLang="en-US" sz="1400" dirty="0">
                <a:solidFill>
                  <a:schemeClr val="bg1"/>
                </a:solidFill>
              </a:rPr>
              <a:t>天</a:t>
            </a:r>
          </a:p>
        </p:txBody>
      </p:sp>
      <p:sp>
        <p:nvSpPr>
          <p:cNvPr id="78" name="箭头: 右 77"/>
          <p:cNvSpPr/>
          <p:nvPr/>
        </p:nvSpPr>
        <p:spPr>
          <a:xfrm>
            <a:off x="4600823" y="2998946"/>
            <a:ext cx="468858" cy="186850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箭头: 右 79"/>
          <p:cNvSpPr/>
          <p:nvPr/>
        </p:nvSpPr>
        <p:spPr>
          <a:xfrm>
            <a:off x="5845775" y="2998946"/>
            <a:ext cx="468858" cy="186850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箭头: 右 80"/>
          <p:cNvSpPr/>
          <p:nvPr/>
        </p:nvSpPr>
        <p:spPr>
          <a:xfrm>
            <a:off x="7095219" y="2998946"/>
            <a:ext cx="468858" cy="186850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箭头: 右 81"/>
          <p:cNvSpPr/>
          <p:nvPr/>
        </p:nvSpPr>
        <p:spPr>
          <a:xfrm>
            <a:off x="8340172" y="2998946"/>
            <a:ext cx="468858" cy="186850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框 82"/>
          <p:cNvSpPr txBox="1"/>
          <p:nvPr/>
        </p:nvSpPr>
        <p:spPr>
          <a:xfrm>
            <a:off x="5962808" y="2324828"/>
            <a:ext cx="1526380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50000"/>
                    <a:lumOff val="50000"/>
                  </a:schemeClr>
                </a:solidFill>
              </a14:hiddenFill>
            </a:ext>
          </a:extLst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defRPr sz="1600" b="1">
                <a:solidFill>
                  <a:srgbClr val="0070C0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 dirty="0" err="1">
                <a:solidFill>
                  <a:schemeClr val="accent1"/>
                </a:solidFill>
              </a:rPr>
              <a:t>SMore</a:t>
            </a:r>
            <a:r>
              <a:rPr lang="en-US" altLang="zh-CN" dirty="0">
                <a:solidFill>
                  <a:schemeClr val="accent1"/>
                </a:solidFill>
              </a:rPr>
              <a:t> AI </a:t>
            </a:r>
            <a:r>
              <a:rPr lang="zh-CN" altLang="en-US" dirty="0">
                <a:solidFill>
                  <a:schemeClr val="accent1"/>
                </a:solidFill>
              </a:rPr>
              <a:t>平台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4152625" y="3455945"/>
            <a:ext cx="3871702" cy="213830"/>
            <a:chOff x="4152625" y="3455945"/>
            <a:chExt cx="3871702" cy="213830"/>
          </a:xfrm>
        </p:grpSpPr>
        <p:sp>
          <p:nvSpPr>
            <p:cNvPr id="101" name="任意多边形: 形状 100"/>
            <p:cNvSpPr/>
            <p:nvPr/>
          </p:nvSpPr>
          <p:spPr>
            <a:xfrm flipH="1" flipV="1">
              <a:off x="4384234" y="3479803"/>
              <a:ext cx="3640093" cy="189971"/>
            </a:xfrm>
            <a:custGeom>
              <a:avLst/>
              <a:gdLst>
                <a:gd name="connsiteX0" fmla="*/ 77831 w 3640093"/>
                <a:gd name="connsiteY0" fmla="*/ 189971 h 189971"/>
                <a:gd name="connsiteX1" fmla="*/ 0 w 3640093"/>
                <a:gd name="connsiteY1" fmla="*/ 189971 h 189971"/>
                <a:gd name="connsiteX2" fmla="*/ 0 w 3640093"/>
                <a:gd name="connsiteY2" fmla="*/ 136204 h 189971"/>
                <a:gd name="connsiteX3" fmla="*/ 136204 w 3640093"/>
                <a:gd name="connsiteY3" fmla="*/ 0 h 189971"/>
                <a:gd name="connsiteX4" fmla="*/ 1647272 w 3640093"/>
                <a:gd name="connsiteY4" fmla="*/ 0 h 189971"/>
                <a:gd name="connsiteX5" fmla="*/ 1709694 w 3640093"/>
                <a:gd name="connsiteY5" fmla="*/ 0 h 189971"/>
                <a:gd name="connsiteX6" fmla="*/ 2894471 w 3640093"/>
                <a:gd name="connsiteY6" fmla="*/ 0 h 189971"/>
                <a:gd name="connsiteX7" fmla="*/ 3195593 w 3640093"/>
                <a:gd name="connsiteY7" fmla="*/ 0 h 189971"/>
                <a:gd name="connsiteX8" fmla="*/ 3640093 w 3640093"/>
                <a:gd name="connsiteY8" fmla="*/ 0 h 189971"/>
                <a:gd name="connsiteX9" fmla="*/ 3640093 w 3640093"/>
                <a:gd name="connsiteY9" fmla="*/ 77831 h 189971"/>
                <a:gd name="connsiteX10" fmla="*/ 3195593 w 3640093"/>
                <a:gd name="connsiteY10" fmla="*/ 77831 h 189971"/>
                <a:gd name="connsiteX11" fmla="*/ 2894471 w 3640093"/>
                <a:gd name="connsiteY11" fmla="*/ 77831 h 189971"/>
                <a:gd name="connsiteX12" fmla="*/ 1709694 w 3640093"/>
                <a:gd name="connsiteY12" fmla="*/ 77831 h 189971"/>
                <a:gd name="connsiteX13" fmla="*/ 1647272 w 3640093"/>
                <a:gd name="connsiteY13" fmla="*/ 77831 h 189971"/>
                <a:gd name="connsiteX14" fmla="*/ 136204 w 3640093"/>
                <a:gd name="connsiteY14" fmla="*/ 77831 h 189971"/>
                <a:gd name="connsiteX15" fmla="*/ 77831 w 3640093"/>
                <a:gd name="connsiteY15" fmla="*/ 136204 h 18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40093" h="189971">
                  <a:moveTo>
                    <a:pt x="77831" y="189971"/>
                  </a:moveTo>
                  <a:lnTo>
                    <a:pt x="0" y="189971"/>
                  </a:lnTo>
                  <a:lnTo>
                    <a:pt x="0" y="136204"/>
                  </a:lnTo>
                  <a:cubicBezTo>
                    <a:pt x="0" y="60981"/>
                    <a:pt x="60981" y="0"/>
                    <a:pt x="136204" y="0"/>
                  </a:cubicBezTo>
                  <a:lnTo>
                    <a:pt x="1647272" y="0"/>
                  </a:lnTo>
                  <a:lnTo>
                    <a:pt x="1709694" y="0"/>
                  </a:lnTo>
                  <a:lnTo>
                    <a:pt x="2894471" y="0"/>
                  </a:lnTo>
                  <a:lnTo>
                    <a:pt x="3195593" y="0"/>
                  </a:lnTo>
                  <a:lnTo>
                    <a:pt x="3640093" y="0"/>
                  </a:lnTo>
                  <a:lnTo>
                    <a:pt x="3640093" y="77831"/>
                  </a:lnTo>
                  <a:lnTo>
                    <a:pt x="3195593" y="77831"/>
                  </a:lnTo>
                  <a:lnTo>
                    <a:pt x="2894471" y="77831"/>
                  </a:lnTo>
                  <a:lnTo>
                    <a:pt x="1709694" y="77831"/>
                  </a:lnTo>
                  <a:lnTo>
                    <a:pt x="1647272" y="77831"/>
                  </a:lnTo>
                  <a:lnTo>
                    <a:pt x="136204" y="77831"/>
                  </a:lnTo>
                  <a:cubicBezTo>
                    <a:pt x="103965" y="77831"/>
                    <a:pt x="77831" y="103965"/>
                    <a:pt x="77831" y="136204"/>
                  </a:cubicBezTo>
                  <a:close/>
                </a:path>
              </a:pathLst>
            </a:custGeom>
            <a:noFill/>
            <a:ln w="6350">
              <a:gradFill flip="none" rotWithShape="1">
                <a:gsLst>
                  <a:gs pos="2000">
                    <a:schemeClr val="accent1">
                      <a:alpha val="0"/>
                    </a:schemeClr>
                  </a:gs>
                  <a:gs pos="26000">
                    <a:schemeClr val="accent1"/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8" name="任意多边形: 形状 107"/>
            <p:cNvSpPr/>
            <p:nvPr/>
          </p:nvSpPr>
          <p:spPr>
            <a:xfrm rot="5400000" flipH="1" flipV="1">
              <a:off x="4160153" y="3448417"/>
              <a:ext cx="213830" cy="228886"/>
            </a:xfrm>
            <a:custGeom>
              <a:avLst/>
              <a:gdLst>
                <a:gd name="connsiteX0" fmla="*/ 213830 w 213830"/>
                <a:gd name="connsiteY0" fmla="*/ 77831 h 228886"/>
                <a:gd name="connsiteX1" fmla="*/ 136000 w 213830"/>
                <a:gd name="connsiteY1" fmla="*/ 155662 h 228886"/>
                <a:gd name="connsiteX2" fmla="*/ 136000 w 213830"/>
                <a:gd name="connsiteY2" fmla="*/ 116787 h 228886"/>
                <a:gd name="connsiteX3" fmla="*/ 113482 w 213830"/>
                <a:gd name="connsiteY3" fmla="*/ 121333 h 228886"/>
                <a:gd name="connsiteX4" fmla="*/ 77830 w 213830"/>
                <a:gd name="connsiteY4" fmla="*/ 175119 h 228886"/>
                <a:gd name="connsiteX5" fmla="*/ 77830 w 213830"/>
                <a:gd name="connsiteY5" fmla="*/ 228886 h 228886"/>
                <a:gd name="connsiteX6" fmla="*/ 0 w 213830"/>
                <a:gd name="connsiteY6" fmla="*/ 228886 h 228886"/>
                <a:gd name="connsiteX7" fmla="*/ 0 w 213830"/>
                <a:gd name="connsiteY7" fmla="*/ 175119 h 228886"/>
                <a:gd name="connsiteX8" fmla="*/ 83187 w 213830"/>
                <a:gd name="connsiteY8" fmla="*/ 49619 h 228886"/>
                <a:gd name="connsiteX9" fmla="*/ 127532 w 213830"/>
                <a:gd name="connsiteY9" fmla="*/ 40666 h 228886"/>
                <a:gd name="connsiteX10" fmla="*/ 127532 w 213830"/>
                <a:gd name="connsiteY10" fmla="*/ 38915 h 228886"/>
                <a:gd name="connsiteX11" fmla="*/ 136000 w 213830"/>
                <a:gd name="connsiteY11" fmla="*/ 38915 h 228886"/>
                <a:gd name="connsiteX12" fmla="*/ 136000 w 213830"/>
                <a:gd name="connsiteY12" fmla="*/ 0 h 22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3830" h="228886">
                  <a:moveTo>
                    <a:pt x="213830" y="77831"/>
                  </a:moveTo>
                  <a:lnTo>
                    <a:pt x="136000" y="155662"/>
                  </a:lnTo>
                  <a:lnTo>
                    <a:pt x="136000" y="116787"/>
                  </a:lnTo>
                  <a:lnTo>
                    <a:pt x="113482" y="121333"/>
                  </a:lnTo>
                  <a:cubicBezTo>
                    <a:pt x="92531" y="130195"/>
                    <a:pt x="77830" y="150940"/>
                    <a:pt x="77830" y="175119"/>
                  </a:cubicBezTo>
                  <a:lnTo>
                    <a:pt x="77830" y="228886"/>
                  </a:lnTo>
                  <a:lnTo>
                    <a:pt x="0" y="228886"/>
                  </a:lnTo>
                  <a:lnTo>
                    <a:pt x="0" y="175119"/>
                  </a:lnTo>
                  <a:cubicBezTo>
                    <a:pt x="0" y="118702"/>
                    <a:pt x="34302" y="70296"/>
                    <a:pt x="83187" y="49619"/>
                  </a:cubicBezTo>
                  <a:lnTo>
                    <a:pt x="127532" y="40666"/>
                  </a:lnTo>
                  <a:lnTo>
                    <a:pt x="127532" y="38915"/>
                  </a:lnTo>
                  <a:lnTo>
                    <a:pt x="136000" y="38915"/>
                  </a:lnTo>
                  <a:lnTo>
                    <a:pt x="136000" y="0"/>
                  </a:lnTo>
                  <a:close/>
                </a:path>
              </a:pathLst>
            </a:custGeom>
            <a:noFill/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9" name="矩形 108"/>
            <p:cNvSpPr/>
            <p:nvPr/>
          </p:nvSpPr>
          <p:spPr>
            <a:xfrm>
              <a:off x="4330522" y="3598069"/>
              <a:ext cx="105746" cy="69056"/>
            </a:xfrm>
            <a:prstGeom prst="rect">
              <a:avLst/>
            </a:prstGeom>
            <a:solidFill>
              <a:srgbClr val="EBF4F9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10" name="矩形: 圆角 109"/>
          <p:cNvSpPr/>
          <p:nvPr/>
        </p:nvSpPr>
        <p:spPr>
          <a:xfrm>
            <a:off x="342900" y="5183354"/>
            <a:ext cx="3706586" cy="1152000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1" name="矩形: 圆角 110"/>
          <p:cNvSpPr/>
          <p:nvPr/>
        </p:nvSpPr>
        <p:spPr>
          <a:xfrm>
            <a:off x="4242707" y="5183354"/>
            <a:ext cx="3706586" cy="1152000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2" name="矩形: 圆角 111"/>
          <p:cNvSpPr/>
          <p:nvPr/>
        </p:nvSpPr>
        <p:spPr>
          <a:xfrm>
            <a:off x="8143865" y="5183354"/>
            <a:ext cx="3706586" cy="1152000"/>
          </a:xfrm>
          <a:prstGeom prst="roundRect">
            <a:avLst>
              <a:gd name="adj" fmla="val 4958"/>
            </a:avLst>
          </a:prstGeom>
          <a:solidFill>
            <a:schemeClr val="accent1">
              <a:alpha val="5000"/>
            </a:schemeClr>
          </a:solidFill>
          <a:ln w="3175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3" name="文本框 112"/>
          <p:cNvSpPr txBox="1"/>
          <p:nvPr/>
        </p:nvSpPr>
        <p:spPr>
          <a:xfrm>
            <a:off x="342900" y="5269572"/>
            <a:ext cx="3705235" cy="1020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周期短</a:t>
            </a:r>
            <a:endParaRPr lang="en-US" altLang="zh-CN" sz="1600" b="1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采用平台工具</a:t>
            </a:r>
            <a:br>
              <a:rPr lang="en-US" altLang="zh-CN" sz="1600" dirty="0"/>
            </a:br>
            <a:r>
              <a:rPr lang="zh-CN" altLang="en-US" sz="1600" dirty="0"/>
              <a:t>大大缩减标注时间</a:t>
            </a:r>
            <a:endParaRPr lang="en-US" altLang="zh-CN" sz="1600" dirty="0"/>
          </a:p>
        </p:txBody>
      </p:sp>
      <p:sp>
        <p:nvSpPr>
          <p:cNvPr id="114" name="文本框 113"/>
          <p:cNvSpPr txBox="1"/>
          <p:nvPr/>
        </p:nvSpPr>
        <p:spPr>
          <a:xfrm>
            <a:off x="4242707" y="5269572"/>
            <a:ext cx="3706586" cy="1020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低门槛</a:t>
            </a:r>
            <a:endParaRPr lang="en-US" altLang="zh-CN" b="1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无需专业的算法和软件工程师参与</a:t>
            </a:r>
            <a:br>
              <a:rPr lang="en-US" altLang="zh-CN" sz="1600" dirty="0"/>
            </a:br>
            <a:r>
              <a:rPr lang="zh-CN" altLang="en-US" sz="1600" dirty="0"/>
              <a:t>计算机操作经验即可使用</a:t>
            </a:r>
            <a:endParaRPr lang="en-US" altLang="zh-CN" sz="1600" dirty="0"/>
          </a:p>
        </p:txBody>
      </p:sp>
      <p:sp>
        <p:nvSpPr>
          <p:cNvPr id="115" name="文本框 114"/>
          <p:cNvSpPr txBox="1"/>
          <p:nvPr/>
        </p:nvSpPr>
        <p:spPr>
          <a:xfrm>
            <a:off x="8143865" y="5269572"/>
            <a:ext cx="3705235" cy="743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00"/>
              </a:spcBef>
            </a:pPr>
            <a:r>
              <a:rPr lang="zh-CN" altLang="en-US" b="1" dirty="0">
                <a:solidFill>
                  <a:schemeClr val="accent2"/>
                </a:solidFill>
                <a:latin typeface="+mj-ea"/>
                <a:ea typeface="+mj-ea"/>
              </a:rPr>
              <a:t>维护简单</a:t>
            </a:r>
            <a:endParaRPr lang="en-US" altLang="zh-CN" b="1" dirty="0">
              <a:solidFill>
                <a:schemeClr val="accent2"/>
              </a:solidFill>
              <a:latin typeface="+mj-ea"/>
              <a:ea typeface="+mj-ea"/>
            </a:endParaRPr>
          </a:p>
          <a:p>
            <a:pPr algn="ctr">
              <a:spcBef>
                <a:spcPts val="1000"/>
              </a:spcBef>
            </a:pPr>
            <a:r>
              <a:rPr lang="zh-CN" altLang="en-US" sz="1600" dirty="0"/>
              <a:t>客户可用平台自维护</a:t>
            </a:r>
          </a:p>
        </p:txBody>
      </p:sp>
      <p:cxnSp>
        <p:nvCxnSpPr>
          <p:cNvPr id="117" name="直接连接符 116"/>
          <p:cNvCxnSpPr>
            <a:stCxn id="32" idx="3"/>
          </p:cNvCxnSpPr>
          <p:nvPr/>
        </p:nvCxnSpPr>
        <p:spPr>
          <a:xfrm>
            <a:off x="8022169" y="4868665"/>
            <a:ext cx="3826931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/>
        </p:nvCxnSpPr>
        <p:spPr>
          <a:xfrm flipH="1">
            <a:off x="346218" y="4868665"/>
            <a:ext cx="3826931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/>
        </p:nvCxnSpPr>
        <p:spPr>
          <a:xfrm>
            <a:off x="5403056" y="814388"/>
            <a:ext cx="504000" cy="0"/>
          </a:xfrm>
          <a:prstGeom prst="line">
            <a:avLst/>
          </a:prstGeom>
          <a:ln w="12700"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0" y="1546375"/>
            <a:ext cx="12192000" cy="4533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100" dirty="0" err="1">
                <a:solidFill>
                  <a:schemeClr val="accent2"/>
                </a:solidFill>
                <a:latin typeface="+mn-ea"/>
              </a:rPr>
              <a:t>SMore</a:t>
            </a:r>
            <a:r>
              <a:rPr lang="en-US" altLang="zh-CN" sz="2100" dirty="0">
                <a:solidFill>
                  <a:schemeClr val="accent2"/>
                </a:solidFill>
                <a:latin typeface="+mn-ea"/>
              </a:rPr>
              <a:t> </a:t>
            </a:r>
            <a:r>
              <a:rPr lang="en-US" altLang="zh-CN" sz="2100" dirty="0" err="1">
                <a:solidFill>
                  <a:schemeClr val="accent2"/>
                </a:solidFill>
                <a:latin typeface="+mn-ea"/>
              </a:rPr>
              <a:t>ViMo</a:t>
            </a:r>
            <a:r>
              <a:rPr lang="en-US" altLang="zh-CN" sz="2100" dirty="0">
                <a:solidFill>
                  <a:schemeClr val="accent2"/>
                </a:solidFill>
                <a:latin typeface="+mn-ea"/>
              </a:rPr>
              <a:t> </a:t>
            </a:r>
            <a:r>
              <a:rPr lang="en-US" altLang="zh-CN" sz="2100" dirty="0">
                <a:solidFill>
                  <a:schemeClr val="accent1"/>
                </a:solidFill>
                <a:latin typeface="+mn-ea"/>
              </a:rPr>
              <a:t>(Vision Inspection and More) </a:t>
            </a:r>
            <a:r>
              <a:rPr lang="zh-CN" altLang="en-US" sz="2100" dirty="0">
                <a:solidFill>
                  <a:schemeClr val="accent1"/>
                </a:solidFill>
                <a:latin typeface="+mn-ea"/>
              </a:rPr>
              <a:t>是一款面向</a:t>
            </a:r>
            <a:r>
              <a:rPr lang="zh-CN" altLang="en-US" sz="2100" dirty="0">
                <a:solidFill>
                  <a:schemeClr val="accent2"/>
                </a:solidFill>
                <a:latin typeface="+mn-ea"/>
              </a:rPr>
              <a:t>工业制造</a:t>
            </a:r>
            <a:r>
              <a:rPr lang="zh-CN" altLang="en-US" sz="2100" dirty="0">
                <a:solidFill>
                  <a:schemeClr val="accent1"/>
                </a:solidFill>
                <a:latin typeface="+mn-ea"/>
              </a:rPr>
              <a:t>，提供通用</a:t>
            </a:r>
            <a:r>
              <a:rPr lang="zh-CN" altLang="en-US" sz="2100" dirty="0">
                <a:solidFill>
                  <a:schemeClr val="accent2"/>
                </a:solidFill>
                <a:latin typeface="+mn-ea"/>
              </a:rPr>
              <a:t>视觉解决方案</a:t>
            </a:r>
            <a:r>
              <a:rPr lang="zh-CN" altLang="en-US" sz="2100" dirty="0">
                <a:solidFill>
                  <a:schemeClr val="accent1"/>
                </a:solidFill>
                <a:latin typeface="+mn-ea"/>
              </a:rPr>
              <a:t>的平台</a:t>
            </a:r>
          </a:p>
        </p:txBody>
      </p:sp>
      <p:sp>
        <p:nvSpPr>
          <p:cNvPr id="25" name="标题 1"/>
          <p:cNvSpPr txBox="1"/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新一代视觉解决方案通用平台</a:t>
            </a:r>
          </a:p>
        </p:txBody>
      </p:sp>
      <p:sp>
        <p:nvSpPr>
          <p:cNvPr id="26" name="标题 1"/>
          <p:cNvSpPr txBox="1"/>
          <p:nvPr/>
        </p:nvSpPr>
        <p:spPr>
          <a:xfrm>
            <a:off x="309563" y="1058954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可</a:t>
            </a:r>
            <a:r>
              <a:rPr lang="zh-CN" altLang="en-US"/>
              <a:t>快速实现</a:t>
            </a:r>
            <a:r>
              <a:rPr lang="en-US" altLang="zh-CN" dirty="0"/>
              <a:t>AI</a:t>
            </a:r>
            <a:r>
              <a:rPr lang="zh-CN" altLang="en-US" dirty="0"/>
              <a:t>全链路交付</a:t>
            </a:r>
          </a:p>
        </p:txBody>
      </p:sp>
      <p:grpSp>
        <p:nvGrpSpPr>
          <p:cNvPr id="27" name="组合 26"/>
          <p:cNvGrpSpPr/>
          <p:nvPr/>
        </p:nvGrpSpPr>
        <p:grpSpPr>
          <a:xfrm>
            <a:off x="-393699" y="2104755"/>
            <a:ext cx="12979400" cy="5451745"/>
            <a:chOff x="611645" y="1609455"/>
            <a:chExt cx="10968711" cy="5451745"/>
          </a:xfrm>
        </p:grpSpPr>
        <p:sp>
          <p:nvSpPr>
            <p:cNvPr id="28" name="椭圆 27"/>
            <p:cNvSpPr/>
            <p:nvPr/>
          </p:nvSpPr>
          <p:spPr>
            <a:xfrm>
              <a:off x="611645" y="4287347"/>
              <a:ext cx="10968711" cy="2676322"/>
            </a:xfrm>
            <a:prstGeom prst="ellipse">
              <a:avLst/>
            </a:prstGeom>
            <a:noFill/>
            <a:ln w="9525">
              <a:gradFill>
                <a:gsLst>
                  <a:gs pos="0">
                    <a:schemeClr val="accent1">
                      <a:alpha val="0"/>
                    </a:schemeClr>
                  </a:gs>
                  <a:gs pos="75000">
                    <a:schemeClr val="accent1">
                      <a:alpha val="60000"/>
                    </a:schemeClr>
                  </a:gs>
                </a:gsLst>
                <a:lin ang="5400000" scaled="1"/>
              </a:gradFill>
              <a:prstDash val="sysDot"/>
            </a:ln>
            <a:effectLst>
              <a:innerShdw blurRad="647700">
                <a:schemeClr val="bg1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微软雅黑 Light" panose="020B0502040204020203" pitchFamily="34" charset="-122"/>
                <a:cs typeface="+mn-cs"/>
              </a:endParaRPr>
            </a:p>
          </p:txBody>
        </p:sp>
        <p:sp>
          <p:nvSpPr>
            <p:cNvPr id="29" name="椭圆 28"/>
            <p:cNvSpPr/>
            <p:nvPr/>
          </p:nvSpPr>
          <p:spPr>
            <a:xfrm>
              <a:off x="1638302" y="4612699"/>
              <a:ext cx="8915398" cy="1605181"/>
            </a:xfrm>
            <a:prstGeom prst="ellipse">
              <a:avLst/>
            </a:prstGeom>
            <a:noFill/>
            <a:ln w="9525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prstDash val="sysDot"/>
            </a:ln>
            <a:effectLst>
              <a:innerShdw blurRad="647700">
                <a:schemeClr val="bg1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微软雅黑 Light" panose="020B0502040204020203" pitchFamily="34" charset="-122"/>
                <a:cs typeface="+mn-cs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2082802" y="4787900"/>
              <a:ext cx="8026398" cy="1117600"/>
            </a:xfrm>
            <a:prstGeom prst="ellipse">
              <a:avLst/>
            </a:prstGeom>
            <a:gradFill flip="none" rotWithShape="1">
              <a:gsLst>
                <a:gs pos="7000">
                  <a:schemeClr val="accent1">
                    <a:alpha val="0"/>
                  </a:schemeClr>
                </a:gs>
                <a:gs pos="100000">
                  <a:schemeClr val="accent1">
                    <a:alpha val="20000"/>
                  </a:schemeClr>
                </a:gs>
              </a:gsLst>
              <a:lin ang="5400000" scaled="1"/>
              <a:tileRect/>
            </a:gradFill>
            <a:ln w="9525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</a:ln>
            <a:effectLst>
              <a:innerShdw blurRad="647700">
                <a:schemeClr val="bg1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微软雅黑 Light" panose="020B0502040204020203" pitchFamily="34" charset="-122"/>
                <a:cs typeface="+mn-cs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611645" y="1609455"/>
              <a:ext cx="10968711" cy="5451745"/>
            </a:xfrm>
            <a:prstGeom prst="ellipse">
              <a:avLst/>
            </a:prstGeom>
            <a:noFill/>
            <a:ln w="9525">
              <a:gradFill>
                <a:gsLst>
                  <a:gs pos="15000">
                    <a:schemeClr val="accent1">
                      <a:alpha val="0"/>
                    </a:schemeClr>
                  </a:gs>
                  <a:gs pos="100000">
                    <a:schemeClr val="accent1">
                      <a:alpha val="50000"/>
                    </a:schemeClr>
                  </a:gs>
                </a:gsLst>
                <a:lin ang="5400000" scaled="1"/>
              </a:gradFill>
              <a:prstDash val="sysDot"/>
            </a:ln>
            <a:effectLst>
              <a:innerShdw blurRad="647700">
                <a:schemeClr val="bg1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微软雅黑 Light" panose="020B0502040204020203" pitchFamily="34" charset="-122"/>
                <a:cs typeface="+mn-cs"/>
              </a:endParaRPr>
            </a:p>
          </p:txBody>
        </p:sp>
      </p:grpSp>
      <p:cxnSp>
        <p:nvCxnSpPr>
          <p:cNvPr id="32" name="直接连接符 31"/>
          <p:cNvCxnSpPr/>
          <p:nvPr/>
        </p:nvCxnSpPr>
        <p:spPr>
          <a:xfrm flipV="1">
            <a:off x="2988967" y="5633474"/>
            <a:ext cx="0" cy="547155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V="1">
            <a:off x="9403714" y="6032500"/>
            <a:ext cx="0" cy="891382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 flipV="1">
            <a:off x="9013701" y="5544984"/>
            <a:ext cx="0" cy="387069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 flipV="1">
            <a:off x="412114" y="5651500"/>
            <a:ext cx="0" cy="1016000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 flipV="1">
            <a:off x="4587239" y="4743450"/>
            <a:ext cx="0" cy="375670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组合 42"/>
          <p:cNvGrpSpPr/>
          <p:nvPr/>
        </p:nvGrpSpPr>
        <p:grpSpPr>
          <a:xfrm>
            <a:off x="4339455" y="5220601"/>
            <a:ext cx="3513090" cy="539634"/>
            <a:chOff x="4577498" y="5267326"/>
            <a:chExt cx="3037004" cy="466504"/>
          </a:xfrm>
        </p:grpSpPr>
        <p:sp>
          <p:nvSpPr>
            <p:cNvPr id="39" name="object 18"/>
            <p:cNvSpPr/>
            <p:nvPr/>
          </p:nvSpPr>
          <p:spPr>
            <a:xfrm>
              <a:off x="4973843" y="5267329"/>
              <a:ext cx="139887" cy="466287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9"/>
            <p:cNvSpPr/>
            <p:nvPr/>
          </p:nvSpPr>
          <p:spPr>
            <a:xfrm>
              <a:off x="4577498" y="5267329"/>
              <a:ext cx="295316" cy="466287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20"/>
            <p:cNvSpPr/>
            <p:nvPr/>
          </p:nvSpPr>
          <p:spPr>
            <a:xfrm>
              <a:off x="4754800" y="5267326"/>
              <a:ext cx="331698" cy="466504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21"/>
            <p:cNvSpPr/>
            <p:nvPr/>
          </p:nvSpPr>
          <p:spPr>
            <a:xfrm>
              <a:off x="5294098" y="5353380"/>
              <a:ext cx="2320404" cy="292489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6" name="矩形: 圆角 45"/>
          <p:cNvSpPr/>
          <p:nvPr/>
        </p:nvSpPr>
        <p:spPr>
          <a:xfrm>
            <a:off x="1377438" y="2270761"/>
            <a:ext cx="2540087" cy="2606039"/>
          </a:xfrm>
          <a:prstGeom prst="roundRect">
            <a:avLst>
              <a:gd name="adj" fmla="val 600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7" name="矩形: 圆角 46"/>
          <p:cNvSpPr/>
          <p:nvPr/>
        </p:nvSpPr>
        <p:spPr>
          <a:xfrm>
            <a:off x="4825957" y="2270761"/>
            <a:ext cx="2540087" cy="2606039"/>
          </a:xfrm>
          <a:prstGeom prst="roundRect">
            <a:avLst>
              <a:gd name="adj" fmla="val 600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8" name="矩形: 圆角 47"/>
          <p:cNvSpPr/>
          <p:nvPr/>
        </p:nvSpPr>
        <p:spPr>
          <a:xfrm>
            <a:off x="8304775" y="2270761"/>
            <a:ext cx="2540087" cy="2606039"/>
          </a:xfrm>
          <a:prstGeom prst="roundRect">
            <a:avLst>
              <a:gd name="adj" fmla="val 6000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97000">
                <a:schemeClr val="accent1">
                  <a:alpha val="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77437" y="2436270"/>
            <a:ext cx="2540088" cy="360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2000" spc="300" dirty="0">
                <a:solidFill>
                  <a:schemeClr val="accent1"/>
                </a:solidFill>
                <a:latin typeface="+mj-ea"/>
                <a:ea typeface="+mj-ea"/>
              </a:rPr>
              <a:t>数据管理</a:t>
            </a:r>
          </a:p>
        </p:txBody>
      </p:sp>
      <p:sp>
        <p:nvSpPr>
          <p:cNvPr id="7" name="矩形 6"/>
          <p:cNvSpPr/>
          <p:nvPr/>
        </p:nvSpPr>
        <p:spPr>
          <a:xfrm>
            <a:off x="4825957" y="2436269"/>
            <a:ext cx="2540087" cy="360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2000" spc="300" dirty="0">
                <a:solidFill>
                  <a:schemeClr val="accent1"/>
                </a:solidFill>
                <a:latin typeface="+mj-ea"/>
                <a:ea typeface="+mj-ea"/>
              </a:rPr>
              <a:t>模型训练</a:t>
            </a:r>
          </a:p>
        </p:txBody>
      </p:sp>
      <p:sp>
        <p:nvSpPr>
          <p:cNvPr id="8" name="矩形 7"/>
          <p:cNvSpPr/>
          <p:nvPr/>
        </p:nvSpPr>
        <p:spPr>
          <a:xfrm>
            <a:off x="8304775" y="2436269"/>
            <a:ext cx="2553725" cy="360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2000" spc="300" dirty="0">
                <a:solidFill>
                  <a:schemeClr val="accent1"/>
                </a:solidFill>
                <a:latin typeface="+mj-ea"/>
                <a:ea typeface="+mj-ea"/>
              </a:rPr>
              <a:t>模型发布</a:t>
            </a:r>
          </a:p>
        </p:txBody>
      </p:sp>
      <p:sp>
        <p:nvSpPr>
          <p:cNvPr id="10" name="矩形: 圆角 9"/>
          <p:cNvSpPr/>
          <p:nvPr/>
        </p:nvSpPr>
        <p:spPr>
          <a:xfrm>
            <a:off x="1819481" y="2928514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数据采集</a:t>
            </a:r>
          </a:p>
        </p:txBody>
      </p:sp>
      <p:sp>
        <p:nvSpPr>
          <p:cNvPr id="11" name="矩形: 圆角 10"/>
          <p:cNvSpPr/>
          <p:nvPr/>
        </p:nvSpPr>
        <p:spPr>
          <a:xfrm>
            <a:off x="1819481" y="3352230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数据清洗</a:t>
            </a:r>
          </a:p>
        </p:txBody>
      </p:sp>
      <p:sp>
        <p:nvSpPr>
          <p:cNvPr id="12" name="矩形: 圆角 11"/>
          <p:cNvSpPr/>
          <p:nvPr/>
        </p:nvSpPr>
        <p:spPr>
          <a:xfrm>
            <a:off x="1819481" y="3775946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数据管理</a:t>
            </a:r>
          </a:p>
        </p:txBody>
      </p:sp>
      <p:sp>
        <p:nvSpPr>
          <p:cNvPr id="13" name="矩形: 圆角 12"/>
          <p:cNvSpPr/>
          <p:nvPr/>
        </p:nvSpPr>
        <p:spPr>
          <a:xfrm>
            <a:off x="1819481" y="4199661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智能标注</a:t>
            </a:r>
          </a:p>
        </p:txBody>
      </p:sp>
      <p:sp>
        <p:nvSpPr>
          <p:cNvPr id="49" name="矩形: 圆角 48"/>
          <p:cNvSpPr/>
          <p:nvPr/>
        </p:nvSpPr>
        <p:spPr>
          <a:xfrm>
            <a:off x="5268000" y="2928514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>
                <a:solidFill>
                  <a:schemeClr val="accent1"/>
                </a:solidFill>
              </a:rPr>
              <a:t>模型调参</a:t>
            </a:r>
            <a:endParaRPr lang="zh-CN" altLang="en-US" sz="1600" spc="300" dirty="0">
              <a:solidFill>
                <a:schemeClr val="accent1"/>
              </a:solidFill>
            </a:endParaRPr>
          </a:p>
        </p:txBody>
      </p:sp>
      <p:sp>
        <p:nvSpPr>
          <p:cNvPr id="50" name="矩形: 圆角 49"/>
          <p:cNvSpPr/>
          <p:nvPr/>
        </p:nvSpPr>
        <p:spPr>
          <a:xfrm>
            <a:off x="5268000" y="3352230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模型训练</a:t>
            </a:r>
          </a:p>
        </p:txBody>
      </p:sp>
      <p:sp>
        <p:nvSpPr>
          <p:cNvPr id="51" name="矩形: 圆角 50"/>
          <p:cNvSpPr/>
          <p:nvPr/>
        </p:nvSpPr>
        <p:spPr>
          <a:xfrm>
            <a:off x="5268000" y="3775946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>
                <a:solidFill>
                  <a:schemeClr val="accent1"/>
                </a:solidFill>
              </a:rPr>
              <a:t>模型测试</a:t>
            </a:r>
            <a:endParaRPr lang="zh-CN" altLang="en-US" sz="1600" spc="300" dirty="0">
              <a:solidFill>
                <a:schemeClr val="accent1"/>
              </a:solidFill>
            </a:endParaRPr>
          </a:p>
        </p:txBody>
      </p:sp>
      <p:sp>
        <p:nvSpPr>
          <p:cNvPr id="52" name="矩形: 圆角 51"/>
          <p:cNvSpPr/>
          <p:nvPr/>
        </p:nvSpPr>
        <p:spPr>
          <a:xfrm>
            <a:off x="5268000" y="4199661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测试报告</a:t>
            </a:r>
          </a:p>
        </p:txBody>
      </p:sp>
      <p:sp>
        <p:nvSpPr>
          <p:cNvPr id="53" name="矩形: 圆角 52"/>
          <p:cNvSpPr/>
          <p:nvPr/>
        </p:nvSpPr>
        <p:spPr>
          <a:xfrm>
            <a:off x="8746818" y="2928514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离线发布</a:t>
            </a:r>
          </a:p>
        </p:txBody>
      </p:sp>
      <p:sp>
        <p:nvSpPr>
          <p:cNvPr id="54" name="矩形: 圆角 53"/>
          <p:cNvSpPr/>
          <p:nvPr/>
        </p:nvSpPr>
        <p:spPr>
          <a:xfrm>
            <a:off x="8746818" y="3352230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云端发布</a:t>
            </a:r>
          </a:p>
        </p:txBody>
      </p:sp>
      <p:sp>
        <p:nvSpPr>
          <p:cNvPr id="55" name="矩形: 圆角 54"/>
          <p:cNvSpPr/>
          <p:nvPr/>
        </p:nvSpPr>
        <p:spPr>
          <a:xfrm>
            <a:off x="8746818" y="3775946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私有云发布</a:t>
            </a:r>
          </a:p>
        </p:txBody>
      </p:sp>
      <p:sp>
        <p:nvSpPr>
          <p:cNvPr id="56" name="矩形: 圆角 55"/>
          <p:cNvSpPr/>
          <p:nvPr/>
        </p:nvSpPr>
        <p:spPr>
          <a:xfrm>
            <a:off x="8746818" y="4199661"/>
            <a:ext cx="1656000" cy="288000"/>
          </a:xfrm>
          <a:prstGeom prst="roundRect">
            <a:avLst>
              <a:gd name="adj" fmla="val 50000"/>
            </a:avLst>
          </a:prstGeom>
          <a:solidFill>
            <a:schemeClr val="accent1">
              <a:alpha val="1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600" spc="300" dirty="0">
                <a:solidFill>
                  <a:schemeClr val="accent1"/>
                </a:solidFill>
              </a:rPr>
              <a:t>边缘端发布</a:t>
            </a:r>
          </a:p>
        </p:txBody>
      </p:sp>
      <p:sp>
        <p:nvSpPr>
          <p:cNvPr id="57" name="箭头: 右 56"/>
          <p:cNvSpPr/>
          <p:nvPr/>
        </p:nvSpPr>
        <p:spPr>
          <a:xfrm>
            <a:off x="4030830" y="3542642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箭头: 右 57"/>
          <p:cNvSpPr/>
          <p:nvPr/>
        </p:nvSpPr>
        <p:spPr>
          <a:xfrm>
            <a:off x="7499653" y="3542642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0" name="直接连接符 59"/>
          <p:cNvCxnSpPr/>
          <p:nvPr/>
        </p:nvCxnSpPr>
        <p:spPr>
          <a:xfrm flipV="1">
            <a:off x="8092439" y="4743450"/>
            <a:ext cx="0" cy="375670"/>
          </a:xfrm>
          <a:prstGeom prst="line">
            <a:avLst/>
          </a:prstGeom>
          <a:ln w="3175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/>
          <p:cNvSpPr txBox="1"/>
          <p:nvPr/>
        </p:nvSpPr>
        <p:spPr>
          <a:xfrm>
            <a:off x="4276725" y="5762626"/>
            <a:ext cx="3638550" cy="504946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perspectiveFront" fov="7200000">
                <a:rot lat="18899995" lon="0" rev="0"/>
              </a:camera>
              <a:lightRig rig="threePt" dir="t"/>
            </a:scene3d>
            <a:sp3d extrusionH="6350" prstMaterial="matte">
              <a:extrusionClr>
                <a:schemeClr val="accent1">
                  <a:lumMod val="75000"/>
                </a:schemeClr>
              </a:extrusionClr>
            </a:sp3d>
          </a:bodyPr>
          <a:lstStyle/>
          <a:p>
            <a:pPr algn="ctr">
              <a:lnSpc>
                <a:spcPct val="120000"/>
              </a:lnSpc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rPr>
              <a:t>视觉解决方案</a:t>
            </a:r>
            <a:r>
              <a:rPr lang="zh-CN" altLang="en-US" sz="2400" dirty="0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rPr>
              <a:t>通用平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弧形 113"/>
          <p:cNvSpPr/>
          <p:nvPr/>
        </p:nvSpPr>
        <p:spPr>
          <a:xfrm flipH="1" flipV="1">
            <a:off x="9630889" y="2495675"/>
            <a:ext cx="1274126" cy="1274120"/>
          </a:xfrm>
          <a:prstGeom prst="arc">
            <a:avLst>
              <a:gd name="adj1" fmla="val 11073932"/>
              <a:gd name="adj2" fmla="val 877423"/>
            </a:avLst>
          </a:prstGeom>
          <a:ln w="1270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/>
          <p:cNvSpPr/>
          <p:nvPr/>
        </p:nvSpPr>
        <p:spPr>
          <a:xfrm>
            <a:off x="9366252" y="2231035"/>
            <a:ext cx="1803398" cy="1803398"/>
          </a:xfrm>
          <a:prstGeom prst="ellipse">
            <a:avLst/>
          </a:prstGeom>
          <a:noFill/>
          <a:ln w="6350">
            <a:solidFill>
              <a:srgbClr val="ABBCC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9261798" y="2126581"/>
            <a:ext cx="2012306" cy="2012306"/>
          </a:xfrm>
          <a:prstGeom prst="ellipse">
            <a:avLst/>
          </a:prstGeom>
          <a:noFill/>
          <a:ln w="6350">
            <a:solidFill>
              <a:srgbClr val="ABBC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标题 1"/>
          <p:cNvSpPr>
            <a:spLocks noGrp="1"/>
          </p:cNvSpPr>
          <p:nvPr/>
        </p:nvSpPr>
        <p:spPr>
          <a:xfrm>
            <a:off x="9638036" y="2502819"/>
            <a:ext cx="1259830" cy="125983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3200" b="1" kern="1200" dirty="0">
                <a:solidFill>
                  <a:srgbClr val="043E6F"/>
                </a:solidFill>
                <a:latin typeface="+mn-ea"/>
                <a:ea typeface="+mn-ea"/>
                <a:cs typeface="+mj-cs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思源黑体 CN Bold" panose="020B0800000000000000" charset="-122"/>
                <a:ea typeface="思源黑体 CN Bold" panose="020B0800000000000000" charset="-122"/>
                <a:cs typeface="Arial" panose="020B0604020202020204" pitchFamily="34" charset="0"/>
              </a:rPr>
              <a:t>四位一体</a:t>
            </a:r>
            <a:br>
              <a:rPr lang="zh-CN" altLang="en-US" sz="1400" dirty="0">
                <a:solidFill>
                  <a:schemeClr val="bg1"/>
                </a:solidFill>
                <a:latin typeface="思源黑体 CN Bold" panose="020B0800000000000000" charset="-122"/>
                <a:ea typeface="思源黑体 CN Bold" panose="020B0800000000000000" charset="-122"/>
                <a:cs typeface="Arial" panose="020B0604020202020204" pitchFamily="34" charset="0"/>
              </a:rPr>
            </a:br>
            <a:r>
              <a:rPr lang="zh-CN" altLang="en-US" sz="1400" dirty="0">
                <a:solidFill>
                  <a:schemeClr val="bg1"/>
                </a:solidFill>
                <a:latin typeface="思源黑体 CN Bold" panose="020B0800000000000000" charset="-122"/>
                <a:ea typeface="思源黑体 CN Bold" panose="020B0800000000000000" charset="-122"/>
                <a:cs typeface="Arial" panose="020B0604020202020204" pitchFamily="34" charset="0"/>
              </a:rPr>
              <a:t>方案解决能力</a:t>
            </a:r>
          </a:p>
        </p:txBody>
      </p:sp>
      <p:sp>
        <p:nvSpPr>
          <p:cNvPr id="44" name="标题 1"/>
          <p:cNvSpPr txBox="1"/>
          <p:nvPr/>
        </p:nvSpPr>
        <p:spPr>
          <a:xfrm>
            <a:off x="309563" y="579982"/>
            <a:ext cx="11572874" cy="8858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ym typeface="+mn-ea"/>
              </a:rPr>
              <a:t>矩阵式视觉</a:t>
            </a:r>
            <a:r>
              <a:rPr lang="en-US" altLang="zh-CN" dirty="0">
                <a:sym typeface="+mn-ea"/>
              </a:rPr>
              <a:t>AI</a:t>
            </a:r>
            <a:r>
              <a:rPr lang="zh-CN" altLang="en-US" dirty="0">
                <a:sym typeface="+mn-ea"/>
              </a:rPr>
              <a:t>核心技术</a:t>
            </a:r>
            <a:br>
              <a:rPr lang="en-US" altLang="zh-CN" dirty="0">
                <a:sym typeface="+mn-ea"/>
              </a:rPr>
            </a:br>
            <a:r>
              <a:rPr lang="zh-CN" altLang="en-US" dirty="0">
                <a:sym typeface="+mn-ea"/>
              </a:rPr>
              <a:t>四位一体方案解决能力，</a:t>
            </a:r>
            <a:r>
              <a:rPr lang="zh-CN" altLang="en-US" dirty="0"/>
              <a:t>赋能智能制造</a:t>
            </a:r>
          </a:p>
        </p:txBody>
      </p:sp>
      <p:sp>
        <p:nvSpPr>
          <p:cNvPr id="131" name="文本框 130"/>
          <p:cNvSpPr txBox="1"/>
          <p:nvPr/>
        </p:nvSpPr>
        <p:spPr>
          <a:xfrm>
            <a:off x="300840" y="3058177"/>
            <a:ext cx="38985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+mj-ea"/>
                <a:ea typeface="+mj-ea"/>
              </a:rPr>
              <a:t>核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心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能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力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输</a:t>
            </a:r>
            <a:endParaRPr lang="en-US" altLang="zh-CN" sz="1600" dirty="0">
              <a:latin typeface="+mj-ea"/>
              <a:ea typeface="+mj-ea"/>
            </a:endParaRPr>
          </a:p>
          <a:p>
            <a:r>
              <a:rPr lang="zh-CN" altLang="en-US" sz="1600" dirty="0">
                <a:latin typeface="+mj-ea"/>
                <a:ea typeface="+mj-ea"/>
              </a:rPr>
              <a:t>出</a:t>
            </a:r>
          </a:p>
        </p:txBody>
      </p:sp>
      <p:sp>
        <p:nvSpPr>
          <p:cNvPr id="132" name="箭头: 右 131"/>
          <p:cNvSpPr/>
          <p:nvPr/>
        </p:nvSpPr>
        <p:spPr>
          <a:xfrm rot="16200000">
            <a:off x="-1520021" y="3599307"/>
            <a:ext cx="4029349" cy="623598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7" name="组合 96"/>
          <p:cNvGrpSpPr/>
          <p:nvPr/>
        </p:nvGrpSpPr>
        <p:grpSpPr>
          <a:xfrm>
            <a:off x="891082" y="2547622"/>
            <a:ext cx="6570168" cy="504000"/>
            <a:chOff x="1059629" y="2609578"/>
            <a:chExt cx="6570168" cy="504000"/>
          </a:xfrm>
        </p:grpSpPr>
        <p:sp>
          <p:nvSpPr>
            <p:cNvPr id="51" name="矩形: 圆角 50"/>
            <p:cNvSpPr/>
            <p:nvPr/>
          </p:nvSpPr>
          <p:spPr>
            <a:xfrm>
              <a:off x="1775460" y="2609578"/>
              <a:ext cx="5854337" cy="504000"/>
            </a:xfrm>
            <a:prstGeom prst="roundRect">
              <a:avLst>
                <a:gd name="adj" fmla="val 12095"/>
              </a:avLst>
            </a:prstGeom>
            <a:solidFill>
              <a:schemeClr val="accent1">
                <a:alpha val="1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000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ea"/>
                <a:ea typeface="+mj-ea"/>
                <a:cs typeface="宋体" panose="02010600030101010101" pitchFamily="2" charset="-122"/>
              </a:endParaRPr>
            </a:p>
          </p:txBody>
        </p:sp>
        <p:sp>
          <p:nvSpPr>
            <p:cNvPr id="46" name="矩形: 圆角 45"/>
            <p:cNvSpPr/>
            <p:nvPr/>
          </p:nvSpPr>
          <p:spPr>
            <a:xfrm>
              <a:off x="2042267" y="2717578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视觉控制器</a:t>
              </a:r>
            </a:p>
          </p:txBody>
        </p:sp>
        <p:sp>
          <p:nvSpPr>
            <p:cNvPr id="47" name="矩形: 圆角 46"/>
            <p:cNvSpPr/>
            <p:nvPr/>
          </p:nvSpPr>
          <p:spPr>
            <a:xfrm>
              <a:off x="4266161" y="2717578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智能相机</a:t>
              </a:r>
            </a:p>
          </p:txBody>
        </p:sp>
        <p:sp>
          <p:nvSpPr>
            <p:cNvPr id="48" name="矩形: 圆角 47"/>
            <p:cNvSpPr/>
            <p:nvPr/>
          </p:nvSpPr>
          <p:spPr>
            <a:xfrm>
              <a:off x="5378108" y="2717578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工控机</a:t>
              </a:r>
            </a:p>
          </p:txBody>
        </p:sp>
        <p:sp>
          <p:nvSpPr>
            <p:cNvPr id="49" name="矩形: 圆角 48"/>
            <p:cNvSpPr/>
            <p:nvPr/>
          </p:nvSpPr>
          <p:spPr>
            <a:xfrm>
              <a:off x="6490055" y="2717578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整机</a:t>
              </a:r>
            </a:p>
          </p:txBody>
        </p:sp>
        <p:sp>
          <p:nvSpPr>
            <p:cNvPr id="50" name="矩形: 圆角 12"/>
            <p:cNvSpPr/>
            <p:nvPr/>
          </p:nvSpPr>
          <p:spPr>
            <a:xfrm>
              <a:off x="3154214" y="2717578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智能读码器</a:t>
              </a:r>
            </a:p>
          </p:txBody>
        </p:sp>
        <p:sp>
          <p:nvSpPr>
            <p:cNvPr id="53" name="矩形: 圆角 52"/>
            <p:cNvSpPr/>
            <p:nvPr/>
          </p:nvSpPr>
          <p:spPr>
            <a:xfrm>
              <a:off x="1724025" y="2609578"/>
              <a:ext cx="199604" cy="5040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5" name="矩形: 圆角 44"/>
            <p:cNvSpPr/>
            <p:nvPr/>
          </p:nvSpPr>
          <p:spPr>
            <a:xfrm>
              <a:off x="1059629" y="2609578"/>
              <a:ext cx="864000" cy="504000"/>
            </a:xfrm>
            <a:prstGeom prst="roundRect">
              <a:avLst>
                <a:gd name="adj" fmla="val 1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j-ea"/>
                  <a:ea typeface="+mj-ea"/>
                </a:rPr>
                <a:t>硬件伙伴</a:t>
              </a: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891082" y="1896431"/>
            <a:ext cx="6570168" cy="504000"/>
            <a:chOff x="1059629" y="2009503"/>
            <a:chExt cx="6570168" cy="504000"/>
          </a:xfrm>
        </p:grpSpPr>
        <p:sp>
          <p:nvSpPr>
            <p:cNvPr id="59" name="矩形: 圆角 58"/>
            <p:cNvSpPr/>
            <p:nvPr/>
          </p:nvSpPr>
          <p:spPr>
            <a:xfrm>
              <a:off x="1775460" y="2009503"/>
              <a:ext cx="5854337" cy="504000"/>
            </a:xfrm>
            <a:prstGeom prst="roundRect">
              <a:avLst>
                <a:gd name="adj" fmla="val 12095"/>
              </a:avLst>
            </a:prstGeom>
            <a:solidFill>
              <a:schemeClr val="accent1">
                <a:alpha val="1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000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ea"/>
                <a:ea typeface="+mj-ea"/>
                <a:cs typeface="宋体" panose="02010600030101010101" pitchFamily="2" charset="-122"/>
              </a:endParaRPr>
            </a:p>
          </p:txBody>
        </p:sp>
        <p:sp>
          <p:nvSpPr>
            <p:cNvPr id="61" name="矩形: 圆角 60"/>
            <p:cNvSpPr/>
            <p:nvPr/>
          </p:nvSpPr>
          <p:spPr>
            <a:xfrm>
              <a:off x="2042266" y="2117503"/>
              <a:ext cx="136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半导体行业 </a:t>
              </a:r>
            </a:p>
          </p:txBody>
        </p:sp>
        <p:sp>
          <p:nvSpPr>
            <p:cNvPr id="62" name="矩形: 圆角 61"/>
            <p:cNvSpPr/>
            <p:nvPr/>
          </p:nvSpPr>
          <p:spPr>
            <a:xfrm>
              <a:off x="4983458" y="2117503"/>
              <a:ext cx="1404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消费电子行业</a:t>
              </a:r>
            </a:p>
          </p:txBody>
        </p:sp>
        <p:sp>
          <p:nvSpPr>
            <p:cNvPr id="65" name="矩形: 圆角 12"/>
            <p:cNvSpPr/>
            <p:nvPr/>
          </p:nvSpPr>
          <p:spPr>
            <a:xfrm>
              <a:off x="3512862" y="2117503"/>
              <a:ext cx="136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zh-CN" altLang="en-US" sz="1400" dirty="0">
                  <a:solidFill>
                    <a:schemeClr val="accent1"/>
                  </a:solidFill>
                </a:rPr>
                <a:t>汽车行业</a:t>
              </a:r>
            </a:p>
          </p:txBody>
        </p:sp>
        <p:sp>
          <p:nvSpPr>
            <p:cNvPr id="66" name="矩形: 圆角 65"/>
            <p:cNvSpPr/>
            <p:nvPr/>
          </p:nvSpPr>
          <p:spPr>
            <a:xfrm>
              <a:off x="1724025" y="2009503"/>
              <a:ext cx="199604" cy="5040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endParaRPr lang="zh-CN" alt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7" name="矩形: 圆角 66"/>
            <p:cNvSpPr/>
            <p:nvPr/>
          </p:nvSpPr>
          <p:spPr>
            <a:xfrm>
              <a:off x="1059629" y="2009503"/>
              <a:ext cx="864000" cy="504000"/>
            </a:xfrm>
            <a:prstGeom prst="roundRect">
              <a:avLst>
                <a:gd name="adj" fmla="val 1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j-ea"/>
                  <a:ea typeface="+mj-ea"/>
                </a:rPr>
                <a:t>行业应用</a:t>
              </a:r>
            </a:p>
          </p:txBody>
        </p:sp>
        <p:sp>
          <p:nvSpPr>
            <p:cNvPr id="68" name="矩形: 圆角 67"/>
            <p:cNvSpPr/>
            <p:nvPr/>
          </p:nvSpPr>
          <p:spPr>
            <a:xfrm>
              <a:off x="6490055" y="2117503"/>
              <a:ext cx="1008000" cy="288000"/>
            </a:xfrm>
            <a:prstGeom prst="roundRect">
              <a:avLst/>
            </a:prstGeom>
            <a:solidFill>
              <a:schemeClr val="accent1">
                <a:alpha val="1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en-US" altLang="zh-CN" sz="1400">
                  <a:solidFill>
                    <a:schemeClr val="accent1"/>
                  </a:solidFill>
                </a:rPr>
                <a:t>……</a:t>
              </a:r>
              <a:endParaRPr lang="en-US" altLang="zh-CN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891082" y="3198813"/>
            <a:ext cx="6570168" cy="504000"/>
            <a:chOff x="1059629" y="3159485"/>
            <a:chExt cx="6570168" cy="504000"/>
          </a:xfrm>
        </p:grpSpPr>
        <p:sp>
          <p:nvSpPr>
            <p:cNvPr id="69" name="矩形: 圆角 68"/>
            <p:cNvSpPr/>
            <p:nvPr/>
          </p:nvSpPr>
          <p:spPr>
            <a:xfrm>
              <a:off x="2042266" y="3159485"/>
              <a:ext cx="5587531" cy="504000"/>
            </a:xfrm>
            <a:prstGeom prst="roundRect">
              <a:avLst>
                <a:gd name="adj" fmla="val 12887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en-US" altLang="zh-CN" sz="1600" dirty="0" err="1">
                  <a:solidFill>
                    <a:schemeClr val="bg1"/>
                  </a:solidFill>
                </a:rPr>
                <a:t>SMore</a:t>
              </a:r>
              <a:r>
                <a:rPr lang="zh-CN" altLang="en-US" sz="1600" dirty="0">
                  <a:solidFill>
                    <a:schemeClr val="bg1"/>
                  </a:solidFill>
                </a:rPr>
                <a:t> </a:t>
              </a:r>
              <a:r>
                <a:rPr lang="en-US" altLang="zh-CN" sz="1600" dirty="0" err="1">
                  <a:solidFill>
                    <a:schemeClr val="bg1"/>
                  </a:solidFill>
                </a:rPr>
                <a:t>ViLab</a:t>
              </a:r>
              <a:r>
                <a:rPr lang="en-US" altLang="zh-CN" sz="1600" dirty="0">
                  <a:solidFill>
                    <a:schemeClr val="bg1"/>
                  </a:solidFill>
                </a:rPr>
                <a:t> </a:t>
              </a:r>
              <a:r>
                <a:rPr lang="zh-CN" altLang="en-US" sz="1600" dirty="0">
                  <a:solidFill>
                    <a:schemeClr val="bg1"/>
                  </a:solidFill>
                </a:rPr>
                <a:t>模型运行平台</a:t>
              </a:r>
            </a:p>
          </p:txBody>
        </p:sp>
        <p:sp>
          <p:nvSpPr>
            <p:cNvPr id="72" name="矩形: 圆角 71"/>
            <p:cNvSpPr/>
            <p:nvPr/>
          </p:nvSpPr>
          <p:spPr>
            <a:xfrm>
              <a:off x="1059629" y="3159485"/>
              <a:ext cx="864000" cy="50400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j-ea"/>
                  <a:ea typeface="+mj-ea"/>
                </a:rPr>
                <a:t>推理平台</a:t>
              </a:r>
            </a:p>
          </p:txBody>
        </p:sp>
      </p:grpSp>
      <p:grpSp>
        <p:nvGrpSpPr>
          <p:cNvPr id="95" name="组合 94"/>
          <p:cNvGrpSpPr/>
          <p:nvPr/>
        </p:nvGrpSpPr>
        <p:grpSpPr>
          <a:xfrm>
            <a:off x="891082" y="4120714"/>
            <a:ext cx="6570168" cy="504000"/>
            <a:chOff x="1059629" y="3832365"/>
            <a:chExt cx="6570168" cy="504000"/>
          </a:xfrm>
        </p:grpSpPr>
        <p:sp>
          <p:nvSpPr>
            <p:cNvPr id="75" name="矩形: 圆角 74"/>
            <p:cNvSpPr/>
            <p:nvPr/>
          </p:nvSpPr>
          <p:spPr>
            <a:xfrm>
              <a:off x="2042266" y="3832365"/>
              <a:ext cx="5587531" cy="504000"/>
            </a:xfrm>
            <a:prstGeom prst="roundRect">
              <a:avLst>
                <a:gd name="adj" fmla="val 12887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57600" bIns="36000" rtlCol="0" anchor="ctr"/>
            <a:lstStyle/>
            <a:p>
              <a:pPr algn="ctr"/>
              <a:r>
                <a:rPr lang="en-US" altLang="zh-CN" sz="1600" dirty="0" err="1">
                  <a:solidFill>
                    <a:schemeClr val="bg1"/>
                  </a:solidFill>
                </a:rPr>
                <a:t>SMore</a:t>
              </a:r>
              <a:r>
                <a:rPr lang="zh-CN" altLang="en-US" sz="1600" dirty="0">
                  <a:solidFill>
                    <a:schemeClr val="bg1"/>
                  </a:solidFill>
                </a:rPr>
                <a:t> </a:t>
              </a:r>
              <a:r>
                <a:rPr lang="en-US" altLang="zh-CN" sz="1600" dirty="0" err="1">
                  <a:solidFill>
                    <a:schemeClr val="bg1"/>
                  </a:solidFill>
                </a:rPr>
                <a:t>ViMo</a:t>
              </a:r>
              <a:r>
                <a:rPr lang="en-US" altLang="zh-CN" sz="1600" dirty="0">
                  <a:solidFill>
                    <a:schemeClr val="bg1"/>
                  </a:solidFill>
                </a:rPr>
                <a:t>  </a:t>
              </a:r>
              <a:r>
                <a:rPr lang="zh-CN" altLang="en-US" sz="1600" dirty="0">
                  <a:solidFill>
                    <a:schemeClr val="bg1"/>
                  </a:solidFill>
                </a:rPr>
                <a:t>模型训练平台</a:t>
              </a:r>
            </a:p>
          </p:txBody>
        </p:sp>
        <p:sp>
          <p:nvSpPr>
            <p:cNvPr id="76" name="矩形: 圆角 75"/>
            <p:cNvSpPr/>
            <p:nvPr/>
          </p:nvSpPr>
          <p:spPr>
            <a:xfrm>
              <a:off x="1059629" y="3832365"/>
              <a:ext cx="864000" cy="50400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400">
                  <a:solidFill>
                    <a:schemeClr val="bg1"/>
                  </a:solidFill>
                  <a:latin typeface="+mj-ea"/>
                  <a:ea typeface="+mj-ea"/>
                </a:rPr>
                <a:t>训练平台</a:t>
              </a:r>
              <a:endParaRPr lang="zh-CN" altLang="en-US" sz="14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82" name="矩形: 圆角 81"/>
          <p:cNvSpPr/>
          <p:nvPr/>
        </p:nvSpPr>
        <p:spPr>
          <a:xfrm>
            <a:off x="1606914" y="5042615"/>
            <a:ext cx="5854336" cy="504000"/>
          </a:xfrm>
          <a:prstGeom prst="roundRect">
            <a:avLst>
              <a:gd name="adj" fmla="val 12095"/>
            </a:avLst>
          </a:prstGeom>
          <a:solidFill>
            <a:schemeClr val="accent2">
              <a:alpha val="1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ea"/>
              <a:ea typeface="+mj-ea"/>
              <a:cs typeface="宋体" panose="02010600030101010101" pitchFamily="2" charset="-122"/>
            </a:endParaRPr>
          </a:p>
        </p:txBody>
      </p:sp>
      <p:sp>
        <p:nvSpPr>
          <p:cNvPr id="83" name="矩形: 圆角 82"/>
          <p:cNvSpPr/>
          <p:nvPr/>
        </p:nvSpPr>
        <p:spPr>
          <a:xfrm>
            <a:off x="1873718" y="5150615"/>
            <a:ext cx="1728000" cy="288000"/>
          </a:xfrm>
          <a:prstGeom prst="roundRect">
            <a:avLst/>
          </a:prstGeom>
          <a:solidFill>
            <a:schemeClr val="accent2">
              <a:alpha val="1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基础算法库</a:t>
            </a:r>
          </a:p>
        </p:txBody>
      </p:sp>
      <p:sp>
        <p:nvSpPr>
          <p:cNvPr id="84" name="矩形: 圆角 83"/>
          <p:cNvSpPr/>
          <p:nvPr/>
        </p:nvSpPr>
        <p:spPr>
          <a:xfrm>
            <a:off x="5565508" y="5150615"/>
            <a:ext cx="1764000" cy="288000"/>
          </a:xfrm>
          <a:prstGeom prst="roundRect">
            <a:avLst/>
          </a:prstGeom>
          <a:solidFill>
            <a:schemeClr val="accent2">
              <a:alpha val="1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前沿算法研究</a:t>
            </a:r>
          </a:p>
        </p:txBody>
      </p:sp>
      <p:sp>
        <p:nvSpPr>
          <p:cNvPr id="85" name="矩形: 圆角 12"/>
          <p:cNvSpPr/>
          <p:nvPr/>
        </p:nvSpPr>
        <p:spPr>
          <a:xfrm>
            <a:off x="3701613" y="5150615"/>
            <a:ext cx="1764000" cy="288000"/>
          </a:xfrm>
          <a:prstGeom prst="roundRect">
            <a:avLst/>
          </a:prstGeom>
          <a:solidFill>
            <a:schemeClr val="accent2">
              <a:alpha val="1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57600" bIns="36000" rtlCol="0" anchor="ctr"/>
          <a:lstStyle/>
          <a:p>
            <a:pPr algn="ctr"/>
            <a:r>
              <a:rPr lang="zh-CN" altLang="en-US" sz="1400" dirty="0">
                <a:solidFill>
                  <a:schemeClr val="accent2"/>
                </a:solidFill>
                <a:latin typeface="+mj-ea"/>
                <a:ea typeface="+mj-ea"/>
              </a:rPr>
              <a:t>丰富的行业算法</a:t>
            </a:r>
          </a:p>
        </p:txBody>
      </p:sp>
      <p:sp>
        <p:nvSpPr>
          <p:cNvPr id="86" name="矩形: 圆角 85"/>
          <p:cNvSpPr/>
          <p:nvPr/>
        </p:nvSpPr>
        <p:spPr>
          <a:xfrm>
            <a:off x="1555478" y="5042615"/>
            <a:ext cx="199604" cy="5040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矩形: 圆角 86"/>
          <p:cNvSpPr/>
          <p:nvPr/>
        </p:nvSpPr>
        <p:spPr>
          <a:xfrm>
            <a:off x="891082" y="5042615"/>
            <a:ext cx="864000" cy="504000"/>
          </a:xfrm>
          <a:prstGeom prst="roundRect">
            <a:avLst>
              <a:gd name="adj" fmla="val 10000"/>
            </a:avLst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+mj-ea"/>
                <a:ea typeface="+mj-ea"/>
              </a:rPr>
              <a:t>算法引擎</a:t>
            </a:r>
          </a:p>
        </p:txBody>
      </p:sp>
      <p:sp>
        <p:nvSpPr>
          <p:cNvPr id="90" name="文本框 89"/>
          <p:cNvSpPr txBox="1"/>
          <p:nvPr/>
        </p:nvSpPr>
        <p:spPr>
          <a:xfrm>
            <a:off x="2017008" y="5944668"/>
            <a:ext cx="1441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资深算法工程师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3920611" y="5944668"/>
            <a:ext cx="13260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defRPr sz="1400">
                <a:latin typeface="+mj-ea"/>
                <a:ea typeface="+mj-ea"/>
              </a:defRPr>
            </a:lvl1pPr>
          </a:lstStyle>
          <a:p>
            <a:r>
              <a:rPr lang="en-US" altLang="zh-CN" dirty="0"/>
              <a:t>100+</a:t>
            </a:r>
            <a:r>
              <a:rPr lang="zh-CN" altLang="en-US" dirty="0"/>
              <a:t>行业沉淀</a:t>
            </a:r>
          </a:p>
        </p:txBody>
      </p:sp>
      <p:sp>
        <p:nvSpPr>
          <p:cNvPr id="93" name="文本框 92"/>
          <p:cNvSpPr txBox="1"/>
          <p:nvPr/>
        </p:nvSpPr>
        <p:spPr>
          <a:xfrm>
            <a:off x="5547262" y="5944668"/>
            <a:ext cx="18004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defRPr sz="1400"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前沿研究，行业领先</a:t>
            </a:r>
          </a:p>
        </p:txBody>
      </p:sp>
      <p:sp>
        <p:nvSpPr>
          <p:cNvPr id="99" name="箭头: 右 98"/>
          <p:cNvSpPr/>
          <p:nvPr/>
        </p:nvSpPr>
        <p:spPr>
          <a:xfrm rot="16200000">
            <a:off x="4709598" y="3810713"/>
            <a:ext cx="360000" cy="212530"/>
          </a:xfrm>
          <a:prstGeom prst="rightArrow">
            <a:avLst/>
          </a:prstGeom>
          <a:noFill/>
          <a:ln w="9525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箭头: 右 100"/>
          <p:cNvSpPr/>
          <p:nvPr/>
        </p:nvSpPr>
        <p:spPr>
          <a:xfrm rot="16200000">
            <a:off x="4709598" y="4735346"/>
            <a:ext cx="360000" cy="212530"/>
          </a:xfrm>
          <a:prstGeom prst="rightArrow">
            <a:avLst/>
          </a:prstGeom>
          <a:noFill/>
          <a:ln w="9525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6" name="组合 115"/>
          <p:cNvGrpSpPr/>
          <p:nvPr/>
        </p:nvGrpSpPr>
        <p:grpSpPr>
          <a:xfrm>
            <a:off x="2554363" y="5463071"/>
            <a:ext cx="366711" cy="617493"/>
            <a:chOff x="2867023" y="5445172"/>
            <a:chExt cx="366711" cy="617493"/>
          </a:xfrm>
        </p:grpSpPr>
        <p:cxnSp>
          <p:nvCxnSpPr>
            <p:cNvPr id="104" name="直接连接符 103"/>
            <p:cNvCxnSpPr/>
            <p:nvPr/>
          </p:nvCxnSpPr>
          <p:spPr>
            <a:xfrm rot="16200000" flipV="1">
              <a:off x="2988105" y="5783695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5" name="组合 114"/>
            <p:cNvGrpSpPr/>
            <p:nvPr/>
          </p:nvGrpSpPr>
          <p:grpSpPr>
            <a:xfrm>
              <a:off x="2954728" y="5445172"/>
              <a:ext cx="149202" cy="617493"/>
              <a:chOff x="2954728" y="5416594"/>
              <a:chExt cx="149202" cy="467091"/>
            </a:xfrm>
          </p:grpSpPr>
          <p:sp>
            <p:nvSpPr>
              <p:cNvPr id="103" name="任意多边形: 形状 102"/>
              <p:cNvSpPr/>
              <p:nvPr/>
            </p:nvSpPr>
            <p:spPr>
              <a:xfrm rot="16200000" flipV="1">
                <a:off x="2879638" y="5586139"/>
                <a:ext cx="393838" cy="54747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05" name="任意多边形: 形状 104"/>
              <p:cNvSpPr/>
              <p:nvPr/>
            </p:nvSpPr>
            <p:spPr>
              <a:xfrm rot="16200000">
                <a:off x="2781824" y="5662751"/>
                <a:ext cx="393838" cy="48030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</p:grpSp>
        <p:cxnSp>
          <p:nvCxnSpPr>
            <p:cNvPr id="110" name="直接连接符 109"/>
            <p:cNvCxnSpPr/>
            <p:nvPr/>
          </p:nvCxnSpPr>
          <p:spPr>
            <a:xfrm rot="16200000" flipV="1">
              <a:off x="2707119" y="5728924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连接符 112"/>
            <p:cNvCxnSpPr/>
            <p:nvPr/>
          </p:nvCxnSpPr>
          <p:spPr>
            <a:xfrm flipV="1">
              <a:off x="3233734" y="5540446"/>
              <a:ext cx="0" cy="215034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组合 116"/>
          <p:cNvGrpSpPr/>
          <p:nvPr/>
        </p:nvGrpSpPr>
        <p:grpSpPr>
          <a:xfrm>
            <a:off x="4400258" y="5463071"/>
            <a:ext cx="366711" cy="617493"/>
            <a:chOff x="2867023" y="5445172"/>
            <a:chExt cx="366711" cy="617493"/>
          </a:xfrm>
        </p:grpSpPr>
        <p:cxnSp>
          <p:nvCxnSpPr>
            <p:cNvPr id="118" name="直接连接符 117"/>
            <p:cNvCxnSpPr/>
            <p:nvPr/>
          </p:nvCxnSpPr>
          <p:spPr>
            <a:xfrm rot="16200000" flipV="1">
              <a:off x="2988105" y="5783695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9" name="组合 118"/>
            <p:cNvGrpSpPr/>
            <p:nvPr/>
          </p:nvGrpSpPr>
          <p:grpSpPr>
            <a:xfrm>
              <a:off x="2954728" y="5445172"/>
              <a:ext cx="149202" cy="617493"/>
              <a:chOff x="2954728" y="5416594"/>
              <a:chExt cx="149202" cy="467091"/>
            </a:xfrm>
          </p:grpSpPr>
          <p:sp>
            <p:nvSpPr>
              <p:cNvPr id="122" name="任意多边形: 形状 121"/>
              <p:cNvSpPr/>
              <p:nvPr/>
            </p:nvSpPr>
            <p:spPr>
              <a:xfrm rot="16200000" flipV="1">
                <a:off x="2879638" y="5586139"/>
                <a:ext cx="393838" cy="54747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23" name="任意多边形: 形状 122"/>
              <p:cNvSpPr/>
              <p:nvPr/>
            </p:nvSpPr>
            <p:spPr>
              <a:xfrm rot="16200000">
                <a:off x="2781824" y="5662751"/>
                <a:ext cx="393838" cy="48030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</p:grpSp>
        <p:cxnSp>
          <p:nvCxnSpPr>
            <p:cNvPr id="120" name="直接连接符 119"/>
            <p:cNvCxnSpPr/>
            <p:nvPr/>
          </p:nvCxnSpPr>
          <p:spPr>
            <a:xfrm rot="16200000" flipV="1">
              <a:off x="2707119" y="5728924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直接连接符 120"/>
            <p:cNvCxnSpPr/>
            <p:nvPr/>
          </p:nvCxnSpPr>
          <p:spPr>
            <a:xfrm flipV="1">
              <a:off x="3233734" y="5540446"/>
              <a:ext cx="0" cy="215034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组合 123"/>
          <p:cNvGrpSpPr/>
          <p:nvPr/>
        </p:nvGrpSpPr>
        <p:grpSpPr>
          <a:xfrm>
            <a:off x="6264153" y="5463071"/>
            <a:ext cx="366711" cy="617493"/>
            <a:chOff x="2867023" y="5445172"/>
            <a:chExt cx="366711" cy="617493"/>
          </a:xfrm>
        </p:grpSpPr>
        <p:cxnSp>
          <p:nvCxnSpPr>
            <p:cNvPr id="125" name="直接连接符 124"/>
            <p:cNvCxnSpPr/>
            <p:nvPr/>
          </p:nvCxnSpPr>
          <p:spPr>
            <a:xfrm rot="16200000" flipV="1">
              <a:off x="2988105" y="5783695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6" name="组合 125"/>
            <p:cNvGrpSpPr/>
            <p:nvPr/>
          </p:nvGrpSpPr>
          <p:grpSpPr>
            <a:xfrm>
              <a:off x="2954728" y="5445172"/>
              <a:ext cx="149202" cy="617493"/>
              <a:chOff x="2954728" y="5416594"/>
              <a:chExt cx="149202" cy="467091"/>
            </a:xfrm>
          </p:grpSpPr>
          <p:sp>
            <p:nvSpPr>
              <p:cNvPr id="129" name="任意多边形: 形状 128"/>
              <p:cNvSpPr/>
              <p:nvPr/>
            </p:nvSpPr>
            <p:spPr>
              <a:xfrm rot="16200000" flipV="1">
                <a:off x="2879638" y="5586139"/>
                <a:ext cx="393838" cy="54747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30" name="任意多边形: 形状 129"/>
              <p:cNvSpPr/>
              <p:nvPr/>
            </p:nvSpPr>
            <p:spPr>
              <a:xfrm rot="16200000">
                <a:off x="2781824" y="5662751"/>
                <a:ext cx="393838" cy="48030"/>
              </a:xfrm>
              <a:custGeom>
                <a:avLst/>
                <a:gdLst>
                  <a:gd name="connsiteX0" fmla="*/ 4772790 w 5556926"/>
                  <a:gd name="connsiteY0" fmla="*/ 0 h 544010"/>
                  <a:gd name="connsiteX1" fmla="*/ 5556926 w 5556926"/>
                  <a:gd name="connsiteY1" fmla="*/ 544010 h 544010"/>
                  <a:gd name="connsiteX2" fmla="*/ 0 w 5556926"/>
                  <a:gd name="connsiteY2" fmla="*/ 544010 h 544010"/>
                  <a:gd name="connsiteX3" fmla="*/ 0 w 5556926"/>
                  <a:gd name="connsiteY3" fmla="*/ 367121 h 544010"/>
                  <a:gd name="connsiteX4" fmla="*/ 4772790 w 5556926"/>
                  <a:gd name="connsiteY4" fmla="*/ 367121 h 5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6926" h="544010">
                    <a:moveTo>
                      <a:pt x="4772790" y="0"/>
                    </a:moveTo>
                    <a:lnTo>
                      <a:pt x="5556926" y="544010"/>
                    </a:lnTo>
                    <a:lnTo>
                      <a:pt x="0" y="544010"/>
                    </a:lnTo>
                    <a:lnTo>
                      <a:pt x="0" y="367121"/>
                    </a:lnTo>
                    <a:lnTo>
                      <a:pt x="4772790" y="367121"/>
                    </a:lnTo>
                    <a:close/>
                  </a:path>
                </a:pathLst>
              </a:custGeom>
              <a:gradFill>
                <a:gsLst>
                  <a:gs pos="20000">
                    <a:schemeClr val="accent2">
                      <a:alpha val="0"/>
                    </a:schemeClr>
                  </a:gs>
                  <a:gs pos="100000">
                    <a:schemeClr val="accent2">
                      <a:alpha val="40000"/>
                    </a:schemeClr>
                  </a:gs>
                </a:gsLst>
                <a:lin ang="54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prstClr val="white"/>
                  </a:solidFill>
                  <a:latin typeface="思源黑体 CN Normal" panose="020B0400000000000000" pitchFamily="34" charset="-122"/>
                  <a:ea typeface="微软雅黑 Light" panose="020B0502040204020203" pitchFamily="34" charset="-122"/>
                </a:endParaRPr>
              </a:p>
            </p:txBody>
          </p:sp>
        </p:grpSp>
        <p:cxnSp>
          <p:nvCxnSpPr>
            <p:cNvPr id="127" name="直接连接符 126"/>
            <p:cNvCxnSpPr/>
            <p:nvPr/>
          </p:nvCxnSpPr>
          <p:spPr>
            <a:xfrm rot="16200000" flipV="1">
              <a:off x="2707119" y="5728924"/>
              <a:ext cx="319808" cy="0"/>
            </a:xfrm>
            <a:prstGeom prst="line">
              <a:avLst/>
            </a:prstGeom>
            <a:ln w="6350">
              <a:gradFill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直接连接符 127"/>
            <p:cNvCxnSpPr/>
            <p:nvPr/>
          </p:nvCxnSpPr>
          <p:spPr>
            <a:xfrm flipV="1">
              <a:off x="3233734" y="5540446"/>
              <a:ext cx="0" cy="215034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30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文本框 132"/>
          <p:cNvSpPr txBox="1"/>
          <p:nvPr/>
        </p:nvSpPr>
        <p:spPr>
          <a:xfrm>
            <a:off x="4290218" y="3797413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1200" dirty="0">
                <a:latin typeface="+mj-ea"/>
                <a:ea typeface="+mj-ea"/>
              </a:rPr>
              <a:t>模型</a:t>
            </a:r>
          </a:p>
        </p:txBody>
      </p:sp>
      <p:sp>
        <p:nvSpPr>
          <p:cNvPr id="134" name="文本框 133"/>
          <p:cNvSpPr txBox="1"/>
          <p:nvPr/>
        </p:nvSpPr>
        <p:spPr>
          <a:xfrm>
            <a:off x="3982441" y="470863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1200" dirty="0">
                <a:latin typeface="+mj-ea"/>
                <a:ea typeface="+mj-ea"/>
              </a:rPr>
              <a:t>算法能力</a:t>
            </a:r>
          </a:p>
        </p:txBody>
      </p:sp>
      <p:sp>
        <p:nvSpPr>
          <p:cNvPr id="135" name="矩形: 圆角 134"/>
          <p:cNvSpPr/>
          <p:nvPr/>
        </p:nvSpPr>
        <p:spPr>
          <a:xfrm>
            <a:off x="7767861" y="2023483"/>
            <a:ext cx="504000" cy="252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latin typeface="+mn-ea"/>
              </a:rPr>
              <a:t>应用</a:t>
            </a:r>
          </a:p>
        </p:txBody>
      </p:sp>
      <p:sp>
        <p:nvSpPr>
          <p:cNvPr id="136" name="矩形: 圆角 135"/>
          <p:cNvSpPr/>
          <p:nvPr/>
        </p:nvSpPr>
        <p:spPr>
          <a:xfrm>
            <a:off x="7767861" y="3786816"/>
            <a:ext cx="504000" cy="252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latin typeface="+mn-ea"/>
              </a:rPr>
              <a:t>方案</a:t>
            </a:r>
          </a:p>
        </p:txBody>
      </p:sp>
      <p:sp>
        <p:nvSpPr>
          <p:cNvPr id="137" name="矩形: 圆角 136"/>
          <p:cNvSpPr/>
          <p:nvPr/>
        </p:nvSpPr>
        <p:spPr>
          <a:xfrm>
            <a:off x="7767861" y="4708717"/>
            <a:ext cx="504000" cy="252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latin typeface="+mn-ea"/>
              </a:rPr>
              <a:t>工程</a:t>
            </a:r>
          </a:p>
        </p:txBody>
      </p:sp>
      <p:sp>
        <p:nvSpPr>
          <p:cNvPr id="138" name="矩形: 圆角 137"/>
          <p:cNvSpPr/>
          <p:nvPr/>
        </p:nvSpPr>
        <p:spPr>
          <a:xfrm>
            <a:off x="7767861" y="5169667"/>
            <a:ext cx="504000" cy="252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>
                <a:latin typeface="+mn-ea"/>
              </a:rPr>
              <a:t>算法</a:t>
            </a:r>
          </a:p>
        </p:txBody>
      </p:sp>
      <p:cxnSp>
        <p:nvCxnSpPr>
          <p:cNvPr id="139" name="直接连接符 138"/>
          <p:cNvCxnSpPr/>
          <p:nvPr/>
        </p:nvCxnSpPr>
        <p:spPr>
          <a:xfrm flipV="1">
            <a:off x="289877" y="5405078"/>
            <a:ext cx="0" cy="850901"/>
          </a:xfrm>
          <a:prstGeom prst="line">
            <a:avLst/>
          </a:prstGeom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3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直接连接符 141"/>
          <p:cNvCxnSpPr/>
          <p:nvPr/>
        </p:nvCxnSpPr>
        <p:spPr>
          <a:xfrm flipV="1">
            <a:off x="264477" y="4401778"/>
            <a:ext cx="0" cy="850901"/>
          </a:xfrm>
          <a:prstGeom prst="line">
            <a:avLst/>
          </a:prstGeom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接连接符 142"/>
          <p:cNvCxnSpPr/>
          <p:nvPr/>
        </p:nvCxnSpPr>
        <p:spPr>
          <a:xfrm flipV="1">
            <a:off x="708977" y="4865328"/>
            <a:ext cx="0" cy="850901"/>
          </a:xfrm>
          <a:prstGeom prst="line">
            <a:avLst/>
          </a:prstGeom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2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直接连接符 143"/>
          <p:cNvCxnSpPr/>
          <p:nvPr/>
        </p:nvCxnSpPr>
        <p:spPr>
          <a:xfrm flipV="1">
            <a:off x="494653" y="5178495"/>
            <a:ext cx="0" cy="501652"/>
          </a:xfrm>
          <a:prstGeom prst="line">
            <a:avLst/>
          </a:prstGeom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接连接符 146"/>
          <p:cNvCxnSpPr/>
          <p:nvPr/>
        </p:nvCxnSpPr>
        <p:spPr>
          <a:xfrm>
            <a:off x="4979020" y="4833665"/>
            <a:ext cx="2736000" cy="0"/>
          </a:xfrm>
          <a:prstGeom prst="line">
            <a:avLst/>
          </a:prstGeom>
          <a:ln>
            <a:prstDash val="dash"/>
            <a:headEnd type="stealt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直接连接符 149"/>
          <p:cNvCxnSpPr/>
          <p:nvPr/>
        </p:nvCxnSpPr>
        <p:spPr>
          <a:xfrm>
            <a:off x="4979020" y="3911764"/>
            <a:ext cx="2736000" cy="0"/>
          </a:xfrm>
          <a:prstGeom prst="line">
            <a:avLst/>
          </a:prstGeom>
          <a:ln>
            <a:prstDash val="dash"/>
            <a:headEnd type="stealt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直接连接符 150"/>
          <p:cNvCxnSpPr/>
          <p:nvPr/>
        </p:nvCxnSpPr>
        <p:spPr>
          <a:xfrm>
            <a:off x="7476895" y="2148431"/>
            <a:ext cx="238125" cy="0"/>
          </a:xfrm>
          <a:prstGeom prst="line">
            <a:avLst/>
          </a:prstGeom>
          <a:ln>
            <a:prstDash val="dash"/>
            <a:headEnd type="stealt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直接连接符 152"/>
          <p:cNvCxnSpPr/>
          <p:nvPr/>
        </p:nvCxnSpPr>
        <p:spPr>
          <a:xfrm>
            <a:off x="7476895" y="5294615"/>
            <a:ext cx="238125" cy="0"/>
          </a:xfrm>
          <a:prstGeom prst="line">
            <a:avLst/>
          </a:prstGeom>
          <a:ln>
            <a:prstDash val="dash"/>
            <a:headEnd type="stealt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/>
          <p:cNvGrpSpPr/>
          <p:nvPr/>
        </p:nvGrpSpPr>
        <p:grpSpPr>
          <a:xfrm>
            <a:off x="8686801" y="4634810"/>
            <a:ext cx="3162300" cy="1164166"/>
            <a:chOff x="8686801" y="4634810"/>
            <a:chExt cx="3162300" cy="1164166"/>
          </a:xfrm>
        </p:grpSpPr>
        <p:sp>
          <p:nvSpPr>
            <p:cNvPr id="15" name="文本框 14"/>
            <p:cNvSpPr txBox="1"/>
            <p:nvPr/>
          </p:nvSpPr>
          <p:spPr>
            <a:xfrm>
              <a:off x="8686801" y="4634810"/>
              <a:ext cx="3162300" cy="1164166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zh-CN" altLang="en-US" sz="1600" dirty="0"/>
                <a:t>基于思谋核心的算法和软件工程能力，搭载各种硬件，赋能智能制造</a:t>
              </a:r>
              <a:endParaRPr lang="en-US" altLang="zh-CN" sz="1600" dirty="0"/>
            </a:p>
          </p:txBody>
        </p:sp>
        <p:sp>
          <p:nvSpPr>
            <p:cNvPr id="167" name="半闭框 166"/>
            <p:cNvSpPr/>
            <p:nvPr/>
          </p:nvSpPr>
          <p:spPr>
            <a:xfrm>
              <a:off x="8686801" y="4634810"/>
              <a:ext cx="83344" cy="83344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8" name="半闭框 167"/>
            <p:cNvSpPr/>
            <p:nvPr/>
          </p:nvSpPr>
          <p:spPr>
            <a:xfrm flipH="1">
              <a:off x="11765756" y="4634810"/>
              <a:ext cx="83344" cy="83344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9" name="半闭框 168"/>
            <p:cNvSpPr/>
            <p:nvPr/>
          </p:nvSpPr>
          <p:spPr>
            <a:xfrm flipV="1">
              <a:off x="8686801" y="5715632"/>
              <a:ext cx="83344" cy="83344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70" name="半闭框 169"/>
            <p:cNvSpPr/>
            <p:nvPr/>
          </p:nvSpPr>
          <p:spPr>
            <a:xfrm flipH="1" flipV="1">
              <a:off x="11765756" y="5715632"/>
              <a:ext cx="83344" cy="83344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7" name="弧形 6"/>
          <p:cNvSpPr/>
          <p:nvPr/>
        </p:nvSpPr>
        <p:spPr>
          <a:xfrm>
            <a:off x="9161786" y="2026569"/>
            <a:ext cx="2212330" cy="2212330"/>
          </a:xfrm>
          <a:prstGeom prst="arc">
            <a:avLst>
              <a:gd name="adj1" fmla="val 19636449"/>
              <a:gd name="adj2" fmla="val 830869"/>
            </a:avLst>
          </a:prstGeom>
          <a:ln w="3175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15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弧形 108"/>
          <p:cNvSpPr/>
          <p:nvPr/>
        </p:nvSpPr>
        <p:spPr>
          <a:xfrm rot="5400000">
            <a:off x="9161786" y="2026569"/>
            <a:ext cx="2212330" cy="2212330"/>
          </a:xfrm>
          <a:prstGeom prst="arc">
            <a:avLst>
              <a:gd name="adj1" fmla="val 19481157"/>
              <a:gd name="adj2" fmla="val 830869"/>
            </a:avLst>
          </a:prstGeom>
          <a:ln w="3175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15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弧形 110"/>
          <p:cNvSpPr/>
          <p:nvPr/>
        </p:nvSpPr>
        <p:spPr>
          <a:xfrm rot="10800000">
            <a:off x="9161786" y="2026569"/>
            <a:ext cx="2212330" cy="2212330"/>
          </a:xfrm>
          <a:prstGeom prst="arc">
            <a:avLst>
              <a:gd name="adj1" fmla="val 19481157"/>
              <a:gd name="adj2" fmla="val 830869"/>
            </a:avLst>
          </a:prstGeom>
          <a:ln w="3175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15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12" name="弧形 111"/>
          <p:cNvSpPr/>
          <p:nvPr/>
        </p:nvSpPr>
        <p:spPr>
          <a:xfrm rot="16200000">
            <a:off x="9161786" y="2026569"/>
            <a:ext cx="2212330" cy="2212330"/>
          </a:xfrm>
          <a:prstGeom prst="arc">
            <a:avLst>
              <a:gd name="adj1" fmla="val 19481157"/>
              <a:gd name="adj2" fmla="val 830869"/>
            </a:avLst>
          </a:prstGeom>
          <a:ln w="3175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15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椭圆 87"/>
          <p:cNvSpPr/>
          <p:nvPr/>
        </p:nvSpPr>
        <p:spPr>
          <a:xfrm>
            <a:off x="9222798" y="2095593"/>
            <a:ext cx="581594" cy="581592"/>
          </a:xfrm>
          <a:prstGeom prst="ellipse">
            <a:avLst/>
          </a:prstGeom>
          <a:gradFill flip="none" rotWithShape="1">
            <a:gsLst>
              <a:gs pos="0">
                <a:srgbClr val="ABBCCD"/>
              </a:gs>
              <a:gs pos="100000">
                <a:srgbClr val="F3F5F8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>
              <a:spcBef>
                <a:spcPts val="500"/>
              </a:spcBef>
            </a:pPr>
            <a:r>
              <a:rPr lang="zh-CN" altLang="en-US" sz="1400" b="1" dirty="0">
                <a:solidFill>
                  <a:schemeClr val="accent1"/>
                </a:solidFill>
                <a:latin typeface="+mj-ea"/>
                <a:ea typeface="+mj-ea"/>
              </a:rPr>
              <a:t>应用</a:t>
            </a:r>
            <a:endParaRPr lang="en-US" altLang="zh-CN" sz="1400" b="1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96" name="椭圆 95"/>
          <p:cNvSpPr/>
          <p:nvPr/>
        </p:nvSpPr>
        <p:spPr>
          <a:xfrm flipH="1">
            <a:off x="10727756" y="2095593"/>
            <a:ext cx="581594" cy="581592"/>
          </a:xfrm>
          <a:prstGeom prst="ellipse">
            <a:avLst/>
          </a:prstGeom>
          <a:gradFill flip="none" rotWithShape="1">
            <a:gsLst>
              <a:gs pos="0">
                <a:srgbClr val="ABBCCD"/>
              </a:gs>
              <a:gs pos="100000">
                <a:srgbClr val="F3F5F8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>
              <a:spcBef>
                <a:spcPts val="500"/>
              </a:spcBef>
            </a:pPr>
            <a:r>
              <a:rPr lang="zh-CN" altLang="en-US" sz="1400" b="1" dirty="0">
                <a:solidFill>
                  <a:schemeClr val="accent1"/>
                </a:solidFill>
                <a:latin typeface="+mj-ea"/>
                <a:ea typeface="+mj-ea"/>
              </a:rPr>
              <a:t>方案</a:t>
            </a:r>
          </a:p>
        </p:txBody>
      </p:sp>
      <p:sp>
        <p:nvSpPr>
          <p:cNvPr id="102" name="椭圆 101"/>
          <p:cNvSpPr/>
          <p:nvPr/>
        </p:nvSpPr>
        <p:spPr>
          <a:xfrm>
            <a:off x="9222798" y="3595786"/>
            <a:ext cx="581594" cy="581592"/>
          </a:xfrm>
          <a:prstGeom prst="ellipse">
            <a:avLst/>
          </a:prstGeom>
          <a:gradFill flip="none" rotWithShape="1">
            <a:gsLst>
              <a:gs pos="0">
                <a:srgbClr val="ABBCCD"/>
              </a:gs>
              <a:gs pos="100000">
                <a:srgbClr val="F3F5F8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>
              <a:spcBef>
                <a:spcPts val="500"/>
              </a:spcBef>
            </a:pPr>
            <a:r>
              <a:rPr lang="zh-CN" altLang="en-US" sz="1400" b="1">
                <a:solidFill>
                  <a:schemeClr val="accent1"/>
                </a:solidFill>
                <a:latin typeface="+mj-ea"/>
                <a:ea typeface="+mj-ea"/>
              </a:rPr>
              <a:t>算法</a:t>
            </a:r>
            <a:endParaRPr lang="zh-CN" altLang="en-US" sz="1400" b="1" dirty="0">
              <a:solidFill>
                <a:schemeClr val="accent1"/>
              </a:solidFill>
              <a:latin typeface="+mj-ea"/>
              <a:ea typeface="+mj-ea"/>
            </a:endParaRPr>
          </a:p>
        </p:txBody>
      </p:sp>
      <p:sp>
        <p:nvSpPr>
          <p:cNvPr id="106" name="椭圆 105"/>
          <p:cNvSpPr/>
          <p:nvPr/>
        </p:nvSpPr>
        <p:spPr>
          <a:xfrm>
            <a:off x="10727756" y="3595786"/>
            <a:ext cx="581594" cy="581592"/>
          </a:xfrm>
          <a:prstGeom prst="ellipse">
            <a:avLst/>
          </a:prstGeom>
          <a:gradFill flip="none" rotWithShape="1">
            <a:gsLst>
              <a:gs pos="0">
                <a:srgbClr val="ABBCCD"/>
              </a:gs>
              <a:gs pos="100000">
                <a:srgbClr val="F3F5F8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>
              <a:spcBef>
                <a:spcPts val="500"/>
              </a:spcBef>
            </a:pPr>
            <a:r>
              <a:rPr lang="zh-CN" altLang="en-US" sz="1400" b="1" dirty="0">
                <a:solidFill>
                  <a:schemeClr val="accent1"/>
                </a:solidFill>
                <a:latin typeface="+mj-ea"/>
                <a:ea typeface="+mj-ea"/>
              </a:rPr>
              <a:t>工程</a:t>
            </a:r>
          </a:p>
        </p:txBody>
      </p:sp>
      <p:sp>
        <p:nvSpPr>
          <p:cNvPr id="8" name="弧形 7"/>
          <p:cNvSpPr/>
          <p:nvPr/>
        </p:nvSpPr>
        <p:spPr>
          <a:xfrm>
            <a:off x="9630889" y="2495675"/>
            <a:ext cx="1274126" cy="1274120"/>
          </a:xfrm>
          <a:prstGeom prst="arc">
            <a:avLst>
              <a:gd name="adj1" fmla="val 10953262"/>
              <a:gd name="adj2" fmla="val 689573"/>
            </a:avLst>
          </a:prstGeom>
          <a:ln w="1270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e669eaa4-963e-4206-ba32-63f0b839e967&quot;,&quot;Name&quot;:&quot;sm&quot;,&quot;Kind&quot;:&quot;Custom&quot;,&quot;OldGuidesSetting&quot;:{&quot;HeaderHeight&quot;:5.0,&quot;FooterHeight&quot;:2.0,&quot;SideMargin&quot;:2.8,&quot;TopMargin&quot;:4.0,&quot;BottomMargin&quot;:3.0,&quot;IntervalMargin&quot;:0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05527;#393375;#401106;#379600;#37959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69358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heme/theme1.xml><?xml version="1.0" encoding="utf-8"?>
<a:theme xmlns:a="http://schemas.openxmlformats.org/drawingml/2006/main" name="Office 主题​​">
  <a:themeElements>
    <a:clrScheme name="SM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03E6E"/>
      </a:accent1>
      <a:accent2>
        <a:srgbClr val="9C2226"/>
      </a:accent2>
      <a:accent3>
        <a:srgbClr val="41A0D0"/>
      </a:accent3>
      <a:accent4>
        <a:srgbClr val="8F79AE"/>
      </a:accent4>
      <a:accent5>
        <a:srgbClr val="2466F4"/>
      </a:accent5>
      <a:accent6>
        <a:srgbClr val="70AD47"/>
      </a:accent6>
      <a:hlink>
        <a:srgbClr val="00B0F0"/>
      </a:hlink>
      <a:folHlink>
        <a:srgbClr val="BFBFBF"/>
      </a:folHlink>
    </a:clrScheme>
    <a:fontScheme name="思源">
      <a:majorFont>
        <a:latin typeface="思源黑体 CN Bold"/>
        <a:ea typeface="思源黑体 CN Bold"/>
        <a:cs typeface=""/>
      </a:majorFont>
      <a:minorFont>
        <a:latin typeface="思源黑体 CN Normal"/>
        <a:ea typeface="思源黑体 CN Norm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</TotalTime>
  <Words>1616</Words>
  <Application>Microsoft Office PowerPoint</Application>
  <PresentationFormat>宽屏</PresentationFormat>
  <Paragraphs>373</Paragraphs>
  <Slides>2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40" baseType="lpstr">
      <vt:lpstr>阿里巴巴普惠体 B</vt:lpstr>
      <vt:lpstr>思源黑体 CN Bold</vt:lpstr>
      <vt:lpstr>Arial</vt:lpstr>
      <vt:lpstr>微软雅黑 Light</vt:lpstr>
      <vt:lpstr>Calibri</vt:lpstr>
      <vt:lpstr>Noto Sans S Chinese Medium</vt:lpstr>
      <vt:lpstr>Helvetica Neue Medium</vt:lpstr>
      <vt:lpstr>宋体</vt:lpstr>
      <vt:lpstr>黑体</vt:lpstr>
      <vt:lpstr>Times New Roman</vt:lpstr>
      <vt:lpstr>思源黑体 CN Regular</vt:lpstr>
      <vt:lpstr>思源黑体 CN Normal</vt:lpstr>
      <vt:lpstr>Source Han Sans CN</vt:lpstr>
      <vt:lpstr>Arial Unicode M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More ViMo</dc:creator>
  <cp:lastModifiedBy>wang lv</cp:lastModifiedBy>
  <cp:revision>2009</cp:revision>
  <dcterms:created xsi:type="dcterms:W3CDTF">2021-07-26T10:36:00Z</dcterms:created>
  <dcterms:modified xsi:type="dcterms:W3CDTF">2021-12-09T07:0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8C4E33DC94F4A968054DE57C71DD644</vt:lpwstr>
  </property>
  <property fmtid="{D5CDD505-2E9C-101B-9397-08002B2CF9AE}" pid="3" name="KSOProductBuildVer">
    <vt:lpwstr>2052-11.1.0.10700</vt:lpwstr>
  </property>
</Properties>
</file>